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xlsx" ContentType="application/vnd.openxmlformats-officedocument.spreadsheetml.sheet"/>
  <Default Extension="png" ContentType="image/png"/>
  <Default Extension="wdp" ContentType="image/vnd.ms-photo"/>
  <Default Extension="emf" ContentType="image/x-emf"/>
  <Default Extension="mp3" ContentType="audio/mp3"/>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NET 23.4-->
<p:presentation xmlns:r="http://schemas.openxmlformats.org/officeDocument/2006/relationships" xmlns:a="http://schemas.openxmlformats.org/drawingml/2006/main" xmlns:p="http://schemas.openxmlformats.org/presentationml/2006/main">
  <p:sldMasterIdLst>
    <p:sldMasterId id="2147483648" r:id="rId1"/>
    <p:sldMasterId id="2147483677" r:id="rId2"/>
  </p:sldMasterIdLst>
  <p:notesMasterIdLst>
    <p:notesMasterId r:id="rId3"/>
  </p:notesMasterIdLst>
  <p:sldIdLst>
    <p:sldId id="1199" r:id="rId4"/>
    <p:sldId id="1201" r:id="rId5"/>
    <p:sldId id="1205" r:id="rId6"/>
    <p:sldId id="1210" r:id="rId7"/>
    <p:sldId id="1216" r:id="rId8"/>
    <p:sldId id="1219" r:id="rId9"/>
    <p:sldId id="1217" r:id="rId10"/>
    <p:sldId id="1204" r:id="rId11"/>
    <p:sldId id="1208" r:id="rId12"/>
    <p:sldId id="1209" r:id="rId13"/>
    <p:sldId id="1213" r:id="rId14"/>
    <p:sldId id="1214" r:id="rId15"/>
    <p:sldId id="1206" r:id="rId16"/>
    <p:sldId id="1223" r:id="rId17"/>
    <p:sldId id="1211" r:id="rId18"/>
    <p:sldId id="1222" r:id="rId19"/>
    <p:sldId id="1215" r:id="rId20"/>
    <p:sldId id="1221" r:id="rId21"/>
    <p:sldId id="1207" r:id="rId22"/>
    <p:sldId id="1218" r:id="rId23"/>
    <p:sldId id="1220" r:id="rId24"/>
    <p:sldId id="1224" r:id="rId25"/>
    <p:sldId id="1212" r:id="rId26"/>
    <p:sldId id="1200" r:id="rId27"/>
    <p:sldId id="1238" r:id="rId28"/>
    <p:sldId id="1260" r:id="rId29"/>
  </p:sldIdLst>
  <p:sldSz cx="9144000" cy="5143500" type="screen16x9"/>
  <p:notesSz cx="6858000" cy="9144000"/>
  <p:custDataLst>
    <p:tags r:id="rId30"/>
  </p:custDataLst>
  <p:defaultText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defaultTextStyle>
</p:presentation>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26" autoAdjust="0"/>
    <p:restoredTop sz="93354" autoAdjust="0"/>
  </p:normalViewPr>
  <p:slideViewPr>
    <p:cSldViewPr>
      <p:cViewPr varScale="1">
        <p:scale>
          <a:sx n="141" d="100"/>
          <a:sy n="141" d="100"/>
        </p:scale>
        <p:origin x="792" y="114"/>
      </p:cViewPr>
      <p:guideLst>
        <p:guide orient="horz" pos="1620"/>
        <p:guide pos="2880"/>
      </p:guideLst>
    </p:cSldViewPr>
  </p:slideViewPr>
  <p:notesTextViewPr>
    <p:cViewPr>
      <p:scale>
        <a:sx n="1" d="1"/>
        <a:sy n="1" d="1"/>
      </p:scale>
      <p:origin x="0" y="0"/>
    </p:cViewPr>
  </p:notesTextViewPr>
  <p:sorterViewPr>
    <p:cViewPr>
      <p:scale>
        <a:sx n="75" d="100"/>
        <a:sy n="75" d="100"/>
      </p:scale>
      <p:origin x="0" y="0"/>
    </p:cViewPr>
  </p:sorterViewPr>
  <p:notesViewPr>
    <p:cSldViewPr>
      <p:cViewPr varScale="1">
        <p:scale>
          <a:sx n="65" d="100"/>
          <a:sy n="65" d="100"/>
        </p:scale>
        <p:origin x="-3360" y="-96"/>
      </p:cViewPr>
      <p:guideLst>
        <p:guide orient="horz" pos="2880"/>
        <p:guide pos="2160"/>
      </p:guideLst>
    </p:cSldViewPr>
  </p:notesViewPr>
  <p:gridSpacing cx="72008" cy="72008"/>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7.xml" /><Relationship Id="rId11" Type="http://schemas.openxmlformats.org/officeDocument/2006/relationships/slide" Target="slides/slide8.xml" /><Relationship Id="rId12" Type="http://schemas.openxmlformats.org/officeDocument/2006/relationships/slide" Target="slides/slide9.xml" /><Relationship Id="rId13" Type="http://schemas.openxmlformats.org/officeDocument/2006/relationships/slide" Target="slides/slide10.xml" /><Relationship Id="rId14" Type="http://schemas.openxmlformats.org/officeDocument/2006/relationships/slide" Target="slides/slide11.xml" /><Relationship Id="rId15" Type="http://schemas.openxmlformats.org/officeDocument/2006/relationships/slide" Target="slides/slide12.xml" /><Relationship Id="rId16" Type="http://schemas.openxmlformats.org/officeDocument/2006/relationships/slide" Target="slides/slide13.xml" /><Relationship Id="rId17" Type="http://schemas.openxmlformats.org/officeDocument/2006/relationships/slide" Target="slides/slide14.xml" /><Relationship Id="rId18" Type="http://schemas.openxmlformats.org/officeDocument/2006/relationships/slide" Target="slides/slide15.xml" /><Relationship Id="rId19" Type="http://schemas.openxmlformats.org/officeDocument/2006/relationships/slide" Target="slides/slide16.xml" /><Relationship Id="rId2" Type="http://schemas.openxmlformats.org/officeDocument/2006/relationships/slideMaster" Target="slideMasters/slideMaster2.xml" /><Relationship Id="rId20" Type="http://schemas.openxmlformats.org/officeDocument/2006/relationships/slide" Target="slides/slide17.xml" /><Relationship Id="rId21" Type="http://schemas.openxmlformats.org/officeDocument/2006/relationships/slide" Target="slides/slide18.xml" /><Relationship Id="rId22" Type="http://schemas.openxmlformats.org/officeDocument/2006/relationships/slide" Target="slides/slide19.xml" /><Relationship Id="rId23" Type="http://schemas.openxmlformats.org/officeDocument/2006/relationships/slide" Target="slides/slide20.xml" /><Relationship Id="rId24" Type="http://schemas.openxmlformats.org/officeDocument/2006/relationships/slide" Target="slides/slide21.xml" /><Relationship Id="rId25" Type="http://schemas.openxmlformats.org/officeDocument/2006/relationships/slide" Target="slides/slide22.xml" /><Relationship Id="rId26" Type="http://schemas.openxmlformats.org/officeDocument/2006/relationships/slide" Target="slides/slide23.xml" /><Relationship Id="rId27" Type="http://schemas.openxmlformats.org/officeDocument/2006/relationships/slide" Target="slides/slide24.xml" /><Relationship Id="rId28" Type="http://schemas.openxmlformats.org/officeDocument/2006/relationships/slide" Target="slides/slide25.xml" /><Relationship Id="rId29" Type="http://schemas.openxmlformats.org/officeDocument/2006/relationships/slide" Target="slides/slide26.xml" /><Relationship Id="rId3" Type="http://schemas.openxmlformats.org/officeDocument/2006/relationships/notesMaster" Target="notesMasters/notesMaster1.xml" /><Relationship Id="rId30" Type="http://schemas.openxmlformats.org/officeDocument/2006/relationships/tags" Target="tags/tag68.xml" /><Relationship Id="rId31" Type="http://schemas.openxmlformats.org/officeDocument/2006/relationships/presProps" Target="presProps.xml" /><Relationship Id="rId32" Type="http://schemas.openxmlformats.org/officeDocument/2006/relationships/viewProps" Target="viewProps.xml" /><Relationship Id="rId33" Type="http://schemas.openxmlformats.org/officeDocument/2006/relationships/theme" Target="theme/theme1.xml" /><Relationship Id="rId34" Type="http://schemas.openxmlformats.org/officeDocument/2006/relationships/tableStyles" Target="tableStyles.xml" /><Relationship Id="rId4" Type="http://schemas.openxmlformats.org/officeDocument/2006/relationships/slide" Target="slides/slide1.xml" /><Relationship Id="rId5" Type="http://schemas.openxmlformats.org/officeDocument/2006/relationships/slide" Target="slides/slide2.xml" /><Relationship Id="rId6" Type="http://schemas.openxmlformats.org/officeDocument/2006/relationships/slide" Target="slides/slide3.xml" /><Relationship Id="rId7" Type="http://schemas.openxmlformats.org/officeDocument/2006/relationships/slide" Target="slides/slide4.xml" /><Relationship Id="rId8" Type="http://schemas.openxmlformats.org/officeDocument/2006/relationships/slide" Target="slides/slide5.xml" /><Relationship Id="rId9" Type="http://schemas.openxmlformats.org/officeDocument/2006/relationships/slide" Target="slides/slide6.xml" /></Relationships>
</file>

<file path=ppt/charts/_rels/chart1.xml.rels>&#65279;<?xml version="1.0" encoding="utf-8" standalone="yes"?><Relationships xmlns="http://schemas.openxmlformats.org/package/2006/relationships"><Relationship Id="rId1" Type="http://schemas.openxmlformats.org/officeDocument/2006/relationships/package" Target="../embeddings/Microsoft_Excel_Worksheet1.xlsx" /></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860" b="0" i="0" u="none" strike="noStrike" kern="1200" spc="0" baseline="0">
                <a:solidFill>
                  <a:srgbClr val="3A3A3A"/>
                </a:solidFill>
                <a:latin typeface="+mn-lt"/>
                <a:ea typeface="+mn-ea"/>
                <a:cs typeface="+mn-cs"/>
              </a:defRPr>
            </a:pPr>
            <a:r>
              <a:rPr lang="en-US" altLang="zh-CN"/>
              <a:t>TITLE HERE</a:t>
            </a:r>
            <a:endParaRPr lang="zh-CN" altLang="en-US"/>
          </a:p>
        </c:rich>
      </c:tx>
      <c:layout>
        <c:manualLayout>
          <c:xMode val="edge"/>
          <c:yMode val="edge"/>
          <c:x val="0.16358208656311035"/>
          <c:y val="0.061761666089296341"/>
        </c:manualLayout>
      </c:layout>
      <c:overlay val="0"/>
      <c:spPr>
        <a:noFill/>
        <a:ln>
          <a:noFill/>
        </a:ln>
        <a:effectLst/>
      </c:spPr>
      <c:txPr>
        <a:bodyPr/>
        <a:p>
          <a:pPr>
            <a:defRPr/>
          </a:pPr>
        </a:p>
      </c:txPr>
    </c:title>
    <c:autoTitleDeleted val="0"/>
    <c:plotArea>
      <c:barChart>
        <c:barDir val="bar"/>
        <c:grouping val="clustered"/>
        <c:varyColors val="0"/>
        <c:ser>
          <c:idx val="0"/>
          <c:order val="0"/>
          <c:tx>
            <c:strRef>
              <c:f>Sheet1!$B$1</c:f>
              <c:strCache>
                <c:ptCount val="1"/>
                <c:pt idx="0">
                  <c:v>TEXT1</c:v>
                </c:pt>
              </c:strCache>
            </c:strRef>
          </c:tx>
          <c:spPr>
            <a:solidFill>
              <a:schemeClr val="accent2"/>
            </a:solidFill>
            <a:ln>
              <a:noFill/>
            </a:ln>
            <a:effectLst/>
          </c:spPr>
          <c:invertIfNegative val="0"/>
          <c:cat>
            <c:strRef>
              <c:f>Sheet1!$A$2:$A$4</c:f>
              <c:strCache>
                <c:ptCount val="3"/>
                <c:pt idx="0">
                  <c:v>NO.1</c:v>
                </c:pt>
                <c:pt idx="1">
                  <c:v>NO.2</c:v>
                </c:pt>
                <c:pt idx="2">
                  <c:v>NO.3</c:v>
                </c:pt>
              </c:strCache>
            </c:strRef>
          </c:cat>
          <c:val>
            <c:numRef>
              <c:f>Sheet1!$B$2:$B$4</c:f>
              <c:numCache>
                <c:formatCode>General</c:formatCode>
                <c:ptCount val="3"/>
                <c:pt idx="0">
                  <c:v>4.3</c:v>
                </c:pt>
                <c:pt idx="1">
                  <c:v>2.5</c:v>
                </c:pt>
                <c:pt idx="2">
                  <c:v>3.5</c:v>
                </c:pt>
              </c:numCache>
            </c:numRef>
          </c:val>
        </c:ser>
        <c:ser>
          <c:idx val="1"/>
          <c:order val="1"/>
          <c:tx>
            <c:strRef>
              <c:f>Sheet1!$C$1</c:f>
              <c:strCache>
                <c:ptCount val="1"/>
                <c:pt idx="0">
                  <c:v>TEXT2</c:v>
                </c:pt>
              </c:strCache>
            </c:strRef>
          </c:tx>
          <c:spPr>
            <a:solidFill>
              <a:srgbClr val="E1E1E1"/>
            </a:solidFill>
            <a:ln>
              <a:noFill/>
            </a:ln>
            <a:effectLst/>
          </c:spPr>
          <c:invertIfNegative val="0"/>
          <c:cat>
            <c:strRef>
              <c:f>Sheet1!$A$2:$A$4</c:f>
              <c:strCache>
                <c:ptCount val="3"/>
                <c:pt idx="0">
                  <c:v>NO.1</c:v>
                </c:pt>
                <c:pt idx="1">
                  <c:v>NO.2</c:v>
                </c:pt>
                <c:pt idx="2">
                  <c:v>NO.3</c:v>
                </c:pt>
              </c:strCache>
            </c:strRef>
          </c:cat>
          <c:val>
            <c:numRef>
              <c:f>Sheet1!$C$2:$C$4</c:f>
              <c:numCache>
                <c:formatCode>General</c:formatCode>
                <c:ptCount val="3"/>
                <c:pt idx="0">
                  <c:v>2.4</c:v>
                </c:pt>
                <c:pt idx="1">
                  <c:v>4.4</c:v>
                </c:pt>
                <c:pt idx="2">
                  <c:v>1.8</c:v>
                </c:pt>
              </c:numCache>
            </c:numRef>
          </c:val>
        </c:ser>
        <c:ser>
          <c:idx val="2"/>
          <c:order val="2"/>
          <c:tx>
            <c:strRef>
              <c:f>Sheet1!$D$1</c:f>
              <c:strCache>
                <c:ptCount val="1"/>
                <c:pt idx="0">
                  <c:v>TEXT3</c:v>
                </c:pt>
              </c:strCache>
            </c:strRef>
          </c:tx>
          <c:spPr>
            <a:solidFill>
              <a:schemeClr val="accent3"/>
            </a:solidFill>
            <a:ln>
              <a:noFill/>
            </a:ln>
            <a:effectLst/>
          </c:spPr>
          <c:invertIfNegative val="0"/>
          <c:cat>
            <c:strRef>
              <c:f>Sheet1!$A$2:$A$4</c:f>
              <c:strCache>
                <c:ptCount val="3"/>
                <c:pt idx="0">
                  <c:v>NO.1</c:v>
                </c:pt>
                <c:pt idx="1">
                  <c:v>NO.2</c:v>
                </c:pt>
                <c:pt idx="2">
                  <c:v>NO.3</c:v>
                </c:pt>
              </c:strCache>
            </c:strRef>
          </c:cat>
          <c:val>
            <c:numRef>
              <c:f>Sheet1!$D$2:$D$4</c:f>
              <c:numCache>
                <c:formatCode>General</c:formatCode>
                <c:ptCount val="3"/>
                <c:pt idx="0">
                  <c:v>2</c:v>
                </c:pt>
                <c:pt idx="1">
                  <c:v>2</c:v>
                </c:pt>
                <c:pt idx="2">
                  <c:v>3</c:v>
                </c:pt>
              </c:numCache>
            </c:numRef>
          </c:val>
        </c:ser>
        <c:dLbls>
          <c:showLegendKey val="0"/>
          <c:showVal val="0"/>
          <c:showCatName val="0"/>
          <c:showSerName val="0"/>
          <c:showPercent val="0"/>
          <c:showBubbleSize val="0"/>
          <c:showLeaderLines val="0"/>
        </c:dLbls>
        <c:gapWidth val="79"/>
        <c:overlap val="10"/>
        <c:axId val="676695424"/>
        <c:axId val="676771328"/>
      </c:barChart>
      <c:catAx>
        <c:axId val="676695424"/>
        <c:scaling>
          <c:orientation/>
        </c:scaling>
        <c:delete val="0"/>
        <c:axPos val="l"/>
        <c:title>
          <c:overlay val="0"/>
          <c:spPr>
            <a:noFill/>
            <a:ln>
              <a:noFill/>
            </a:ln>
            <a:effectLst/>
          </c:spPr>
          <c:txPr>
            <a:bodyPr rot="-5400000" spcFirstLastPara="1" vertOverflow="ellipsis" vert="horz" wrap="square" anchor="ctr" anchorCtr="1"/>
            <a:p>
              <a:pPr>
                <a:defRPr lang="zh-CN" sz="1330" b="0" i="0" u="none" strike="noStrike" kern="1200" baseline="0" smtId="4294967295">
                  <a:solidFill>
                    <a:srgbClr val="3A3A3A"/>
                  </a:solidFill>
                  <a:latin typeface="+mn-lt"/>
                  <a:ea typeface="+mn-ea"/>
                  <a:cs typeface="+mn-cs"/>
                </a:defRPr>
              </a:pPr>
              <a:endParaRPr lang="zh-CN" sz="1330" b="0" i="0" u="none" strike="noStrike" kern="1200" baseline="0" smtId="4294967295">
                <a:solidFill>
                  <a:srgbClr val="3A3A3A"/>
                </a:solidFill>
                <a:latin typeface="+mn-lt"/>
                <a:ea typeface="+mn-ea"/>
                <a:cs typeface="+mn-cs"/>
              </a:endParaRPr>
            </a:p>
          </c:txPr>
        </c:title>
        <c:numFmt formatCode="General" sourceLinked="1"/>
        <c:majorTickMark val="none"/>
        <c:minorTickMark val="none"/>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p>
            <a:pPr>
              <a:defRPr lang="zh-CN" sz="1195" b="0" i="0" u="none" strike="noStrike" kern="1200" baseline="0" smtId="4294967295">
                <a:solidFill>
                  <a:srgbClr val="3A3A3A"/>
                </a:solidFill>
                <a:latin typeface="+mn-lt"/>
                <a:ea typeface="+mn-ea"/>
                <a:cs typeface="+mn-cs"/>
              </a:defRPr>
            </a:pPr>
            <a:endParaRPr lang="zh-CN" sz="1195" b="0" i="0" u="none" strike="noStrike" kern="1200" baseline="0" smtId="4294967295">
              <a:solidFill>
                <a:srgbClr val="3A3A3A"/>
              </a:solidFill>
              <a:latin typeface="+mn-lt"/>
              <a:ea typeface="+mn-ea"/>
              <a:cs typeface="+mn-cs"/>
            </a:endParaRPr>
          </a:p>
        </c:txPr>
        <c:crossAx val="676771328"/>
        <c:crosses val="autoZero"/>
        <c:auto val="0"/>
        <c:lblAlgn val="ctr"/>
        <c:lblOffset/>
        <c:noMultiLvlLbl val="0"/>
      </c:catAx>
      <c:valAx>
        <c:axId val="676771328"/>
        <c:scaling>
          <c:orientation/>
        </c:scaling>
        <c:delete val="1"/>
        <c:axPos val="b"/>
        <c:title>
          <c:overlay val="0"/>
          <c:spPr>
            <a:noFill/>
            <a:ln>
              <a:noFill/>
            </a:ln>
            <a:effectLst/>
          </c:spPr>
          <c:txPr>
            <a:bodyPr rot="0" spcFirstLastPara="1" vertOverflow="ellipsis" vert="horz" wrap="square" anchor="ctr" anchorCtr="1"/>
            <a:p>
              <a:pPr>
                <a:defRPr lang="zh-CN" sz="1330" b="0" i="0" u="none" strike="noStrike" kern="1200" baseline="0" smtId="4294967295">
                  <a:solidFill>
                    <a:srgbClr val="3A3A3A"/>
                  </a:solidFill>
                  <a:latin typeface="+mn-lt"/>
                  <a:ea typeface="+mn-ea"/>
                  <a:cs typeface="+mn-cs"/>
                </a:defRPr>
              </a:pPr>
              <a:endParaRPr lang="zh-CN" sz="1330" b="0" i="0" u="none" strike="noStrike" kern="1200" baseline="0" smtId="4294967295">
                <a:solidFill>
                  <a:srgbClr val="3A3A3A"/>
                </a:solidFill>
                <a:latin typeface="+mn-lt"/>
                <a:ea typeface="+mn-ea"/>
                <a:cs typeface="+mn-cs"/>
              </a:endParaRPr>
            </a:p>
          </c:txPr>
        </c:title>
        <c:numFmt formatCode="General" sourceLinked="1"/>
        <c:majorTickMark val="none"/>
        <c:minorTickMark val="none"/>
        <c:tickLblPos val="none"/>
        <c:txPr>
          <a:bodyPr rot="-60000000" spcFirstLastPara="0" vertOverflow="ellipsis" vert="horz" wrap="square" anchor="ctr" anchorCtr="1"/>
          <a:p>
            <a:pPr>
              <a:defRPr lang="zh-CN" sz="1000" b="0" i="0" u="none" strike="noStrike" kern="1200" baseline="0" smtId="4294967295">
                <a:solidFill>
                  <a:srgbClr val="3A3A3A"/>
                </a:solidFill>
                <a:latin typeface="+mn-lt"/>
                <a:ea typeface="+mn-ea"/>
                <a:cs typeface="+mn-cs"/>
              </a:defRPr>
            </a:pPr>
            <a:endParaRPr lang="zh-CN" sz="1000" b="0" i="0" u="none" strike="noStrike" kern="1200" baseline="0" smtId="4294967295">
              <a:solidFill>
                <a:srgbClr val="3A3A3A"/>
              </a:solidFill>
              <a:latin typeface="+mn-lt"/>
              <a:ea typeface="+mn-ea"/>
              <a:cs typeface="+mn-cs"/>
            </a:endParaRPr>
          </a:p>
        </c:txPr>
        <c:crossAx val="676695424"/>
        <c:crossBetween val="between"/>
      </c:valAx>
      <c:spPr>
        <a:noFill/>
        <a:ln>
          <a:noFill/>
        </a:ln>
        <a:effectLst/>
      </c:spPr>
    </c:plotArea>
    <c:plotVisOnly val="1"/>
    <c:dispBlanksAs val="gap"/>
    <c:showDLblsOverMax val="0"/>
  </c:chart>
  <c:spPr>
    <a:noFill/>
    <a:ln>
      <a:noFill/>
    </a:ln>
    <a:effectLst/>
  </c:spPr>
  <c:txPr>
    <a:bodyPr/>
    <a:p>
      <a:pPr>
        <a:defRPr lang="zh-CN" smtId="4294967295">
          <a:solidFill>
            <a:srgbClr val="3A3A3A"/>
          </a:solidFill>
        </a:defRPr>
      </a:pPr>
      <a:endParaRPr lang="zh-CN" smtId="4294967295">
        <a:solidFill>
          <a:srgbClr val="3A3A3A"/>
        </a:solidFill>
      </a:endParaRPr>
    </a:p>
  </c:txPr>
  <c:externalData r:id="rId1">
    <c:autoUpdate val="0"/>
  </c:externalData>
</c:chartSpace>
</file>

<file path=ppt/notesMasters/_rels/notesMaster1.xml.rels>&#65279;<?xml version="1.0" encoding="utf-8" standalone="yes"?><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82A5992-9D73-4015-9385-ABE035416B29}" type="datetimeFigureOut">
              <a:rPr lang="zh-CN" altLang="en-US" smtClean="0"/>
              <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795A699-AB68-4A20-99FB-6F69DC266D45}" type="slidenum">
              <a:rPr lang="zh-CN" altLang="en-US" smtClean="0"/>
              <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2565" algn="l" defTabSz="914400" rtl="0" eaLnBrk="1" latinLnBrk="0" hangingPunct="1">
      <a:defRPr sz="1200" kern="1200">
        <a:solidFill>
          <a:schemeClr val="tx1"/>
        </a:solidFill>
        <a:latin typeface="+mn-lt"/>
        <a:ea typeface="+mn-ea"/>
        <a:cs typeface="+mn-cs"/>
      </a:defRPr>
    </a:lvl7pPr>
    <a:lvl8pPr marL="3199765" algn="l" defTabSz="914400" rtl="0" eaLnBrk="1" latinLnBrk="0" hangingPunct="1">
      <a:defRPr sz="1200" kern="1200">
        <a:solidFill>
          <a:schemeClr val="tx1"/>
        </a:solidFill>
        <a:latin typeface="+mn-lt"/>
        <a:ea typeface="+mn-ea"/>
        <a:cs typeface="+mn-cs"/>
      </a:defRPr>
    </a:lvl8pPr>
    <a:lvl9pPr marL="3656965"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18.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_rels/notesSlide19.xml.rels>&#65279;<?xml version="1.0" encoding="utf-8" standalone="yes"?><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20.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21.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_rels/notesSlide2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23.xml.rels>&#65279;<?xml version="1.0" encoding="utf-8" standalone="yes"?><Relationships xmlns="http://schemas.openxmlformats.org/package/2006/relationships"><Relationship Id="rId1" Type="http://schemas.openxmlformats.org/officeDocument/2006/relationships/slide" Target="../slides/slide23.xml" /><Relationship Id="rId2" Type="http://schemas.openxmlformats.org/officeDocument/2006/relationships/notesMaster" Target="../notesMasters/notesMaster1.xml" /></Relationships>
</file>

<file path=ppt/notesSlides/_rels/notesSlide24.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s>
</file>

<file path=ppt/notesSlides/_rels/notesSlide25.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26.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B62E442-3828-41CA-915E-C7A0C8D1496D}" type="slidenum">
              <a:rPr lang="en-US" smtClean="0"/>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795A699-AB68-4A20-99FB-6F69DC266D45}"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6B02EC-97C0-4E19-AA45-E904FCC1D11E}" type="slidenum">
              <a:rPr lang="en-GB" smtClean="0"/>
              <a:t>11</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795A699-AB68-4A20-99FB-6F69DC266D45}"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41986" name="Slide Image Placeholder 1"/>
          <p:cNvSpPr>
            <a:spLocks noGrp="1" noRot="1" noChangeAspect="1" noChangeArrowheads="1" noTextEdit="1"/>
          </p:cNvSpPr>
          <p:nvPr>
            <p:ph type="sldImg" idx="4294967295"/>
          </p:nvPr>
        </p:nvSpPr>
        <p:spPr>
          <a:xfrm>
            <a:off x="2286000" y="514350"/>
            <a:ext cx="4572000" cy="2571750"/>
          </a:xfrm>
          <a:ln>
            <a:miter lim="800000"/>
          </a:ln>
        </p:spPr>
      </p:sp>
      <p:sp>
        <p:nvSpPr>
          <p:cNvPr id="41987" name="Notes Placeholder 2"/>
          <p:cNvSpPr>
            <a:spLocks noGrp="1" noChangeArrowheads="1"/>
          </p:cNvSpPr>
          <p:nvPr>
            <p:ph type="body" idx="1"/>
          </p:nvPr>
        </p:nvSpPr>
        <p:spPr/>
        <p:txBody>
          <a:bodyPr/>
          <a:lstStyle/>
          <a:p>
            <a:endParaRPr lang="en-US" altLang="en-US">
              <a:ea typeface="宋体" panose="02010600030101010101"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r>
              <a:rPr lang="en-US" altLang="en-US"/>
              <a:t>My First Template</a:t>
            </a:r>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7DE43C7-BEB6-426A-BE16-2C91E01EB2DC}"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77D52DC-2AC0-40EB-AE3E-9EAE589A4496}"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795A699-AB68-4A20-99FB-6F69DC266D45}"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74D1495A-DD81-44F4-9F54-1F39867BF2D9}" type="slidenum">
              <a:rPr lang="en-US" smtClean="0"/>
              <a:t>23</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B62E442-3828-41CA-915E-C7A0C8D1496D}" type="slidenum">
              <a:rPr lang="en-US" smtClean="0"/>
              <a:t>24</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idx="1"/>
          </p:nvPr>
        </p:nvSpPr>
        <p:spPr>
          <a:noFill/>
          <a:ln>
            <a:noFill/>
          </a:ln>
        </p:spPr>
        <p:txBody>
          <a:bodyPr wrap="square" lIns="91440" tIns="45720" rIns="91440" bIns="45720" anchor="t"/>
          <a:lstStyle/>
          <a:p>
            <a:pPr lvl="0">
              <a:spcBef>
                <a:spcPct val="0"/>
              </a:spcBef>
            </a:pPr>
            <a:r>
              <a:rPr lang="zh-CN" altLang="en-US"/>
              <a:t>模板来自于 </a:t>
            </a:r>
            <a:r>
              <a:rPr lang="en-US" altLang="zh-CN"/>
              <a:t>https://www.ppthui.com    【PPT</a:t>
            </a:r>
            <a:r>
              <a:rPr lang="zh-CN" altLang="en-US"/>
              <a:t>汇</a:t>
            </a:r>
            <a:r>
              <a:rPr lang="en-US" altLang="zh-CN"/>
              <a:t>】</a:t>
            </a:r>
            <a:endParaRPr lang="zh-CN" altLang="en-US"/>
          </a:p>
        </p:txBody>
      </p:sp>
      <p:sp>
        <p:nvSpPr>
          <p:cNvPr id="39939" name="灯片编号占位符 3"/>
          <p:cNvSpPr>
            <a:spLocks noGrp="1"/>
          </p:cNvSpPr>
          <p:nvPr>
            <p:ph type="sldNum" sz="quarter" idx="10"/>
          </p:nvPr>
        </p:nvSpPr>
        <p:spPr>
          <a:xfrm>
            <a:off x="3884613" y="8685213"/>
            <a:ext cx="2971800" cy="458787"/>
          </a:xfrm>
          <a:prstGeom prst="rect">
            <a:avLst/>
          </a:prstGeom>
          <a:noFill/>
          <a:ln w="9525">
            <a:noFill/>
          </a:ln>
        </p:spPr>
        <p:txBody>
          <a:bodyPr vert="horz" wrap="square" lIns="91440" tIns="45720" rIns="91440" bIns="45720" anchor="b"/>
          <a:lstStyle/>
          <a:p>
            <a:pPr lvl="0" algn="r" eaLnBrk="1" hangingPunct="1"/>
            <a:fld id="{9A0DB2DC-4C9A-4742-B13C-FB6460FD3503}" type="slidenum">
              <a:rPr lang="zh-CN" altLang="en-US" sz="1200">
                <a:solidFill>
                  <a:srgbClr val="000000"/>
                </a:solidFill>
                <a:latin typeface="Calibri" panose="020f0502020204030204" pitchFamily="34" charset="0"/>
                <a:ea typeface="宋体" panose="02010600030101010101" pitchFamily="2" charset="-122"/>
              </a:rPr>
              <a:t>25</a:t>
            </a:fld>
            <a:endParaRPr lang="zh-CN" altLang="en-US" sz="1200">
              <a:solidFill>
                <a:srgbClr val="000000"/>
              </a:solidFill>
              <a:latin typeface="Calibri" panose="020f0502020204030204" pitchFamily="34" charset="0"/>
              <a:ea typeface="宋体" panose="02010600030101010101" pitchFamily="2" charset="-122"/>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idx="1"/>
          </p:nvPr>
        </p:nvSpPr>
        <p:spPr>
          <a:noFill/>
          <a:ln>
            <a:noFill/>
          </a:ln>
        </p:spPr>
        <p:txBody>
          <a:bodyPr wrap="square" lIns="91440" tIns="45720" rIns="91440" bIns="45720" anchor="t"/>
          <a:lstStyle/>
          <a:p>
            <a:pPr lvl="0">
              <a:spcBef>
                <a:spcPct val="0"/>
              </a:spcBef>
            </a:pPr>
            <a:r>
              <a:rPr lang="zh-CN" altLang="en-US"/>
              <a:t>模板来自于 </a:t>
            </a:r>
            <a:r>
              <a:rPr lang="en-US" altLang="zh-CN"/>
              <a:t>https://www.ppthui.com    【PPT</a:t>
            </a:r>
            <a:r>
              <a:rPr lang="zh-CN" altLang="en-US"/>
              <a:t>汇</a:t>
            </a:r>
            <a:r>
              <a:rPr lang="en-US" altLang="zh-CN"/>
              <a:t>】</a:t>
            </a:r>
            <a:endParaRPr lang="zh-CN" altLang="en-US"/>
          </a:p>
        </p:txBody>
      </p:sp>
      <p:sp>
        <p:nvSpPr>
          <p:cNvPr id="39939" name="灯片编号占位符 3"/>
          <p:cNvSpPr>
            <a:spLocks noGrp="1"/>
          </p:cNvSpPr>
          <p:nvPr>
            <p:ph type="sldNum" sz="quarter" idx="10"/>
          </p:nvPr>
        </p:nvSpPr>
        <p:spPr>
          <a:xfrm>
            <a:off x="2913460" y="6513910"/>
            <a:ext cx="2228850" cy="344090"/>
          </a:xfrm>
          <a:prstGeom prst="rect">
            <a:avLst/>
          </a:prstGeom>
          <a:noFill/>
          <a:ln w="9525">
            <a:noFill/>
          </a:ln>
        </p:spPr>
        <p:txBody>
          <a:bodyPr vert="horz" wrap="square" lIns="91440" tIns="45720" rIns="91440" bIns="45720" anchor="b"/>
          <a:lstStyle/>
          <a:p>
            <a:pPr lvl="0" algn="r" eaLnBrk="1" hangingPunct="1"/>
            <a:fld id="{9A0DB2DC-4C9A-4742-B13C-FB6460FD3503}" type="slidenum">
              <a:rPr lang="zh-CN" altLang="en-US" sz="900">
                <a:solidFill>
                  <a:srgbClr val="000000"/>
                </a:solidFill>
                <a:latin typeface="Calibri"/>
                <a:ea typeface="宋体" panose="02010600030101010101" pitchFamily="2" charset="-122"/>
              </a:rPr>
              <a:t>26</a:t>
            </a:fld>
            <a:endParaRPr lang="zh-CN" altLang="en-US" sz="900">
              <a:solidFill>
                <a:srgbClr val="000000"/>
              </a:solidFill>
              <a:latin typeface="Calibri"/>
              <a:ea typeface="宋体"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1506" name="幻灯片图像占位符 1"/>
          <p:cNvSpPr>
            <a:spLocks noGrp="1" noRot="1" noChangeAspect="1" noChangeArrowheads="1" noTextEdit="1"/>
          </p:cNvSpPr>
          <p:nvPr>
            <p:ph type="sldImg" idx="4294967295"/>
          </p:nvPr>
        </p:nvSpPr>
        <p:spPr>
          <a:xfrm>
            <a:off x="381000" y="685800"/>
            <a:ext cx="6096000" cy="3429000"/>
          </a:xfrm>
          <a:ln>
            <a:miter lim="800000"/>
          </a:ln>
        </p:spPr>
      </p:sp>
      <p:sp>
        <p:nvSpPr>
          <p:cNvPr id="21507" name="备注占位符 2"/>
          <p:cNvSpPr>
            <a:spLocks noGrp="1" noChangeArrowheads="1"/>
          </p:cNvSpPr>
          <p:nvPr>
            <p:ph type="body" idx="6"/>
          </p:nvPr>
        </p:nvSpPr>
        <p:spPr/>
        <p:txBody>
          <a:bodyPr/>
          <a:lstStyle/>
          <a:p>
            <a:endParaRPr lang="zh-CN" altLang="en-US"/>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C147A23-5BA8-44CE-9215-79B767159C41}"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77D52DC-2AC0-40EB-AE3E-9EAE589A4496}"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795A699-AB68-4A20-99FB-6F69DC266D45}" type="slidenum">
              <a:rPr lang="zh-CN" altLang="en-US" smtClean="0"/>
              <a:t>9</a:t>
            </a:fld>
            <a:endParaRPr lang="zh-CN" altLang="en-US"/>
          </a:p>
        </p:txBody>
      </p:sp>
    </p:spTree>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5.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slideMaster" Target="../slideMasters/slideMaster1.xml" /></Relationships>
</file>

<file path=ppt/slideLayouts/_rels/slideLayout16.xml.rels>&#65279;<?xml version="1.0" encoding="utf-8" standalone="yes"?><Relationships xmlns="http://schemas.openxmlformats.org/package/2006/relationships"><Relationship Id="rId1" Type="http://schemas.openxmlformats.org/officeDocument/2006/relationships/image" Target="../media/image3.png" /><Relationship Id="rId2" Type="http://schemas.openxmlformats.org/officeDocument/2006/relationships/slideMaster" Target="../slideMasters/slideMaster1.xml" /></Relationships>
</file>

<file path=ppt/slideLayouts/_rels/slideLayout1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8.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tags" Target="../tags/tag2.xml" /><Relationship Id="rId3" Type="http://schemas.openxmlformats.org/officeDocument/2006/relationships/tags" Target="../tags/tag3.xml" /><Relationship Id="rId4" Type="http://schemas.openxmlformats.org/officeDocument/2006/relationships/tags" Target="../tags/tag4.xml" /><Relationship Id="rId5" Type="http://schemas.openxmlformats.org/officeDocument/2006/relationships/tags" Target="../tags/tag5.xml" /><Relationship Id="rId6" Type="http://schemas.openxmlformats.org/officeDocument/2006/relationships/slideMaster" Target="../slideMasters/slideMaster2.xml" /></Relationships>
</file>

<file path=ppt/slideLayouts/_rels/slideLayout19.xml.rels>&#65279;<?xml version="1.0" encoding="utf-8" standalone="yes"?><Relationships xmlns="http://schemas.openxmlformats.org/package/2006/relationships"><Relationship Id="rId1" Type="http://schemas.openxmlformats.org/officeDocument/2006/relationships/tags" Target="../tags/tag6.xml" /><Relationship Id="rId2" Type="http://schemas.openxmlformats.org/officeDocument/2006/relationships/tags" Target="../tags/tag7.xml" /><Relationship Id="rId3" Type="http://schemas.openxmlformats.org/officeDocument/2006/relationships/tags" Target="../tags/tag8.xml" /><Relationship Id="rId4" Type="http://schemas.openxmlformats.org/officeDocument/2006/relationships/tags" Target="../tags/tag9.xml" /><Relationship Id="rId5" Type="http://schemas.openxmlformats.org/officeDocument/2006/relationships/tags" Target="../tags/tag10.xml" /><Relationship Id="rId6" Type="http://schemas.openxmlformats.org/officeDocument/2006/relationships/slideMaster" Target="../slideMasters/slideMaster2.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tags" Target="../tags/tag11.xml" /><Relationship Id="rId2" Type="http://schemas.openxmlformats.org/officeDocument/2006/relationships/tags" Target="../tags/tag12.xml" /><Relationship Id="rId3" Type="http://schemas.openxmlformats.org/officeDocument/2006/relationships/tags" Target="../tags/tag13.xml" /><Relationship Id="rId4" Type="http://schemas.openxmlformats.org/officeDocument/2006/relationships/tags" Target="../tags/tag14.xml" /><Relationship Id="rId5" Type="http://schemas.openxmlformats.org/officeDocument/2006/relationships/tags" Target="../tags/tag15.xml" /><Relationship Id="rId6" Type="http://schemas.openxmlformats.org/officeDocument/2006/relationships/slideMaster" Target="../slideMasters/slideMaster2.xml" /></Relationships>
</file>

<file path=ppt/slideLayouts/_rels/slideLayout21.xml.rels>&#65279;<?xml version="1.0" encoding="utf-8" standalone="yes"?><Relationships xmlns="http://schemas.openxmlformats.org/package/2006/relationships"><Relationship Id="rId1" Type="http://schemas.openxmlformats.org/officeDocument/2006/relationships/tags" Target="../tags/tag16.xml" /><Relationship Id="rId2" Type="http://schemas.openxmlformats.org/officeDocument/2006/relationships/tags" Target="../tags/tag17.xml" /><Relationship Id="rId3" Type="http://schemas.openxmlformats.org/officeDocument/2006/relationships/tags" Target="../tags/tag18.xml" /><Relationship Id="rId4" Type="http://schemas.openxmlformats.org/officeDocument/2006/relationships/tags" Target="../tags/tag19.xml" /><Relationship Id="rId5" Type="http://schemas.openxmlformats.org/officeDocument/2006/relationships/tags" Target="../tags/tag20.xml" /><Relationship Id="rId6" Type="http://schemas.openxmlformats.org/officeDocument/2006/relationships/tags" Target="../tags/tag21.xml" /><Relationship Id="rId7" Type="http://schemas.openxmlformats.org/officeDocument/2006/relationships/slideMaster" Target="../slideMasters/slideMaster2.xml" /></Relationships>
</file>

<file path=ppt/slideLayouts/_rels/slideLayout22.xml.rels>&#65279;<?xml version="1.0" encoding="utf-8" standalone="yes"?><Relationships xmlns="http://schemas.openxmlformats.org/package/2006/relationships"><Relationship Id="rId1" Type="http://schemas.openxmlformats.org/officeDocument/2006/relationships/tags" Target="../tags/tag22.xml" /><Relationship Id="rId2" Type="http://schemas.openxmlformats.org/officeDocument/2006/relationships/tags" Target="../tags/tag23.xml" /><Relationship Id="rId3" Type="http://schemas.openxmlformats.org/officeDocument/2006/relationships/tags" Target="../tags/tag24.xml" /><Relationship Id="rId4" Type="http://schemas.openxmlformats.org/officeDocument/2006/relationships/tags" Target="../tags/tag25.xml" /><Relationship Id="rId5" Type="http://schemas.openxmlformats.org/officeDocument/2006/relationships/tags" Target="../tags/tag26.xml" /><Relationship Id="rId6" Type="http://schemas.openxmlformats.org/officeDocument/2006/relationships/tags" Target="../tags/tag27.xml" /><Relationship Id="rId7" Type="http://schemas.openxmlformats.org/officeDocument/2006/relationships/tags" Target="../tags/tag28.xml" /><Relationship Id="rId8" Type="http://schemas.openxmlformats.org/officeDocument/2006/relationships/tags" Target="../tags/tag29.xml" /><Relationship Id="rId9" Type="http://schemas.openxmlformats.org/officeDocument/2006/relationships/slideMaster" Target="../slideMasters/slideMaster2.xml" /></Relationships>
</file>

<file path=ppt/slideLayouts/_rels/slideLayout23.xml.rels>&#65279;<?xml version="1.0" encoding="utf-8" standalone="yes"?><Relationships xmlns="http://schemas.openxmlformats.org/package/2006/relationships"><Relationship Id="rId1" Type="http://schemas.openxmlformats.org/officeDocument/2006/relationships/tags" Target="../tags/tag30.xml" /><Relationship Id="rId2" Type="http://schemas.openxmlformats.org/officeDocument/2006/relationships/tags" Target="../tags/tag31.xml" /><Relationship Id="rId3" Type="http://schemas.openxmlformats.org/officeDocument/2006/relationships/tags" Target="../tags/tag32.xml" /><Relationship Id="rId4" Type="http://schemas.openxmlformats.org/officeDocument/2006/relationships/tags" Target="../tags/tag33.xml" /><Relationship Id="rId5" Type="http://schemas.openxmlformats.org/officeDocument/2006/relationships/slideMaster" Target="../slideMasters/slideMaster2.xml" /></Relationships>
</file>

<file path=ppt/slideLayouts/_rels/slideLayout24.xml.rels>&#65279;<?xml version="1.0" encoding="utf-8" standalone="yes"?><Relationships xmlns="http://schemas.openxmlformats.org/package/2006/relationships"><Relationship Id="rId1" Type="http://schemas.openxmlformats.org/officeDocument/2006/relationships/tags" Target="../tags/tag34.xml" /><Relationship Id="rId2" Type="http://schemas.openxmlformats.org/officeDocument/2006/relationships/tags" Target="../tags/tag35.xml" /><Relationship Id="rId3" Type="http://schemas.openxmlformats.org/officeDocument/2006/relationships/tags" Target="../tags/tag36.xml" /><Relationship Id="rId4" Type="http://schemas.openxmlformats.org/officeDocument/2006/relationships/slideMaster" Target="../slideMasters/slideMaster2.xml" /></Relationships>
</file>

<file path=ppt/slideLayouts/_rels/slideLayout25.xml.rels>&#65279;<?xml version="1.0" encoding="utf-8" standalone="yes"?><Relationships xmlns="http://schemas.openxmlformats.org/package/2006/relationships"><Relationship Id="rId1" Type="http://schemas.openxmlformats.org/officeDocument/2006/relationships/tags" Target="../tags/tag37.xml" /><Relationship Id="rId2" Type="http://schemas.openxmlformats.org/officeDocument/2006/relationships/tags" Target="../tags/tag38.xml" /><Relationship Id="rId3" Type="http://schemas.openxmlformats.org/officeDocument/2006/relationships/tags" Target="../tags/tag39.xml" /><Relationship Id="rId4" Type="http://schemas.openxmlformats.org/officeDocument/2006/relationships/tags" Target="../tags/tag40.xml" /><Relationship Id="rId5" Type="http://schemas.openxmlformats.org/officeDocument/2006/relationships/tags" Target="../tags/tag41.xml" /><Relationship Id="rId6" Type="http://schemas.openxmlformats.org/officeDocument/2006/relationships/tags" Target="../tags/tag42.xml" /><Relationship Id="rId7" Type="http://schemas.openxmlformats.org/officeDocument/2006/relationships/slideMaster" Target="../slideMasters/slideMaster2.xml" /></Relationships>
</file>

<file path=ppt/slideLayouts/_rels/slideLayout26.xml.rels>&#65279;<?xml version="1.0" encoding="utf-8" standalone="yes"?><Relationships xmlns="http://schemas.openxmlformats.org/package/2006/relationships"><Relationship Id="rId1" Type="http://schemas.openxmlformats.org/officeDocument/2006/relationships/tags" Target="../tags/tag43.xml" /><Relationship Id="rId2" Type="http://schemas.openxmlformats.org/officeDocument/2006/relationships/tags" Target="../tags/tag44.xml" /><Relationship Id="rId3" Type="http://schemas.openxmlformats.org/officeDocument/2006/relationships/tags" Target="../tags/tag45.xml" /><Relationship Id="rId4" Type="http://schemas.openxmlformats.org/officeDocument/2006/relationships/tags" Target="../tags/tag46.xml" /><Relationship Id="rId5" Type="http://schemas.openxmlformats.org/officeDocument/2006/relationships/tags" Target="../tags/tag47.xml" /><Relationship Id="rId6" Type="http://schemas.openxmlformats.org/officeDocument/2006/relationships/slideMaster" Target="../slideMasters/slideMaster2.xml" /></Relationships>
</file>

<file path=ppt/slideLayouts/_rels/slideLayout27.xml.rels>&#65279;<?xml version="1.0" encoding="utf-8" standalone="yes"?><Relationships xmlns="http://schemas.openxmlformats.org/package/2006/relationships"><Relationship Id="rId1" Type="http://schemas.openxmlformats.org/officeDocument/2006/relationships/tags" Target="../tags/tag48.xml" /><Relationship Id="rId2" Type="http://schemas.openxmlformats.org/officeDocument/2006/relationships/tags" Target="../tags/tag49.xml" /><Relationship Id="rId3" Type="http://schemas.openxmlformats.org/officeDocument/2006/relationships/tags" Target="../tags/tag50.xml" /><Relationship Id="rId4" Type="http://schemas.openxmlformats.org/officeDocument/2006/relationships/tags" Target="../tags/tag51.xml" /><Relationship Id="rId5" Type="http://schemas.openxmlformats.org/officeDocument/2006/relationships/slideMaster" Target="../slideMasters/slideMaster2.xml" /></Relationships>
</file>

<file path=ppt/slideLayouts/_rels/slideLayout28.xml.rels>&#65279;<?xml version="1.0" encoding="utf-8" standalone="yes"?><Relationships xmlns="http://schemas.openxmlformats.org/package/2006/relationships"><Relationship Id="rId1" Type="http://schemas.openxmlformats.org/officeDocument/2006/relationships/tags" Target="../tags/tag52.xml" /><Relationship Id="rId2" Type="http://schemas.openxmlformats.org/officeDocument/2006/relationships/tags" Target="../tags/tag53.xml" /><Relationship Id="rId3" Type="http://schemas.openxmlformats.org/officeDocument/2006/relationships/tags" Target="../tags/tag54.xml" /><Relationship Id="rId4" Type="http://schemas.openxmlformats.org/officeDocument/2006/relationships/tags" Target="../tags/tag55.xml" /><Relationship Id="rId5" Type="http://schemas.openxmlformats.org/officeDocument/2006/relationships/tags" Target="../tags/tag56.xml" /><Relationship Id="rId6" Type="http://schemas.openxmlformats.org/officeDocument/2006/relationships/slideMaster" Target="../slideMasters/slideMaster2.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preserve="1" userDrawn="1">
  <p:cSld name="标题幻灯片">
    <p:spTree>
      <p:nvGrpSpPr>
        <p:cNvPr id="1" name=""/>
        <p:cNvGrpSpPr/>
        <p:nvPr/>
      </p:nvGrpSpPr>
      <p:grpSpPr>
        <a:xfrm>
          <a:off x="0" y="0"/>
          <a:ext cx="0" cy="0"/>
        </a:xfrm>
      </p:grpSpPr>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KSO_BT1"/>
          <p:cNvSpPr>
            <a:spLocks noGrp="1"/>
          </p:cNvSpPr>
          <p:nvPr>
            <p:ph type="title"/>
          </p:nvPr>
        </p:nvSpPr>
        <p:spPr/>
        <p:txBody>
          <a:bodyPr/>
          <a:lstStyle/>
          <a:p>
            <a:r>
              <a:rPr lang="zh-CN" altLang="en-US"/>
              <a:t>单击此处编辑母版标题样式</a:t>
            </a:r>
            <a:endParaRPr lang="en-US"/>
          </a:p>
        </p:txBody>
      </p:sp>
      <p:sp>
        <p:nvSpPr>
          <p:cNvPr id="3" name="KSO_BC1"/>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p:txBody>
      </p:sp>
      <p:sp>
        <p:nvSpPr>
          <p:cNvPr id="4" name="KSO_FD"/>
          <p:cNvSpPr>
            <a:spLocks noGrp="1"/>
          </p:cNvSpPr>
          <p:nvPr>
            <p:ph type="dt" sz="half" idx="10"/>
          </p:nvPr>
        </p:nvSpPr>
        <p:spPr/>
        <p:txBody>
          <a:bodyPr/>
          <a:lstStyle/>
          <a:p>
            <a:fld id="{02854A03-91AF-448A-9954-517C0577E5F0}" type="datetimeFigureOut">
              <a:rPr lang="zh-CN" altLang="en-US" smtClean="0"/>
              <a:t/>
            </a:fld>
            <a:endParaRPr lang="zh-CN" altLang="en-US"/>
          </a:p>
        </p:txBody>
      </p:sp>
      <p:sp>
        <p:nvSpPr>
          <p:cNvPr id="5" name="KSO_FT"/>
          <p:cNvSpPr>
            <a:spLocks noGrp="1"/>
          </p:cNvSpPr>
          <p:nvPr>
            <p:ph type="ftr" sz="quarter" idx="11"/>
          </p:nvPr>
        </p:nvSpPr>
        <p:spPr/>
        <p:txBody>
          <a:bodyPr/>
          <a:lstStyle/>
          <a:p>
            <a:endParaRPr lang="zh-CN" altLang="en-US"/>
          </a:p>
        </p:txBody>
      </p:sp>
      <p:sp>
        <p:nvSpPr>
          <p:cNvPr id="6" name="KSO_FN"/>
          <p:cNvSpPr>
            <a:spLocks noGrp="1"/>
          </p:cNvSpPr>
          <p:nvPr>
            <p:ph type="sldNum" sz="quarter" idx="12"/>
          </p:nvPr>
        </p:nvSpPr>
        <p:spPr/>
        <p:txBody>
          <a:bodyPr/>
          <a:lstStyle/>
          <a:p>
            <a:fld id="{2EEFC946-6D13-4F8C-9740-992A906A613E}"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10;文本">
    <p:spTree>
      <p:nvGrpSpPr>
        <p:cNvPr id="1" name=""/>
        <p:cNvGrpSpPr/>
        <p:nvPr/>
      </p:nvGrpSpPr>
      <p:grpSpPr>
        <a:xfrm>
          <a:off x="0" y="0"/>
          <a:ext cx="0" cy="0"/>
        </a:xfrm>
      </p:grpSpPr>
      <p:sp>
        <p:nvSpPr>
          <p:cNvPr id="2" name="KSO_BT1"/>
          <p:cNvSpPr>
            <a:spLocks noGrp="1"/>
          </p:cNvSpPr>
          <p:nvPr>
            <p:ph type="title" orient="vert"/>
          </p:nvPr>
        </p:nvSpPr>
        <p:spPr>
          <a:xfrm>
            <a:off x="7628469" y="273844"/>
            <a:ext cx="886883" cy="4358879"/>
          </a:xfrm>
        </p:spPr>
        <p:txBody>
          <a:bodyPr vert="eaVert"/>
          <a:lstStyle/>
          <a:p>
            <a:r>
              <a:rPr lang="zh-CN" altLang="en-US"/>
              <a:t>单击此处编辑母版标题样式</a:t>
            </a:r>
            <a:endParaRPr lang="en-US"/>
          </a:p>
        </p:txBody>
      </p:sp>
      <p:sp>
        <p:nvSpPr>
          <p:cNvPr id="3" name="KSO_BC1"/>
          <p:cNvSpPr>
            <a:spLocks noGrp="1"/>
          </p:cNvSpPr>
          <p:nvPr>
            <p:ph type="body" orient="vert" idx="1" hasCustomPrompt="1"/>
          </p:nvPr>
        </p:nvSpPr>
        <p:spPr>
          <a:xfrm>
            <a:off x="1585383" y="273844"/>
            <a:ext cx="5949952" cy="4358879"/>
          </a:xfrm>
        </p:spPr>
        <p:txBody>
          <a:bodyPr vert="eaVert"/>
          <a:lstStyle/>
          <a:p>
            <a:pPr lvl="0"/>
            <a:r>
              <a:rPr lang="zh-CN" altLang="en-US"/>
              <a:t>编辑母版文本样式</a:t>
            </a:r>
            <a:endParaRPr lang="zh-CN" altLang="en-US"/>
          </a:p>
          <a:p>
            <a:pPr lvl="1"/>
            <a:r>
              <a:rPr lang="zh-CN" altLang="en-US"/>
              <a:t>第二级</a:t>
            </a:r>
            <a:endParaRPr lang="zh-CN" altLang="en-US"/>
          </a:p>
        </p:txBody>
      </p:sp>
      <p:sp>
        <p:nvSpPr>
          <p:cNvPr id="4" name="KSO_FD"/>
          <p:cNvSpPr>
            <a:spLocks noGrp="1"/>
          </p:cNvSpPr>
          <p:nvPr>
            <p:ph type="dt" sz="half" idx="10"/>
          </p:nvPr>
        </p:nvSpPr>
        <p:spPr/>
        <p:txBody>
          <a:bodyPr/>
          <a:lstStyle/>
          <a:p>
            <a:fld id="{02854A03-91AF-448A-9954-517C0577E5F0}" type="datetimeFigureOut">
              <a:rPr lang="zh-CN" altLang="en-US" smtClean="0"/>
              <a:t/>
            </a:fld>
            <a:endParaRPr lang="zh-CN" altLang="en-US"/>
          </a:p>
        </p:txBody>
      </p:sp>
      <p:sp>
        <p:nvSpPr>
          <p:cNvPr id="5" name="KSO_FT"/>
          <p:cNvSpPr>
            <a:spLocks noGrp="1"/>
          </p:cNvSpPr>
          <p:nvPr>
            <p:ph type="ftr" sz="quarter" idx="11"/>
          </p:nvPr>
        </p:nvSpPr>
        <p:spPr/>
        <p:txBody>
          <a:bodyPr/>
          <a:lstStyle/>
          <a:p>
            <a:endParaRPr lang="zh-CN" altLang="en-US"/>
          </a:p>
        </p:txBody>
      </p:sp>
      <p:sp>
        <p:nvSpPr>
          <p:cNvPr id="6" name="KSO_FN"/>
          <p:cNvSpPr>
            <a:spLocks noGrp="1"/>
          </p:cNvSpPr>
          <p:nvPr>
            <p:ph type="sldNum" sz="quarter" idx="12"/>
          </p:nvPr>
        </p:nvSpPr>
        <p:spPr/>
        <p:txBody>
          <a:bodyPr/>
          <a:lstStyle/>
          <a:p>
            <a:fld id="{2EEFC946-6D13-4F8C-9740-992A906A613E}"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1_仅标题">
    <p:spTree>
      <p:nvGrpSpPr>
        <p:cNvPr id="1" name=""/>
        <p:cNvGrpSpPr/>
        <p:nvPr/>
      </p:nvGrpSpPr>
      <p:grpSpPr>
        <a:xfrm>
          <a:off x="0" y="0"/>
          <a:ext cx="0" cy="0"/>
        </a:xfrm>
      </p:grpSpPr>
      <p:sp>
        <p:nvSpPr>
          <p:cNvPr id="2" name="日期占位符 3"/>
          <p:cNvSpPr>
            <a:spLocks noGrp="1"/>
          </p:cNvSpPr>
          <p:nvPr>
            <p:ph type="dt" sz="half" idx="10"/>
          </p:nvPr>
        </p:nvSpPr>
        <p:spPr/>
        <p:txBody>
          <a:bodyPr/>
          <a:lstStyle>
            <a:lvl1pPr>
              <a:defRPr/>
            </a:lvl1pPr>
          </a:lstStyle>
          <a:p>
            <a:pPr>
              <a:defRPr/>
            </a:pPr>
            <a:fld id="{7C25B2B0-692A-46A2-956F-D87A1A3CFB5B}" type="datetimeFigureOut">
              <a:rPr lang="zh-CN" altLang="en-US"/>
              <a:t/>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CCE584FB-8213-408C-973A-0BFE315A5B2C}" type="slidenum">
              <a:rPr lang="zh-CN" altLang="en-US"/>
              <a:t/>
            </a:fld>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自定义版式">
    <p:spTree>
      <p:nvGrpSpPr>
        <p:cNvPr id="1" name=""/>
        <p:cNvGrpSpPr/>
        <p:nvPr/>
      </p:nvGrpSpPr>
      <p:grpSpPr>
        <a:xfrm>
          <a:off x="0" y="0"/>
          <a:ext cx="0" cy="0"/>
        </a:xfrm>
      </p:grpSpPr>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1_标题和内容">
    <p:spTree>
      <p:nvGrpSpPr>
        <p:cNvPr id="1" name=""/>
        <p:cNvGrpSpPr/>
        <p:nvPr/>
      </p:nvGrpSpPr>
      <p:grpSpPr>
        <a:xfrm>
          <a:off x="0" y="0"/>
          <a:ext cx="0" cy="0"/>
        </a:xfrm>
      </p:grpSpPr>
      <p:grpSp>
        <p:nvGrpSpPr>
          <p:cNvPr id="5" name="组合 4"/>
          <p:cNvGrpSpPr/>
          <p:nvPr userDrawn="1"/>
        </p:nvGrpSpPr>
        <p:grpSpPr>
          <a:xfrm flipH="1">
            <a:off x="0" y="0"/>
            <a:ext cx="9144000" cy="468086"/>
            <a:chExt cx="12192000" cy="518983"/>
          </a:xfrm>
        </p:grpSpPr>
        <p:sp>
          <p:nvSpPr>
            <p:cNvPr id="6" name="矩形 5"/>
            <p:cNvSpPr/>
            <p:nvPr/>
          </p:nvSpPr>
          <p:spPr>
            <a:xfrm>
              <a:off x="0" y="0"/>
              <a:ext cx="2497541" cy="518615"/>
            </a:xfrm>
            <a:prstGeom prst="rect">
              <a:avLst/>
            </a:prstGeom>
            <a:solidFill>
              <a:srgbClr val="66C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0" name="矩形 9"/>
            <p:cNvSpPr/>
            <p:nvPr/>
          </p:nvSpPr>
          <p:spPr>
            <a:xfrm>
              <a:off x="2620371" y="368"/>
              <a:ext cx="9571629" cy="518615"/>
            </a:xfrm>
            <a:prstGeom prst="rect">
              <a:avLst/>
            </a:prstGeom>
            <a:solidFill>
              <a:srgbClr val="EE7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sp>
        <p:nvSpPr>
          <p:cNvPr id="7" name="文本框 12"/>
          <p:cNvSpPr txBox="1">
            <a:spLocks noChangeArrowheads="1"/>
          </p:cNvSpPr>
          <p:nvPr userDrawn="1"/>
        </p:nvSpPr>
        <p:spPr bwMode="auto">
          <a:xfrm>
            <a:off x="179512" y="123478"/>
            <a:ext cx="1796090" cy="250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5023" tIns="32511" rIns="65023" bIns="32511">
            <a:spAutoFit/>
          </a:bodyPr>
          <a:lstStyle>
            <a:lvl1pPr>
              <a:defRPr>
                <a:solidFill>
                  <a:schemeClr val="tx1"/>
                </a:solidFill>
                <a:latin typeface="Open Sans" panose="020b0606030504020204" pitchFamily="34" charset="0"/>
                <a:ea typeface="冬青黑体简体中文 W3" charset="-122"/>
              </a:defRPr>
            </a:lvl1pPr>
            <a:lvl2pPr marL="742950" indent="-285750">
              <a:defRPr>
                <a:solidFill>
                  <a:schemeClr val="tx1"/>
                </a:solidFill>
                <a:latin typeface="Open Sans" panose="020b0606030504020204" pitchFamily="34" charset="0"/>
                <a:ea typeface="冬青黑体简体中文 W3" charset="-122"/>
              </a:defRPr>
            </a:lvl2pPr>
            <a:lvl3pPr marL="1143000" indent="-228600">
              <a:defRPr>
                <a:solidFill>
                  <a:schemeClr val="tx1"/>
                </a:solidFill>
                <a:latin typeface="Open Sans" panose="020b0606030504020204" pitchFamily="34" charset="0"/>
                <a:ea typeface="冬青黑体简体中文 W3" charset="-122"/>
              </a:defRPr>
            </a:lvl3pPr>
            <a:lvl4pPr marL="1600200" indent="-228600">
              <a:defRPr>
                <a:solidFill>
                  <a:schemeClr val="tx1"/>
                </a:solidFill>
                <a:latin typeface="Open Sans" panose="020b0606030504020204" pitchFamily="34" charset="0"/>
                <a:ea typeface="冬青黑体简体中文 W3" charset="-122"/>
              </a:defRPr>
            </a:lvl4pPr>
            <a:lvl5pPr marL="2057400" indent="-228600">
              <a:defRPr>
                <a:solidFill>
                  <a:schemeClr val="tx1"/>
                </a:solidFill>
                <a:latin typeface="Open Sans" panose="020b0606030504020204" pitchFamily="34" charset="0"/>
                <a:ea typeface="冬青黑体简体中文 W3" charset="-122"/>
              </a:defRPr>
            </a:lvl5pPr>
            <a:lvl6pPr marL="2514600" indent="-228600" fontAlgn="base">
              <a:spcBef>
                <a:spcPct val="0"/>
              </a:spcBef>
              <a:spcAft>
                <a:spcPct val="0"/>
              </a:spcAft>
              <a:defRPr>
                <a:solidFill>
                  <a:schemeClr val="tx1"/>
                </a:solidFill>
                <a:latin typeface="Open Sans" panose="020b0606030504020204" pitchFamily="34" charset="0"/>
                <a:ea typeface="冬青黑体简体中文 W3" charset="-122"/>
              </a:defRPr>
            </a:lvl6pPr>
            <a:lvl7pPr marL="2971800" indent="-228600" fontAlgn="base">
              <a:spcBef>
                <a:spcPct val="0"/>
              </a:spcBef>
              <a:spcAft>
                <a:spcPct val="0"/>
              </a:spcAft>
              <a:defRPr>
                <a:solidFill>
                  <a:schemeClr val="tx1"/>
                </a:solidFill>
                <a:latin typeface="Open Sans" panose="020b0606030504020204" pitchFamily="34" charset="0"/>
                <a:ea typeface="冬青黑体简体中文 W3" charset="-122"/>
              </a:defRPr>
            </a:lvl7pPr>
            <a:lvl8pPr marL="3429000" indent="-228600" fontAlgn="base">
              <a:spcBef>
                <a:spcPct val="0"/>
              </a:spcBef>
              <a:spcAft>
                <a:spcPct val="0"/>
              </a:spcAft>
              <a:defRPr>
                <a:solidFill>
                  <a:schemeClr val="tx1"/>
                </a:solidFill>
                <a:latin typeface="Open Sans" panose="020b0606030504020204" pitchFamily="34" charset="0"/>
                <a:ea typeface="冬青黑体简体中文 W3" charset="-122"/>
              </a:defRPr>
            </a:lvl8pPr>
            <a:lvl9pPr marL="3886200" indent="-228600" fontAlgn="base">
              <a:spcBef>
                <a:spcPct val="0"/>
              </a:spcBef>
              <a:spcAft>
                <a:spcPct val="0"/>
              </a:spcAft>
              <a:defRPr>
                <a:solidFill>
                  <a:schemeClr val="tx1"/>
                </a:solidFill>
                <a:latin typeface="Open Sans" panose="020b0606030504020204" pitchFamily="34" charset="0"/>
                <a:ea typeface="冬青黑体简体中文 W3" charset="-122"/>
              </a:defRPr>
            </a:lvl9pPr>
          </a:lstStyle>
          <a:p>
            <a:r>
              <a:rPr lang="zh-CN" altLang="en-US" sz="1200">
                <a:solidFill>
                  <a:schemeClr val="bg1"/>
                </a:solidFill>
                <a:latin typeface="微软雅黑" panose="020b0503020204020204" pitchFamily="34" charset="-122"/>
                <a:ea typeface="微软雅黑" panose="020b0503020204020204" pitchFamily="34" charset="-122"/>
                <a:cs typeface="+mn-ea"/>
                <a:sym typeface="+mn-lt"/>
              </a:rPr>
              <a:t>点击添加相关标题文字</a:t>
            </a:r>
            <a:endParaRPr lang="zh-CN" altLang="en-US" sz="1200">
              <a:solidFill>
                <a:schemeClr val="bg1"/>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2_标题和内容">
    <p:spTree>
      <p:nvGrpSpPr>
        <p:cNvPr id="1" name=""/>
        <p:cNvGrpSpPr/>
        <p:nvPr/>
      </p:nvGrpSpPr>
      <p:grpSpPr>
        <a:xfrm>
          <a:off x="0" y="0"/>
          <a:ext cx="0" cy="0"/>
        </a:xfrm>
      </p:grpSpPr>
      <p:sp>
        <p:nvSpPr>
          <p:cNvPr id="4" name="Rectangle 9"/>
          <p:cNvSpPr/>
          <p:nvPr userDrawn="1"/>
        </p:nvSpPr>
        <p:spPr>
          <a:xfrm>
            <a:off x="8500361" y="241918"/>
            <a:ext cx="365983" cy="2153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rtlCol="0" anchor="ctr"/>
          <a:lstStyle/>
          <a:p>
            <a:pPr algn="ctr"/>
            <a:endParaRPr lang="en-US"/>
          </a:p>
        </p:txBody>
      </p:sp>
      <p:sp>
        <p:nvSpPr>
          <p:cNvPr id="6" name="Isosceles Triangle 10"/>
          <p:cNvSpPr/>
          <p:nvPr userDrawn="1"/>
        </p:nvSpPr>
        <p:spPr>
          <a:xfrm rot="10610802">
            <a:off x="8504736" y="316259"/>
            <a:ext cx="366581" cy="196391"/>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rtlCol="0" anchor="ctr"/>
          <a:lstStyle/>
          <a:p>
            <a:pPr algn="ctr"/>
            <a:endParaRPr lang="en-US"/>
          </a:p>
        </p:txBody>
      </p:sp>
      <p:sp>
        <p:nvSpPr>
          <p:cNvPr id="7" name="Slide Number Placeholder 5"/>
          <p:cNvSpPr txBox="1"/>
          <p:nvPr userDrawn="1"/>
        </p:nvSpPr>
        <p:spPr>
          <a:xfrm>
            <a:off x="8519485" y="204940"/>
            <a:ext cx="337081" cy="350586"/>
          </a:xfrm>
          <a:prstGeom prst="rect">
            <a:avLst/>
          </a:prstGeom>
        </p:spPr>
        <p:txBody>
          <a:bodyPr vert="horz" lIns="0" tIns="0" rIns="0" bIns="45709" rtlCol="0" anchor="ctr"/>
          <a:lstStyle>
            <a:defPPr>
              <a:defRPr lang="en-US"/>
            </a:defPPr>
            <a:lvl1pPr marL="0" algn="ct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14FFB07-917D-5348-AE2D-F9A4E0AD1751}" type="slidenum">
              <a:rPr lang="en-US" sz="1000" smtClean="0"/>
              <a:t/>
            </a:fld>
            <a:endParaRPr lang="en-US" sz="1000"/>
          </a:p>
        </p:txBody>
      </p:sp>
      <p:grpSp>
        <p:nvGrpSpPr>
          <p:cNvPr id="2" name="Group 5"/>
          <p:cNvGrpSpPr/>
          <p:nvPr userDrawn="1"/>
        </p:nvGrpSpPr>
        <p:grpSpPr>
          <a:xfrm>
            <a:off x="347419" y="4731991"/>
            <a:ext cx="224082" cy="221156"/>
            <a:chOff x="4328868" y="5502988"/>
            <a:chExt cx="500307" cy="493774"/>
          </a:xfrm>
        </p:grpSpPr>
        <p:sp>
          <p:nvSpPr>
            <p:cNvPr id="9" name="Freeform 7">
              <a:hlinkClick action="ppaction://hlinkshowjump?jump=previousslide"/>
            </p:cNvPr>
            <p:cNvSpPr/>
            <p:nvPr userDrawn="1"/>
          </p:nvSpPr>
          <p:spPr bwMode="auto">
            <a:xfrm>
              <a:off x="4520555" y="5649754"/>
              <a:ext cx="116933" cy="200242"/>
            </a:xfrm>
            <a:custGeom>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id-ID"/>
            </a:p>
          </p:txBody>
        </p:sp>
        <p:sp>
          <p:nvSpPr>
            <p:cNvPr id="10" name="Freeform 8">
              <a:hlinkClick action="ppaction://hlinkshowjump?jump=previousslide"/>
            </p:cNvPr>
            <p:cNvSpPr>
              <a:spLocks noEditPoints="1"/>
            </p:cNvSpPr>
            <p:nvPr userDrawn="1"/>
          </p:nvSpPr>
          <p:spPr bwMode="auto">
            <a:xfrm>
              <a:off x="4328868" y="5502988"/>
              <a:ext cx="500307" cy="493774"/>
            </a:xfrm>
            <a:custGeom>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id-ID"/>
            </a:p>
          </p:txBody>
        </p:sp>
      </p:grpSp>
      <p:grpSp>
        <p:nvGrpSpPr>
          <p:cNvPr id="3" name="Group 9"/>
          <p:cNvGrpSpPr/>
          <p:nvPr userDrawn="1"/>
        </p:nvGrpSpPr>
        <p:grpSpPr>
          <a:xfrm flipH="1">
            <a:off x="933709" y="4731991"/>
            <a:ext cx="224082" cy="221156"/>
            <a:chOff x="4328868" y="5502988"/>
            <a:chExt cx="500307" cy="493774"/>
          </a:xfrm>
        </p:grpSpPr>
        <p:sp>
          <p:nvSpPr>
            <p:cNvPr id="12" name="Freeform 10">
              <a:hlinkClick action="ppaction://hlinkshowjump?jump=nextslide"/>
            </p:cNvPr>
            <p:cNvSpPr/>
            <p:nvPr userDrawn="1"/>
          </p:nvSpPr>
          <p:spPr bwMode="auto">
            <a:xfrm>
              <a:off x="4520556" y="5649754"/>
              <a:ext cx="116933" cy="200242"/>
            </a:xfrm>
            <a:custGeom>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id-ID"/>
            </a:p>
          </p:txBody>
        </p:sp>
        <p:sp>
          <p:nvSpPr>
            <p:cNvPr id="13" name="Freeform 11">
              <a:hlinkClick action="ppaction://hlinkshowjump?jump=nextslide"/>
            </p:cNvPr>
            <p:cNvSpPr>
              <a:spLocks noEditPoints="1"/>
            </p:cNvSpPr>
            <p:nvPr userDrawn="1"/>
          </p:nvSpPr>
          <p:spPr bwMode="auto">
            <a:xfrm>
              <a:off x="4328868" y="5502988"/>
              <a:ext cx="500307" cy="493774"/>
            </a:xfrm>
            <a:custGeom>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id-ID"/>
            </a:p>
          </p:txBody>
        </p:sp>
      </p:grpSp>
      <p:cxnSp>
        <p:nvCxnSpPr>
          <p:cNvPr id="14" name="Straight Connector 3"/>
          <p:cNvCxnSpPr/>
          <p:nvPr userDrawn="1"/>
        </p:nvCxnSpPr>
        <p:spPr>
          <a:xfrm>
            <a:off x="552709" y="4845350"/>
            <a:ext cx="381000"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5" name="Picture 3" descr="C:\Users\Administrator\Desktop\微立体创业计划\005.png"/>
          <p:cNvPicPr>
            <a:picLocks noChangeAspect="1" noChangeArrowheads="1"/>
          </p:cNvPicPr>
          <p:nvPr userDrawn="1"/>
        </p:nvPicPr>
        <p:blipFill>
          <a:blip r:embed="rId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395536" y="210344"/>
            <a:ext cx="609601" cy="609601"/>
          </a:xfrm>
          <a:prstGeom prst="rect">
            <a:avLst/>
          </a:prstGeom>
          <a:noFill/>
          <a:effectLst>
            <a:outerShdw blurRad="127000" dist="63500" dir="3000000" sx="104000" sy="104000" algn="tl" rotWithShape="0">
              <a:prstClr val="black">
                <a:alpha val="34000"/>
              </a:prstClr>
            </a:outerShdw>
          </a:effectLst>
          <a:extLst>
            <a:ext uri="{909E8E84-426E-40DD-AFC4-6F175D3DCCD1}">
              <a14:hiddenFill xmlns:a14="http://schemas.microsoft.com/office/drawing/2010/main">
                <a:solidFill>
                  <a:srgbClr val="FFFFFF"/>
                </a:solidFill>
              </a14:hiddenFill>
            </a:ext>
          </a:extLst>
        </p:spPr>
      </p:pic>
      <p:pic>
        <p:nvPicPr>
          <p:cNvPr id="16" name="Picture 4" descr="C:\Users\Administrator\Desktop\微立体创业计划\004.png"/>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47935" y="219716"/>
            <a:ext cx="609601" cy="609601"/>
          </a:xfrm>
          <a:prstGeom prst="rect">
            <a:avLst/>
          </a:prstGeom>
          <a:noFill/>
          <a:effectLst>
            <a:outerShdw blurRad="127000" dist="63500" dir="3000000" sx="104000" sy="104000" algn="tl" rotWithShape="0">
              <a:prstClr val="black">
                <a:alpha val="34000"/>
              </a:prstClr>
            </a:outerShdw>
          </a:effectLst>
          <a:extLst>
            <a:ext uri="{909E8E84-426E-40DD-AFC4-6F175D3DCCD1}">
              <a14:hiddenFill xmlns:a14="http://schemas.microsoft.com/office/drawing/2010/main">
                <a:solidFill>
                  <a:srgbClr val="FFFFFF"/>
                </a:solidFill>
              </a14:hiddenFill>
            </a:ext>
          </a:extLst>
        </p:spPr>
      </p:pic>
      <p:sp>
        <p:nvSpPr>
          <p:cNvPr id="17" name="矩形 3"/>
          <p:cNvSpPr>
            <a:spLocks noChangeArrowheads="1"/>
          </p:cNvSpPr>
          <p:nvPr userDrawn="1"/>
        </p:nvSpPr>
        <p:spPr bwMode="auto">
          <a:xfrm>
            <a:off x="1187624" y="612722"/>
            <a:ext cx="2587892" cy="230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none" lIns="68582" tIns="34292" rIns="68582" bIns="34292">
            <a:spAutoFit/>
          </a:bodyPr>
          <a:lstStyle/>
          <a:p>
            <a:r>
              <a:rPr lang="en-US" altLang="zh-CN" sz="1050" b="0">
                <a:solidFill>
                  <a:schemeClr val="tx1">
                    <a:lumMod val="85000"/>
                    <a:lumOff val="15000"/>
                  </a:schemeClr>
                </a:solidFill>
                <a:latin typeface="微软雅黑" panose="020b0503020204020204" pitchFamily="34" charset="-122"/>
                <a:ea typeface="微软雅黑" panose="020b0503020204020204" pitchFamily="34" charset="-122"/>
                <a:sym typeface="Arial" panose="020b0604020202020204" pitchFamily="34" charset="0"/>
              </a:rPr>
              <a:t>Click here to add the title text content</a:t>
            </a:r>
            <a:endParaRPr lang="zh-CN" altLang="en-US" sz="1050" b="0">
              <a:solidFill>
                <a:schemeClr val="tx1">
                  <a:lumMod val="85000"/>
                  <a:lumOff val="15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8" name="标题 1"/>
          <p:cNvSpPr>
            <a:spLocks noGrp="1"/>
          </p:cNvSpPr>
          <p:nvPr>
            <p:ph type="title"/>
          </p:nvPr>
        </p:nvSpPr>
        <p:spPr>
          <a:xfrm>
            <a:off x="1184649" y="250504"/>
            <a:ext cx="3216269" cy="377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none" lIns="68582" tIns="34292" rIns="68582" bIns="34292">
            <a:spAutoFit/>
          </a:bodyPr>
          <a:lstStyle>
            <a:lvl1pPr>
              <a:defRPr lang="zh-CN" altLang="en-US" sz="2000" b="0">
                <a:solidFill>
                  <a:schemeClr val="tx1">
                    <a:lumMod val="85000"/>
                    <a:lumOff val="15000"/>
                  </a:schemeClr>
                </a:solidFill>
                <a:latin typeface="微软雅黑" panose="020b0503020204020204" pitchFamily="34" charset="-122"/>
                <a:cs typeface="+mn-cs"/>
              </a:defRPr>
            </a:lvl1pPr>
          </a:lstStyle>
          <a:p>
            <a:pPr lvl="0" algn="l"/>
            <a:r>
              <a:rPr lang="zh-CN" altLang="en-US"/>
              <a:t>单击此处编辑母版标题样式</a:t>
            </a:r>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9"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200" fill="hold"/>
                                        <p:tgtEl>
                                          <p:spTgt spid="15"/>
                                        </p:tgtEl>
                                        <p:attrNameLst>
                                          <p:attrName>ppt_x</p:attrName>
                                        </p:attrNameLst>
                                      </p:cBhvr>
                                      <p:tavLst>
                                        <p:tav tm="0">
                                          <p:val>
                                            <p:strVal val="0-#ppt_w/2"/>
                                          </p:val>
                                        </p:tav>
                                        <p:tav tm="100000">
                                          <p:val>
                                            <p:strVal val="#ppt_x"/>
                                          </p:val>
                                        </p:tav>
                                      </p:tavLst>
                                    </p:anim>
                                    <p:anim calcmode="lin" valueType="num">
                                      <p:cBhvr additive="base">
                                        <p:cTn id="8" dur="1200" fill="hold"/>
                                        <p:tgtEl>
                                          <p:spTgt spid="15"/>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1200" fill="hold"/>
                                        <p:tgtEl>
                                          <p:spTgt spid="16"/>
                                        </p:tgtEl>
                                        <p:attrNameLst>
                                          <p:attrName>ppt_x</p:attrName>
                                        </p:attrNameLst>
                                      </p:cBhvr>
                                      <p:tavLst>
                                        <p:tav tm="0">
                                          <p:val>
                                            <p:strVal val="#ppt_x"/>
                                          </p:val>
                                        </p:tav>
                                        <p:tav tm="100000">
                                          <p:val>
                                            <p:strVal val="#ppt_x"/>
                                          </p:val>
                                        </p:tav>
                                      </p:tavLst>
                                    </p:anim>
                                    <p:anim calcmode="lin" valueType="num">
                                      <p:cBhvr additive="base">
                                        <p:cTn id="12" dur="1200" fill="hold"/>
                                        <p:tgtEl>
                                          <p:spTgt spid="16"/>
                                        </p:tgtEl>
                                        <p:attrNameLst>
                                          <p:attrName>ppt_y</p:attrName>
                                        </p:attrNameLst>
                                      </p:cBhvr>
                                      <p:tavLst>
                                        <p:tav tm="0">
                                          <p:val>
                                            <p:strVal val="0-#ppt_h/2"/>
                                          </p:val>
                                        </p:tav>
                                        <p:tav tm="100000">
                                          <p:val>
                                            <p:strVal val="#ppt_y"/>
                                          </p:val>
                                        </p:tav>
                                      </p:tavLst>
                                    </p:anim>
                                  </p:childTnLst>
                                </p:cTn>
                              </p:par>
                            </p:childTnLst>
                          </p:cTn>
                        </p:par>
                        <p:par>
                          <p:cTn id="13" fill="hold" nodeType="afterGroup">
                            <p:stCondLst>
                              <p:cond delay="1200"/>
                            </p:stCondLst>
                            <p:childTnLst>
                              <p:par>
                                <p:cTn id="14" presetID="22" presetClass="entr" presetSubtype="8" fill="hold" grpId="0"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空白页">
    <p:spTree>
      <p:nvGrpSpPr>
        <p:cNvPr id="1" name=""/>
        <p:cNvGrpSpPr/>
        <p:nvPr/>
      </p:nvGrpSpPr>
      <p:grpSpPr>
        <a:xfrm>
          <a:off x="0" y="0"/>
          <a:ext cx="0" cy="0"/>
        </a:xfrm>
      </p:grpSpPr>
      <p:pic>
        <p:nvPicPr>
          <p:cNvPr id="5" name="图片 4"/>
          <p:cNvPicPr>
            <a:picLocks noChangeAspect="1"/>
          </p:cNvPicPr>
          <p:nvPr userDrawn="1"/>
        </p:nvPicPr>
        <p:blipFill>
          <a:blip r:embed="rId1">
            <a:extLst>
              <a:ext uri="{28A0092B-C50C-407E-A947-70E740481C1C}">
                <a14:useLocalDpi xmlns:a14="http://schemas.microsoft.com/office/drawing/2010/main" val="0"/>
              </a:ext>
            </a:extLst>
          </a:blip>
          <a:stretch>
            <a:fillRect/>
          </a:stretch>
        </p:blipFill>
        <p:spPr>
          <a:xfrm>
            <a:off x="251" y="0"/>
            <a:ext cx="9143499" cy="5143500"/>
          </a:xfrm>
          <a:prstGeom prst="rect">
            <a:avLst/>
          </a:prstGeom>
        </p:spPr>
      </p:pic>
      <p:grpSp>
        <p:nvGrpSpPr>
          <p:cNvPr id="7" name="组合 3"/>
          <p:cNvGrpSpPr/>
          <p:nvPr userDrawn="1"/>
        </p:nvGrpSpPr>
        <p:grpSpPr>
          <a:xfrm flipH="1">
            <a:off x="-1" y="248018"/>
            <a:ext cx="179513" cy="507206"/>
            <a:chOff x="2370576" y="533400"/>
            <a:chExt cx="2417494" cy="675969"/>
          </a:xfrm>
          <a:solidFill>
            <a:srgbClr val="EE1C39"/>
          </a:solidFill>
        </p:grpSpPr>
        <p:sp>
          <p:nvSpPr>
            <p:cNvPr id="8" name="矩形 7"/>
            <p:cNvSpPr/>
            <p:nvPr/>
          </p:nvSpPr>
          <p:spPr>
            <a:xfrm>
              <a:off x="2738030" y="533400"/>
              <a:ext cx="2050040" cy="6759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cs typeface="+mn-ea"/>
                <a:sym typeface="+mn-lt"/>
              </a:endParaRPr>
            </a:p>
          </p:txBody>
        </p:sp>
        <p:sp>
          <p:nvSpPr>
            <p:cNvPr id="9" name="椭圆 8"/>
            <p:cNvSpPr/>
            <p:nvPr/>
          </p:nvSpPr>
          <p:spPr>
            <a:xfrm>
              <a:off x="2370576" y="533400"/>
              <a:ext cx="623734" cy="6759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cs typeface="+mn-ea"/>
                <a:sym typeface="+mn-lt"/>
              </a:endParaRPr>
            </a:p>
          </p:txBody>
        </p:sp>
      </p:grpSp>
      <p:sp>
        <p:nvSpPr>
          <p:cNvPr id="10" name="文本框 12"/>
          <p:cNvSpPr txBox="1">
            <a:spLocks noChangeArrowheads="1"/>
          </p:cNvSpPr>
          <p:nvPr userDrawn="1"/>
        </p:nvSpPr>
        <p:spPr bwMode="auto">
          <a:xfrm>
            <a:off x="255630" y="370296"/>
            <a:ext cx="1796090" cy="250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5023" tIns="32511" rIns="65023" bIns="32511">
            <a:spAutoFit/>
          </a:bodyPr>
          <a:lstStyle>
            <a:lvl1pPr>
              <a:defRPr>
                <a:solidFill>
                  <a:schemeClr val="tx1"/>
                </a:solidFill>
                <a:latin typeface="Open Sans" panose="020b0606030504020204" pitchFamily="34" charset="0"/>
                <a:ea typeface="冬青黑体简体中文 W3" charset="-122"/>
              </a:defRPr>
            </a:lvl1pPr>
            <a:lvl2pPr marL="742950" indent="-285750">
              <a:defRPr>
                <a:solidFill>
                  <a:schemeClr val="tx1"/>
                </a:solidFill>
                <a:latin typeface="Open Sans" panose="020b0606030504020204" pitchFamily="34" charset="0"/>
                <a:ea typeface="冬青黑体简体中文 W3" charset="-122"/>
              </a:defRPr>
            </a:lvl2pPr>
            <a:lvl3pPr marL="1143000" indent="-228600">
              <a:defRPr>
                <a:solidFill>
                  <a:schemeClr val="tx1"/>
                </a:solidFill>
                <a:latin typeface="Open Sans" panose="020b0606030504020204" pitchFamily="34" charset="0"/>
                <a:ea typeface="冬青黑体简体中文 W3" charset="-122"/>
              </a:defRPr>
            </a:lvl3pPr>
            <a:lvl4pPr marL="1600200" indent="-228600">
              <a:defRPr>
                <a:solidFill>
                  <a:schemeClr val="tx1"/>
                </a:solidFill>
                <a:latin typeface="Open Sans" panose="020b0606030504020204" pitchFamily="34" charset="0"/>
                <a:ea typeface="冬青黑体简体中文 W3" charset="-122"/>
              </a:defRPr>
            </a:lvl4pPr>
            <a:lvl5pPr marL="2057400" indent="-228600">
              <a:defRPr>
                <a:solidFill>
                  <a:schemeClr val="tx1"/>
                </a:solidFill>
                <a:latin typeface="Open Sans" panose="020b0606030504020204" pitchFamily="34" charset="0"/>
                <a:ea typeface="冬青黑体简体中文 W3" charset="-122"/>
              </a:defRPr>
            </a:lvl5pPr>
            <a:lvl6pPr marL="2514600" indent="-228600" fontAlgn="base">
              <a:spcBef>
                <a:spcPct val="0"/>
              </a:spcBef>
              <a:spcAft>
                <a:spcPct val="0"/>
              </a:spcAft>
              <a:defRPr>
                <a:solidFill>
                  <a:schemeClr val="tx1"/>
                </a:solidFill>
                <a:latin typeface="Open Sans" panose="020b0606030504020204" pitchFamily="34" charset="0"/>
                <a:ea typeface="冬青黑体简体中文 W3" charset="-122"/>
              </a:defRPr>
            </a:lvl6pPr>
            <a:lvl7pPr marL="2971800" indent="-228600" fontAlgn="base">
              <a:spcBef>
                <a:spcPct val="0"/>
              </a:spcBef>
              <a:spcAft>
                <a:spcPct val="0"/>
              </a:spcAft>
              <a:defRPr>
                <a:solidFill>
                  <a:schemeClr val="tx1"/>
                </a:solidFill>
                <a:latin typeface="Open Sans" panose="020b0606030504020204" pitchFamily="34" charset="0"/>
                <a:ea typeface="冬青黑体简体中文 W3" charset="-122"/>
              </a:defRPr>
            </a:lvl7pPr>
            <a:lvl8pPr marL="3429000" indent="-228600" fontAlgn="base">
              <a:spcBef>
                <a:spcPct val="0"/>
              </a:spcBef>
              <a:spcAft>
                <a:spcPct val="0"/>
              </a:spcAft>
              <a:defRPr>
                <a:solidFill>
                  <a:schemeClr val="tx1"/>
                </a:solidFill>
                <a:latin typeface="Open Sans" panose="020b0606030504020204" pitchFamily="34" charset="0"/>
                <a:ea typeface="冬青黑体简体中文 W3" charset="-122"/>
              </a:defRPr>
            </a:lvl8pPr>
            <a:lvl9pPr marL="3886200" indent="-228600" fontAlgn="base">
              <a:spcBef>
                <a:spcPct val="0"/>
              </a:spcBef>
              <a:spcAft>
                <a:spcPct val="0"/>
              </a:spcAft>
              <a:defRPr>
                <a:solidFill>
                  <a:schemeClr val="tx1"/>
                </a:solidFill>
                <a:latin typeface="Open Sans" panose="020b0606030504020204" pitchFamily="34" charset="0"/>
                <a:ea typeface="冬青黑体简体中文 W3" charset="-122"/>
              </a:defRPr>
            </a:lvl9pPr>
          </a:lstStyle>
          <a:p>
            <a:r>
              <a:rPr lang="zh-CN" altLang="en-US" sz="1200">
                <a:solidFill>
                  <a:schemeClr val="accent1"/>
                </a:solidFill>
                <a:latin typeface="微软雅黑" panose="020b0503020204020204" pitchFamily="34" charset="-122"/>
                <a:ea typeface="微软雅黑" panose="020b0503020204020204" pitchFamily="34" charset="-122"/>
                <a:cs typeface="+mn-ea"/>
                <a:sym typeface="+mn-lt"/>
              </a:rPr>
              <a:t>点击添加相关标题文字</a:t>
            </a:r>
            <a:endParaRPr lang="zh-CN" altLang="en-US" sz="1200">
              <a:solidFill>
                <a:schemeClr val="accent1"/>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3_标题和内容">
    <p:spTree>
      <p:nvGrpSpPr>
        <p:cNvPr id="1" name=""/>
        <p:cNvGrpSpPr/>
        <p:nvPr/>
      </p:nvGrpSpPr>
      <p:grpSpPr>
        <a:xfrm>
          <a:off x="0" y="0"/>
          <a:ext cx="0" cy="0"/>
        </a:xfrm>
      </p:grpSpPr>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标题 1"/>
          <p:cNvSpPr>
            <a:spLocks noGrp="1"/>
          </p:cNvSpPr>
          <p:nvPr>
            <p:ph type="ctrTitle"/>
            <p:custDataLst>
              <p:tags r:id="rId1"/>
            </p:custDataLst>
          </p:nvPr>
        </p:nvSpPr>
        <p:spPr>
          <a:xfrm>
            <a:off x="899100" y="685800"/>
            <a:ext cx="7349400" cy="1927800"/>
          </a:xfrm>
        </p:spPr>
        <p:txBody>
          <a:bodyPr lIns="90000" tIns="46800" rIns="90000" bIns="46800" anchor="b" anchorCtr="0">
            <a:normAutofit/>
          </a:bodyPr>
          <a:lstStyle>
            <a:lvl1pPr algn="ctr">
              <a:defRPr sz="4500"/>
            </a:lvl1pPr>
          </a:lstStyle>
          <a:p>
            <a:r>
              <a:rPr lang="zh-CN" altLang="en-US"/>
              <a:t>单击此处编辑母版标题样式</a:t>
            </a:r>
            <a:endParaRPr lang="zh-CN" altLang="en-US"/>
          </a:p>
        </p:txBody>
      </p:sp>
      <p:sp>
        <p:nvSpPr>
          <p:cNvPr id="3" name="副标题 2"/>
          <p:cNvSpPr>
            <a:spLocks noGrp="1"/>
          </p:cNvSpPr>
          <p:nvPr>
            <p:ph type="subTitle" idx="1"/>
            <p:custDataLst>
              <p:tags r:id="rId2"/>
            </p:custDataLst>
          </p:nvPr>
        </p:nvSpPr>
        <p:spPr>
          <a:xfrm>
            <a:off x="899100" y="2670300"/>
            <a:ext cx="7349400" cy="1104300"/>
          </a:xfrm>
        </p:spPr>
        <p:txBody>
          <a:bodyPr lIns="90000" tIns="46800" rIns="90000" bIns="46800">
            <a:normAutofit/>
          </a:bodyPr>
          <a:lstStyle>
            <a:lvl1pPr marL="0" indent="0" algn="ctr">
              <a:lnSpc>
                <a:spcPct val="110000"/>
              </a:lnSpc>
              <a:buNone/>
              <a:defRPr sz="1800" spc="15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zh-CN" altLang="en-US"/>
          </a:p>
        </p:txBody>
      </p:sp>
      <p:sp>
        <p:nvSpPr>
          <p:cNvPr id="16" name="日期占位符 15"/>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17" name="页脚占位符 16"/>
          <p:cNvSpPr>
            <a:spLocks noGrp="1"/>
          </p:cNvSpPr>
          <p:nvPr>
            <p:ph type="ftr" sz="quarter" idx="11"/>
            <p:custDataLst>
              <p:tags r:id="rId4"/>
            </p:custDataLst>
          </p:nvPr>
        </p:nvSpPr>
        <p:spPr/>
        <p:txBody>
          <a:bodyPr/>
          <a:lstStyle/>
          <a:p>
            <a:endParaRPr lang="zh-CN" altLang="en-US"/>
          </a:p>
        </p:txBody>
      </p:sp>
      <p:sp>
        <p:nvSpPr>
          <p:cNvPr id="18" name="灯片编号占位符 17"/>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idx="1"/>
            <p:custDataLst>
              <p:tags r:id="rId2"/>
            </p:custDataLst>
          </p:nvPr>
        </p:nvSpPr>
        <p:spPr>
          <a:xfrm>
            <a:off x="456300" y="1117800"/>
            <a:ext cx="8226900" cy="35694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KSO_BT1"/>
          <p:cNvSpPr>
            <a:spLocks noGrp="1"/>
          </p:cNvSpPr>
          <p:nvPr>
            <p:ph type="title"/>
          </p:nvPr>
        </p:nvSpPr>
        <p:spPr>
          <a:xfrm>
            <a:off x="423946" y="57150"/>
            <a:ext cx="6785120" cy="400051"/>
          </a:xfrm>
        </p:spPr>
        <p:txBody>
          <a:bodyPr>
            <a:normAutofit/>
          </a:bodyPr>
          <a:lstStyle>
            <a:lvl1pPr>
              <a:defRPr sz="2400">
                <a:solidFill>
                  <a:schemeClr val="bg1"/>
                </a:solidFill>
              </a:defRPr>
            </a:lvl1pPr>
          </a:lstStyle>
          <a:p>
            <a:r>
              <a:rPr lang="zh-CN" altLang="en-US"/>
              <a:t>单击此处编辑母版标题样式</a:t>
            </a:r>
            <a:endParaRPr lang="en-US"/>
          </a:p>
        </p:txBody>
      </p:sp>
      <p:sp>
        <p:nvSpPr>
          <p:cNvPr id="3" name="KSO_BC1"/>
          <p:cNvSpPr>
            <a:spLocks noGrp="1"/>
          </p:cNvSpPr>
          <p:nvPr>
            <p:ph idx="1" hasCustomPrompt="1"/>
          </p:nvPr>
        </p:nvSpPr>
        <p:spPr/>
        <p:txBody>
          <a:bodyPr>
            <a:normAutofit/>
          </a:bodyPr>
          <a:lstStyle>
            <a:lvl1pPr>
              <a:defRPr sz="2100">
                <a:solidFill>
                  <a:schemeClr val="accent1"/>
                </a:solidFill>
              </a:defRPr>
            </a:lvl1pPr>
            <a:lvl2pPr>
              <a:defRPr sz="1350"/>
            </a:lvl2pPr>
          </a:lstStyle>
          <a:p>
            <a:pPr lvl="0"/>
            <a:r>
              <a:rPr lang="zh-CN" altLang="en-US"/>
              <a:t>编辑母版文本样式</a:t>
            </a:r>
            <a:endParaRPr lang="zh-CN" altLang="en-US"/>
          </a:p>
          <a:p>
            <a:pPr lvl="1"/>
            <a:r>
              <a:rPr lang="zh-CN" altLang="en-US"/>
              <a:t>第二级</a:t>
            </a:r>
            <a:endParaRPr lang="zh-CN" altLang="en-US"/>
          </a:p>
        </p:txBody>
      </p:sp>
      <p:sp>
        <p:nvSpPr>
          <p:cNvPr id="4" name="KSO_FD"/>
          <p:cNvSpPr>
            <a:spLocks noGrp="1"/>
          </p:cNvSpPr>
          <p:nvPr>
            <p:ph type="dt" sz="half" idx="10"/>
          </p:nvPr>
        </p:nvSpPr>
        <p:spPr/>
        <p:txBody>
          <a:bodyPr/>
          <a:lstStyle/>
          <a:p>
            <a:fld id="{02854A03-91AF-448A-9954-517C0577E5F0}" type="datetimeFigureOut">
              <a:rPr lang="zh-CN" altLang="en-US" smtClean="0"/>
              <a:t/>
            </a:fld>
            <a:endParaRPr lang="zh-CN" altLang="en-US"/>
          </a:p>
        </p:txBody>
      </p:sp>
      <p:sp>
        <p:nvSpPr>
          <p:cNvPr id="5" name="KSO_FT"/>
          <p:cNvSpPr>
            <a:spLocks noGrp="1"/>
          </p:cNvSpPr>
          <p:nvPr>
            <p:ph type="ftr" sz="quarter" idx="11"/>
          </p:nvPr>
        </p:nvSpPr>
        <p:spPr/>
        <p:txBody>
          <a:bodyPr/>
          <a:lstStyle/>
          <a:p>
            <a:endParaRPr lang="zh-CN" altLang="en-US"/>
          </a:p>
        </p:txBody>
      </p:sp>
      <p:sp>
        <p:nvSpPr>
          <p:cNvPr id="6" name="KSO_FN"/>
          <p:cNvSpPr>
            <a:spLocks noGrp="1"/>
          </p:cNvSpPr>
          <p:nvPr>
            <p:ph type="sldNum" sz="quarter" idx="12"/>
          </p:nvPr>
        </p:nvSpPr>
        <p:spPr/>
        <p:txBody>
          <a:bodyPr/>
          <a:lstStyle/>
          <a:p>
            <a:fld id="{2EEFC946-6D13-4F8C-9740-992A906A613E}"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标题 1"/>
          <p:cNvSpPr>
            <a:spLocks noGrp="1"/>
          </p:cNvSpPr>
          <p:nvPr>
            <p:ph type="title" hasCustomPrompt="1"/>
            <p:custDataLst>
              <p:tags r:id="rId1"/>
            </p:custDataLst>
          </p:nvPr>
        </p:nvSpPr>
        <p:spPr>
          <a:xfrm>
            <a:off x="1493100" y="2886300"/>
            <a:ext cx="5826600" cy="575100"/>
          </a:xfrm>
        </p:spPr>
        <p:txBody>
          <a:bodyPr lIns="90000" tIns="46800" rIns="90000" bIns="46800" anchor="b" anchorCtr="0">
            <a:normAutofit/>
          </a:bodyPr>
          <a:lstStyle>
            <a:lvl1pPr>
              <a:defRPr sz="3300"/>
            </a:lvl1pPr>
          </a:lstStyle>
          <a:p>
            <a:r>
              <a:rPr lang="zh-CN" altLang="en-US"/>
              <a:t>单击此处编辑标题</a:t>
            </a:r>
            <a:endParaRPr lang="zh-CN" altLang="en-US"/>
          </a:p>
        </p:txBody>
      </p:sp>
      <p:sp>
        <p:nvSpPr>
          <p:cNvPr id="3" name="文本占位符 2"/>
          <p:cNvSpPr>
            <a:spLocks noGrp="1"/>
          </p:cNvSpPr>
          <p:nvPr>
            <p:ph type="body" idx="1" hasCustomPrompt="1"/>
            <p:custDataLst>
              <p:tags r:id="rId2"/>
            </p:custDataLst>
          </p:nvPr>
        </p:nvSpPr>
        <p:spPr>
          <a:xfrm>
            <a:off x="1493100" y="3461400"/>
            <a:ext cx="5826600" cy="650700"/>
          </a:xfrm>
        </p:spPr>
        <p:txBody>
          <a:bodyPr lIns="90000" tIns="46800" rIns="90000" bIns="46800">
            <a:normAutofit/>
          </a:bodyPr>
          <a:lstStyle>
            <a:lvl1pPr marL="0" indent="0">
              <a:buNone/>
              <a:defRPr sz="1350">
                <a:solidFill>
                  <a:schemeClr val="tx1">
                    <a:lumMod val="65000"/>
                    <a:lumOff val="35000"/>
                  </a:schemeClr>
                </a:solidFill>
              </a:defRPr>
            </a:lvl1pPr>
            <a:lvl2pPr marL="342900" indent="0">
              <a:buNone/>
              <a:defRPr sz="1200">
                <a:solidFill>
                  <a:schemeClr val="tx1">
                    <a:tint val="75000"/>
                  </a:schemeClr>
                </a:solidFill>
              </a:defRPr>
            </a:lvl2pPr>
            <a:lvl3pPr marL="685800" indent="0">
              <a:buNone/>
              <a:defRPr sz="12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文本</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sz="half" idx="1"/>
            <p:custDataLst>
              <p:tags r:id="rId2"/>
            </p:custDataLst>
          </p:nvPr>
        </p:nvSpPr>
        <p:spPr>
          <a:xfrm>
            <a:off x="456300" y="1125900"/>
            <a:ext cx="3882600" cy="35613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3"/>
            </p:custDataLst>
          </p:nvPr>
        </p:nvSpPr>
        <p:spPr>
          <a:xfrm>
            <a:off x="4808700" y="1125900"/>
            <a:ext cx="3882600" cy="3561300"/>
          </a:xfrm>
        </p:spPr>
        <p:txBody>
          <a:bodyPr lIns="90000" tIns="46800" rIns="90000" bIns="4680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custDataLst>
              <p:tags r:id="rId4"/>
            </p:custDataLst>
          </p:nvPr>
        </p:nvSpPr>
        <p:spPr/>
        <p:txBody>
          <a:bodyPr/>
          <a:lstStyle/>
          <a:p>
            <a:fld id="{760FBDFE-C587-4B4C-A407-44438C67B59E}" type="datetimeFigureOut">
              <a:rPr lang="zh-CN" altLang="en-US" smtClean="0"/>
              <a:t/>
            </a:fld>
            <a:endParaRPr lang="zh-CN" altLang="en-US"/>
          </a:p>
        </p:txBody>
      </p:sp>
      <p:sp>
        <p:nvSpPr>
          <p:cNvPr id="6" name="页脚占位符 5"/>
          <p:cNvSpPr>
            <a:spLocks noGrp="1"/>
          </p:cNvSpPr>
          <p:nvPr>
            <p:ph type="ftr" sz="quarter" idx="11"/>
            <p:custDataLst>
              <p:tags r:id="rId5"/>
            </p:custDataLst>
          </p:nvPr>
        </p:nvSpPr>
        <p:spPr/>
        <p:txBody>
          <a:bodyPr/>
          <a:lstStyle/>
          <a:p>
            <a:endParaRPr lang="zh-CN" altLang="en-US"/>
          </a:p>
        </p:txBody>
      </p:sp>
      <p:sp>
        <p:nvSpPr>
          <p:cNvPr id="7" name="灯片编号占位符 6"/>
          <p:cNvSpPr>
            <a:spLocks noGrp="1"/>
          </p:cNvSpPr>
          <p:nvPr>
            <p:ph type="sldNum" sz="quarter" idx="12"/>
            <p:custDataLst>
              <p:tags r:id="rId6"/>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文本占位符 2"/>
          <p:cNvSpPr>
            <a:spLocks noGrp="1"/>
          </p:cNvSpPr>
          <p:nvPr>
            <p:ph type="body" idx="1" hasCustomPrompt="1"/>
            <p:custDataLst>
              <p:tags r:id="rId2"/>
            </p:custDataLst>
          </p:nvPr>
        </p:nvSpPr>
        <p:spPr>
          <a:xfrm>
            <a:off x="456300" y="1071900"/>
            <a:ext cx="4006800" cy="286200"/>
          </a:xfrm>
        </p:spPr>
        <p:txBody>
          <a:bodyPr lIns="101600" tIns="38100" rIns="76200" bIns="38100" anchor="t" anchorCtr="0">
            <a:normAutofit/>
          </a:bodyPr>
          <a:lstStyle>
            <a:lvl1pPr marL="0" indent="0">
              <a:lnSpc>
                <a:spcPct val="100000"/>
              </a:lnSpc>
              <a:buNone/>
              <a:defRPr sz="1500" b="1" spc="150">
                <a:solidFill>
                  <a:schemeClr val="tx1">
                    <a:lumMod val="75000"/>
                    <a:lumOff val="2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文本</a:t>
            </a:r>
            <a:endParaRPr lang="zh-CN" altLang="en-US"/>
          </a:p>
        </p:txBody>
      </p:sp>
      <p:sp>
        <p:nvSpPr>
          <p:cNvPr id="4" name="内容占位符 3"/>
          <p:cNvSpPr>
            <a:spLocks noGrp="1"/>
          </p:cNvSpPr>
          <p:nvPr>
            <p:ph sz="half" idx="2"/>
            <p:custDataLst>
              <p:tags r:id="rId3"/>
            </p:custDataLst>
          </p:nvPr>
        </p:nvSpPr>
        <p:spPr>
          <a:xfrm>
            <a:off x="456300" y="1390500"/>
            <a:ext cx="4006800" cy="32967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hasCustomPrompt="1"/>
            <p:custDataLst>
              <p:tags r:id="rId4"/>
            </p:custDataLst>
          </p:nvPr>
        </p:nvSpPr>
        <p:spPr>
          <a:xfrm>
            <a:off x="4676813" y="1066297"/>
            <a:ext cx="4006800" cy="286200"/>
          </a:xfrm>
        </p:spPr>
        <p:txBody>
          <a:bodyPr vert="horz" lIns="101600" tIns="38100" rIns="76200" bIns="38100" rtlCol="0" anchor="t" anchorCtr="0">
            <a:normAutofit/>
          </a:bodyPr>
          <a:lstStyle>
            <a:lvl1pPr marL="0" indent="0">
              <a:lnSpc>
                <a:spcPct val="100000"/>
              </a:lnSpc>
              <a:buNone/>
              <a:defRPr sz="1500" b="1" spc="150">
                <a:solidFill>
                  <a:schemeClr val="tx1">
                    <a:lumMod val="75000"/>
                    <a:lumOff val="2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文本</a:t>
            </a:r>
            <a:endParaRPr lang="zh-CN" altLang="en-US"/>
          </a:p>
        </p:txBody>
      </p:sp>
      <p:sp>
        <p:nvSpPr>
          <p:cNvPr id="6" name="内容占位符 5"/>
          <p:cNvSpPr>
            <a:spLocks noGrp="1"/>
          </p:cNvSpPr>
          <p:nvPr>
            <p:ph sz="quarter" idx="4"/>
            <p:custDataLst>
              <p:tags r:id="rId5"/>
            </p:custDataLst>
          </p:nvPr>
        </p:nvSpPr>
        <p:spPr>
          <a:xfrm>
            <a:off x="4676813" y="1390500"/>
            <a:ext cx="4006800" cy="32967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6"/>
            </p:custDataLst>
          </p:nvPr>
        </p:nvSpPr>
        <p:spPr/>
        <p:txBody>
          <a:bodyPr/>
          <a:lstStyle/>
          <a:p>
            <a:fld id="{760FBDFE-C587-4B4C-A407-44438C67B59E}" type="datetimeFigureOut">
              <a:rPr lang="zh-CN" altLang="en-US" smtClean="0"/>
              <a:t/>
            </a:fld>
            <a:endParaRPr lang="zh-CN" altLang="en-US"/>
          </a:p>
        </p:txBody>
      </p:sp>
      <p:sp>
        <p:nvSpPr>
          <p:cNvPr id="8" name="页脚占位符 7"/>
          <p:cNvSpPr>
            <a:spLocks noGrp="1"/>
          </p:cNvSpPr>
          <p:nvPr>
            <p:ph type="ftr" sz="quarter" idx="11"/>
            <p:custDataLst>
              <p:tags r:id="rId7"/>
            </p:custDataLst>
          </p:nvPr>
        </p:nvSpPr>
        <p:spPr/>
        <p:txBody>
          <a:bodyPr/>
          <a:lstStyle/>
          <a:p>
            <a:endParaRPr lang="zh-CN" altLang="en-US"/>
          </a:p>
        </p:txBody>
      </p:sp>
      <p:sp>
        <p:nvSpPr>
          <p:cNvPr id="9" name="灯片编号占位符 8"/>
          <p:cNvSpPr>
            <a:spLocks noGrp="1"/>
          </p:cNvSpPr>
          <p:nvPr>
            <p:ph type="sldNum" sz="quarter" idx="12"/>
            <p:custDataLst>
              <p:tags r:id="rId8"/>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日期占位符 1"/>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3" name="页脚占位符 2"/>
          <p:cNvSpPr>
            <a:spLocks noGrp="1"/>
          </p:cNvSpPr>
          <p:nvPr>
            <p:ph type="ftr" sz="quarter" idx="11"/>
            <p:custDataLst>
              <p:tags r:id="rId2"/>
            </p:custDataLst>
          </p:nvPr>
        </p:nvSpPr>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图片与标题">
    <p:spTree>
      <p:nvGrpSpPr>
        <p:cNvPr id="1" name=""/>
        <p:cNvGrpSpPr/>
        <p:nvPr/>
      </p:nvGrpSpPr>
      <p:grpSpPr>
        <a:xfrm>
          <a:off x="0" y="0"/>
          <a:ext cx="0" cy="0"/>
        </a:xfrm>
      </p:grpSpPr>
      <p:sp>
        <p:nvSpPr>
          <p:cNvPr id="3" name="图片占位符 2"/>
          <p:cNvSpPr>
            <a:spLocks noGrp="1"/>
          </p:cNvSpPr>
          <p:nvPr>
            <p:ph type="pic" idx="1"/>
            <p:custDataLst>
              <p:tags r:id="rId1"/>
            </p:custDataLst>
          </p:nvPr>
        </p:nvSpPr>
        <p:spPr>
          <a:xfrm>
            <a:off x="456300" y="1166400"/>
            <a:ext cx="3924808" cy="3456000"/>
          </a:xfrm>
        </p:spPr>
        <p:txBody>
          <a:bodyPr vert="horz" lIns="90000" tIns="46800" rIns="90000" bIns="46800" rtlCol="0">
            <a:normAutofit/>
          </a:bodyPr>
          <a:lstStyle>
            <a:lvl1pPr>
              <a:buNone/>
              <a:defRPr sz="1200"/>
            </a:lvl1pPr>
          </a:lstStyle>
          <a:p>
            <a:pPr lvl="0"/>
            <a:endParaRPr lang="zh-CN" altLang="en-US"/>
          </a:p>
        </p:txBody>
      </p:sp>
      <p:sp>
        <p:nvSpPr>
          <p:cNvPr id="4" name="文本占位符 3"/>
          <p:cNvSpPr>
            <a:spLocks noGrp="1"/>
          </p:cNvSpPr>
          <p:nvPr>
            <p:ph type="body" sz="half" idx="2"/>
            <p:custDataLst>
              <p:tags r:id="rId2"/>
            </p:custDataLst>
          </p:nvPr>
        </p:nvSpPr>
        <p:spPr>
          <a:xfrm>
            <a:off x="4762800" y="1166400"/>
            <a:ext cx="3920400" cy="3456000"/>
          </a:xfrm>
        </p:spPr>
        <p:txBody>
          <a:bodyPr vert="horz" lIns="90000" tIns="46800" rIns="90000" bIns="46800" rtlCol="0">
            <a:normAutofit/>
          </a:bodyPr>
          <a:lstStyle>
            <a:lvl1pPr>
              <a:buNone/>
              <a:defRPr sz="1200"/>
            </a:lvl1pPr>
          </a:lstStyle>
          <a:p>
            <a:pPr lvl="0"/>
            <a:r>
              <a:rPr lang="zh-CN" altLang="en-US" smtClean="0"/>
              <a:t>单击此处编辑母版文本样式</a:t>
            </a:r>
            <a:endParaRPr lang="zh-CN" altLang="en-US"/>
          </a:p>
        </p:txBody>
      </p:sp>
      <p:sp>
        <p:nvSpPr>
          <p:cNvPr id="5" name="日期占位符 4"/>
          <p:cNvSpPr>
            <a:spLocks noGrp="1"/>
          </p:cNvSpPr>
          <p:nvPr>
            <p:ph type="dt" sz="half" idx="10"/>
            <p:custDataLst>
              <p:tags r:id="rId3"/>
            </p:custDataLst>
          </p:nvPr>
        </p:nvSpPr>
        <p:spPr/>
        <p:txBody>
          <a:bodyPr/>
          <a:lstStyle/>
          <a:p>
            <a:fld id="{9EFD9D74-47D9-4702-A33C-335B63B48DBF}" type="datetimeFigureOut">
              <a:rPr lang="zh-CN" altLang="en-US" smtClean="0"/>
              <a:t/>
            </a:fld>
            <a:endParaRPr lang="zh-CN" altLang="en-US"/>
          </a:p>
        </p:txBody>
      </p:sp>
      <p:sp>
        <p:nvSpPr>
          <p:cNvPr id="6" name="页脚占位符 5"/>
          <p:cNvSpPr>
            <a:spLocks noGrp="1"/>
          </p:cNvSpPr>
          <p:nvPr>
            <p:ph type="ftr" sz="quarter" idx="11"/>
            <p:custDataLst>
              <p:tags r:id="rId4"/>
            </p:custDataLst>
          </p:nvPr>
        </p:nvSpPr>
        <p:spPr/>
        <p:txBody>
          <a:bodyPr/>
          <a:lstStyle/>
          <a:p>
            <a:endParaRPr lang="zh-CN" altLang="en-US"/>
          </a:p>
        </p:txBody>
      </p:sp>
      <p:sp>
        <p:nvSpPr>
          <p:cNvPr id="7" name="灯片编号占位符 6"/>
          <p:cNvSpPr>
            <a:spLocks noGrp="1"/>
          </p:cNvSpPr>
          <p:nvPr>
            <p:ph type="sldNum" sz="quarter" idx="12"/>
            <p:custDataLst>
              <p:tags r:id="rId5"/>
            </p:custDataLst>
          </p:nvPr>
        </p:nvSpPr>
        <p:spPr/>
        <p:txBody>
          <a:bodyPr/>
          <a:lstStyle/>
          <a:p>
            <a:fld id="{FABC47A4-756D-490B-A52F-7D9E2C9FC05F}" type="slidenum">
              <a:rPr lang="zh-CN" altLang="en-US" smtClean="0"/>
              <a:t/>
            </a:fld>
            <a:endParaRPr lang="zh-CN" altLang="en-US"/>
          </a:p>
        </p:txBody>
      </p:sp>
      <p:sp>
        <p:nvSpPr>
          <p:cNvPr id="9" name="标题 8"/>
          <p:cNvSpPr>
            <a:spLocks noGrp="1"/>
          </p:cNvSpPr>
          <p:nvPr>
            <p:ph type="title"/>
            <p:custDataLst>
              <p:tags r:id="rId6"/>
            </p:custDataLst>
          </p:nvPr>
        </p:nvSpPr>
        <p:spPr>
          <a:xfrm>
            <a:off x="456300" y="456300"/>
            <a:ext cx="8226900" cy="529200"/>
          </a:xfrm>
        </p:spPr>
        <p:txBody>
          <a:bodyPr/>
          <a:lstStyle/>
          <a:p>
            <a:r>
              <a:rPr lang="zh-CN" altLang="en-US"/>
              <a:t>单击此处编辑母版标题样式</a:t>
            </a:r>
            <a:endParaRPr lang="zh-CN" altLang="en-US"/>
          </a:p>
        </p:txBody>
      </p:sp>
    </p:spTree>
  </p:cSld>
  <p:clrMapOvr>
    <a:masterClrMapping/>
  </p:clrMapOvr>
  <p:transition/>
  <p:timing/>
</p:sldLayout>
</file>

<file path=ppt/slideLayouts/slideLayout2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竖排标题与文本">
    <p:spTree>
      <p:nvGrpSpPr>
        <p:cNvPr id="1" name=""/>
        <p:cNvGrpSpPr/>
        <p:nvPr/>
      </p:nvGrpSpPr>
      <p:grpSpPr>
        <a:xfrm>
          <a:off x="0" y="0"/>
          <a:ext cx="0" cy="0"/>
        </a:xfrm>
      </p:grpSpPr>
      <p:sp>
        <p:nvSpPr>
          <p:cNvPr id="2" name="竖排标题 1"/>
          <p:cNvSpPr>
            <a:spLocks noGrp="1"/>
          </p:cNvSpPr>
          <p:nvPr>
            <p:ph type="title" orient="vert" hasCustomPrompt="1"/>
            <p:custDataLst>
              <p:tags r:id="rId1"/>
            </p:custDataLst>
          </p:nvPr>
        </p:nvSpPr>
        <p:spPr>
          <a:xfrm>
            <a:off x="7676100" y="685800"/>
            <a:ext cx="783000" cy="3771900"/>
          </a:xfrm>
        </p:spPr>
        <p:txBody>
          <a:bodyPr vert="eaVert" lIns="90000" tIns="46800" rIns="90000" bIns="46800" rtlCol="0" anchor="ctr" anchorCtr="0">
            <a:normAutofit/>
          </a:bodyPr>
          <a:lstStyle>
            <a:lvl1pPr>
              <a:buNone/>
              <a:defRPr sz="2100"/>
            </a:lvl1pPr>
          </a:lstStyle>
          <a:p>
            <a:pPr lvl="0"/>
            <a:r>
              <a:rPr lang="zh-CN" altLang="en-US" smtClean="0"/>
              <a:t>单击此处编辑标题</a:t>
            </a:r>
            <a:endParaRPr lang="zh-CN" altLang="en-US"/>
          </a:p>
        </p:txBody>
      </p:sp>
      <p:sp>
        <p:nvSpPr>
          <p:cNvPr id="3" name="竖排文字占位符 2"/>
          <p:cNvSpPr>
            <a:spLocks noGrp="1"/>
          </p:cNvSpPr>
          <p:nvPr>
            <p:ph type="body" orient="vert" idx="1"/>
            <p:custDataLst>
              <p:tags r:id="rId2"/>
            </p:custDataLst>
          </p:nvPr>
        </p:nvSpPr>
        <p:spPr>
          <a:xfrm>
            <a:off x="685800" y="685800"/>
            <a:ext cx="6876900" cy="3771900"/>
          </a:xfrm>
        </p:spPr>
        <p:txBody>
          <a:bodyPr vert="eaVert" lIns="46800" tIns="46800" rIns="46800" bIns="46800"/>
          <a:lstStyle>
            <a:lvl1pPr marL="171450" indent="-171450">
              <a:spcAft>
                <a:spcPts val="750"/>
              </a:spcAft>
              <a:defRPr spc="225"/>
            </a:lvl1pPr>
            <a:lvl2pPr marL="514350" indent="-171450">
              <a:defRPr spc="225"/>
            </a:lvl2pPr>
            <a:lvl3pPr marL="857250" indent="-171450">
              <a:defRPr spc="225"/>
            </a:lvl3pPr>
            <a:lvl4pPr marL="1200150" indent="-171450">
              <a:defRPr spc="225"/>
            </a:lvl4pPr>
            <a:lvl5pPr marL="1543050" indent="-171450">
              <a:defRPr spc="225"/>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内容">
    <p:spTree>
      <p:nvGrpSpPr>
        <p:cNvPr id="1" name=""/>
        <p:cNvGrpSpPr/>
        <p:nvPr/>
      </p:nvGrpSpPr>
      <p:grpSpPr>
        <a:xfrm>
          <a:off x="0" y="0"/>
          <a: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
        <p:nvSpPr>
          <p:cNvPr id="7" name="内容占位符 6"/>
          <p:cNvSpPr>
            <a:spLocks noGrp="1"/>
          </p:cNvSpPr>
          <p:nvPr>
            <p:ph sz="quarter" idx="13"/>
            <p:custDataLst>
              <p:tags r:id="rId4"/>
            </p:custDataLst>
          </p:nvPr>
        </p:nvSpPr>
        <p:spPr>
          <a:xfrm>
            <a:off x="456300" y="580500"/>
            <a:ext cx="8229600" cy="4112100"/>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transition/>
  <p:timing/>
</p:sldLayout>
</file>

<file path=ppt/slideLayouts/slideLayout2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末尾幻灯片">
    <p:spTree>
      <p:nvGrpSpPr>
        <p:cNvPr id="1" name=""/>
        <p:cNvGrpSpPr/>
        <p:nvPr/>
      </p:nvGrpSpPr>
      <p:grpSpPr>
        <a:xfrm>
          <a:off x="0" y="0"/>
          <a: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
        <p:nvSpPr>
          <p:cNvPr id="2" name="标题 1"/>
          <p:cNvSpPr>
            <a:spLocks noGrp="1"/>
          </p:cNvSpPr>
          <p:nvPr>
            <p:ph type="title" hasCustomPrompt="1"/>
            <p:custDataLst>
              <p:tags r:id="rId4"/>
            </p:custDataLst>
          </p:nvPr>
        </p:nvSpPr>
        <p:spPr>
          <a:xfrm>
            <a:off x="899100" y="1863000"/>
            <a:ext cx="7349400" cy="764100"/>
          </a:xfrm>
        </p:spPr>
        <p:txBody>
          <a:bodyPr vert="horz" lIns="90000" tIns="46800" rIns="90000" bIns="46800" rtlCol="0" anchor="t" anchorCtr="0">
            <a:normAutofit/>
          </a:bodyPr>
          <a:lstStyle>
            <a:lvl1pPr algn="ctr">
              <a:defRPr sz="4500"/>
            </a:lvl1pPr>
          </a:lstStyle>
          <a:p>
            <a:pPr lvl="0"/>
            <a:r>
              <a:rPr lang="zh-CN" altLang="en-US" smtClean="0"/>
              <a:t>单击此处编辑标题</a:t>
            </a:r>
            <a:endParaRPr lang="zh-CN" altLang="en-US"/>
          </a:p>
        </p:txBody>
      </p:sp>
      <p:sp>
        <p:nvSpPr>
          <p:cNvPr id="7" name="文本占位符 6"/>
          <p:cNvSpPr>
            <a:spLocks noGrp="1"/>
          </p:cNvSpPr>
          <p:nvPr>
            <p:ph type="body" sz="quarter" idx="13"/>
            <p:custDataLst>
              <p:tags r:id="rId5"/>
            </p:custDataLst>
          </p:nvPr>
        </p:nvSpPr>
        <p:spPr>
          <a:xfrm>
            <a:off x="899100" y="2670300"/>
            <a:ext cx="7349400" cy="353700"/>
          </a:xfrm>
        </p:spPr>
        <p:txBody>
          <a:bodyPr lIns="90000" tIns="46800" rIns="90000" bIns="46800">
            <a:normAutofit/>
          </a:bodyPr>
          <a:lstStyle>
            <a:lvl1pPr algn="ctr">
              <a:lnSpc>
                <a:spcPct val="110000"/>
              </a:lnSpc>
              <a:buNone/>
              <a:defRPr sz="1800" spc="150"/>
            </a:lvl1pPr>
          </a:lstStyle>
          <a:p>
            <a:pPr lvl="0"/>
            <a:r>
              <a:rPr lang="zh-CN" altLang="en-US"/>
              <a:t>单击此处编辑母版文本样式</a:t>
            </a:r>
            <a:endParaRPr lang="zh-CN" altLang="en-US"/>
          </a:p>
        </p:txBody>
      </p:sp>
    </p:spTree>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KSO_ST1"/>
          <p:cNvSpPr>
            <a:spLocks noGrp="1"/>
          </p:cNvSpPr>
          <p:nvPr>
            <p:ph type="title" hasCustomPrompt="1"/>
          </p:nvPr>
        </p:nvSpPr>
        <p:spPr>
          <a:xfrm>
            <a:off x="1574008" y="1581152"/>
            <a:ext cx="5995988" cy="926306"/>
          </a:xfrm>
        </p:spPr>
        <p:txBody>
          <a:bodyPr anchor="b">
            <a:normAutofit/>
          </a:bodyPr>
          <a:lstStyle>
            <a:lvl1pPr algn="ctr">
              <a:defRPr sz="2025">
                <a:solidFill>
                  <a:schemeClr val="tx2"/>
                </a:solidFill>
                <a:effectLst/>
              </a:defRPr>
            </a:lvl1pPr>
          </a:lstStyle>
          <a:p>
            <a:r>
              <a:rPr lang="zh-CN" altLang="en-US"/>
              <a:t>此处添加您的标题</a:t>
            </a:r>
            <a:endParaRPr lang="en-US"/>
          </a:p>
        </p:txBody>
      </p:sp>
      <p:sp>
        <p:nvSpPr>
          <p:cNvPr id="3" name="KSO_ST2"/>
          <p:cNvSpPr>
            <a:spLocks noGrp="1"/>
          </p:cNvSpPr>
          <p:nvPr>
            <p:ph type="body" idx="1" hasCustomPrompt="1"/>
          </p:nvPr>
        </p:nvSpPr>
        <p:spPr>
          <a:xfrm>
            <a:off x="3038171" y="2550318"/>
            <a:ext cx="3067663" cy="268109"/>
          </a:xfrm>
          <a:prstGeom prst="roundRect">
            <a:avLst>
              <a:gd name="adj" fmla="val 50000"/>
            </a:avLst>
          </a:prstGeom>
          <a:solidFill>
            <a:schemeClr val="tx2">
              <a:lumMod val="40000"/>
              <a:lumOff val="60000"/>
            </a:schemeClr>
          </a:solidFill>
        </p:spPr>
        <p:txBody>
          <a:bodyPr anchor="ctr">
            <a:normAutofit/>
          </a:bodyPr>
          <a:lstStyle>
            <a:lvl1pPr marL="0" indent="0" algn="ctr">
              <a:buNone/>
              <a:defRPr sz="900">
                <a:solidFill>
                  <a:schemeClr val="bg1"/>
                </a:solidFill>
              </a:defRPr>
            </a:lvl1pPr>
            <a:lvl2pPr marL="257175" indent="0">
              <a:buNone/>
              <a:defRPr sz="1125">
                <a:solidFill>
                  <a:schemeClr val="tx1">
                    <a:tint val="75000"/>
                  </a:schemeClr>
                </a:solidFill>
              </a:defRPr>
            </a:lvl2pPr>
            <a:lvl3pPr marL="514350" indent="0">
              <a:buNone/>
              <a:defRPr sz="1015">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r>
              <a:rPr lang="zh-CN" altLang="en-US"/>
              <a:t>单击此处添加您的副标题</a:t>
            </a:r>
            <a:endParaRPr lang="en-US" altLang="zh-CN"/>
          </a:p>
        </p:txBody>
      </p:sp>
      <p:sp>
        <p:nvSpPr>
          <p:cNvPr id="4" name="KSO_FD"/>
          <p:cNvSpPr>
            <a:spLocks noGrp="1"/>
          </p:cNvSpPr>
          <p:nvPr>
            <p:ph type="dt" sz="half" idx="10"/>
          </p:nvPr>
        </p:nvSpPr>
        <p:spPr/>
        <p:txBody>
          <a:bodyPr/>
          <a:lstStyle/>
          <a:p>
            <a:fld id="{02854A03-91AF-448A-9954-517C0577E5F0}" type="datetimeFigureOut">
              <a:rPr lang="zh-CN" altLang="en-US" smtClean="0"/>
              <a:t/>
            </a:fld>
            <a:endParaRPr lang="zh-CN" altLang="en-US"/>
          </a:p>
        </p:txBody>
      </p:sp>
      <p:sp>
        <p:nvSpPr>
          <p:cNvPr id="5" name="KSO_FT"/>
          <p:cNvSpPr>
            <a:spLocks noGrp="1"/>
          </p:cNvSpPr>
          <p:nvPr>
            <p:ph type="ftr" sz="quarter" idx="11"/>
          </p:nvPr>
        </p:nvSpPr>
        <p:spPr/>
        <p:txBody>
          <a:bodyPr/>
          <a:lstStyle/>
          <a:p>
            <a:endParaRPr lang="zh-CN" altLang="en-US"/>
          </a:p>
        </p:txBody>
      </p:sp>
      <p:sp>
        <p:nvSpPr>
          <p:cNvPr id="6" name="KSO_FN"/>
          <p:cNvSpPr>
            <a:spLocks noGrp="1"/>
          </p:cNvSpPr>
          <p:nvPr>
            <p:ph type="sldNum" sz="quarter" idx="12"/>
          </p:nvPr>
        </p:nvSpPr>
        <p:spPr/>
        <p:txBody>
          <a:bodyPr/>
          <a:lstStyle/>
          <a:p>
            <a:fld id="{2EEFC946-6D13-4F8C-9740-992A906A613E}"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KSO_BT1"/>
          <p:cNvSpPr>
            <a:spLocks noGrp="1"/>
          </p:cNvSpPr>
          <p:nvPr>
            <p:ph type="title"/>
          </p:nvPr>
        </p:nvSpPr>
        <p:spPr/>
        <p:txBody>
          <a:bodyPr/>
          <a:lstStyle/>
          <a:p>
            <a:r>
              <a:rPr lang="zh-CN" altLang="en-US"/>
              <a:t>单击此处编辑母版标题样式</a:t>
            </a:r>
            <a:endParaRPr lang="en-US"/>
          </a:p>
        </p:txBody>
      </p:sp>
      <p:sp>
        <p:nvSpPr>
          <p:cNvPr id="3" name="KSO_BC1"/>
          <p:cNvSpPr>
            <a:spLocks noGrp="1"/>
          </p:cNvSpPr>
          <p:nvPr>
            <p:ph sz="half" idx="1" hasCustomPrompt="1"/>
          </p:nvPr>
        </p:nvSpPr>
        <p:spPr>
          <a:xfrm>
            <a:off x="1049867" y="933453"/>
            <a:ext cx="3810000" cy="3699272"/>
          </a:xfrm>
        </p:spPr>
        <p:txBody>
          <a:bodyPr/>
          <a:lstStyle/>
          <a:p>
            <a:pPr lvl="0"/>
            <a:r>
              <a:rPr lang="zh-CN" altLang="en-US"/>
              <a:t>编辑母版文本样式</a:t>
            </a:r>
            <a:endParaRPr lang="zh-CN" altLang="en-US"/>
          </a:p>
          <a:p>
            <a:pPr lvl="1"/>
            <a:r>
              <a:rPr lang="zh-CN" altLang="en-US"/>
              <a:t>第二级</a:t>
            </a:r>
            <a:endParaRPr lang="zh-CN" altLang="en-US"/>
          </a:p>
        </p:txBody>
      </p:sp>
      <p:sp>
        <p:nvSpPr>
          <p:cNvPr id="4" name="KSO_BC2"/>
          <p:cNvSpPr>
            <a:spLocks noGrp="1"/>
          </p:cNvSpPr>
          <p:nvPr>
            <p:ph sz="half" idx="2" hasCustomPrompt="1"/>
          </p:nvPr>
        </p:nvSpPr>
        <p:spPr>
          <a:xfrm>
            <a:off x="4889501" y="933453"/>
            <a:ext cx="3820587" cy="3699272"/>
          </a:xfrm>
        </p:spPr>
        <p:txBody>
          <a:bodyPr/>
          <a:lstStyle/>
          <a:p>
            <a:pPr lvl="0"/>
            <a:r>
              <a:rPr lang="zh-CN" altLang="en-US"/>
              <a:t>编辑母版文本样式</a:t>
            </a:r>
            <a:endParaRPr lang="zh-CN" altLang="en-US"/>
          </a:p>
          <a:p>
            <a:pPr lvl="1"/>
            <a:r>
              <a:rPr lang="zh-CN" altLang="en-US"/>
              <a:t>第二级</a:t>
            </a:r>
            <a:endParaRPr lang="zh-CN" altLang="en-US"/>
          </a:p>
        </p:txBody>
      </p:sp>
      <p:sp>
        <p:nvSpPr>
          <p:cNvPr id="5" name="KSO_FD"/>
          <p:cNvSpPr>
            <a:spLocks noGrp="1"/>
          </p:cNvSpPr>
          <p:nvPr>
            <p:ph type="dt" sz="half" idx="10"/>
          </p:nvPr>
        </p:nvSpPr>
        <p:spPr/>
        <p:txBody>
          <a:bodyPr/>
          <a:lstStyle/>
          <a:p>
            <a:fld id="{02854A03-91AF-448A-9954-517C0577E5F0}" type="datetimeFigureOut">
              <a:rPr lang="zh-CN" altLang="en-US" smtClean="0"/>
              <a:t/>
            </a:fld>
            <a:endParaRPr lang="zh-CN" altLang="en-US"/>
          </a:p>
        </p:txBody>
      </p:sp>
      <p:sp>
        <p:nvSpPr>
          <p:cNvPr id="6" name="KSO_FT"/>
          <p:cNvSpPr>
            <a:spLocks noGrp="1"/>
          </p:cNvSpPr>
          <p:nvPr>
            <p:ph type="ftr" sz="quarter" idx="11"/>
          </p:nvPr>
        </p:nvSpPr>
        <p:spPr/>
        <p:txBody>
          <a:bodyPr/>
          <a:lstStyle/>
          <a:p>
            <a:endParaRPr lang="zh-CN" altLang="en-US"/>
          </a:p>
        </p:txBody>
      </p:sp>
      <p:sp>
        <p:nvSpPr>
          <p:cNvPr id="7" name="KSO_FN"/>
          <p:cNvSpPr>
            <a:spLocks noGrp="1"/>
          </p:cNvSpPr>
          <p:nvPr>
            <p:ph type="sldNum" sz="quarter" idx="12"/>
          </p:nvPr>
        </p:nvSpPr>
        <p:spPr/>
        <p:txBody>
          <a:bodyPr/>
          <a:lstStyle/>
          <a:p>
            <a:fld id="{2EEFC946-6D13-4F8C-9740-992A906A613E}"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KSO_BT1"/>
          <p:cNvSpPr>
            <a:spLocks noGrp="1"/>
          </p:cNvSpPr>
          <p:nvPr>
            <p:ph type="title"/>
          </p:nvPr>
        </p:nvSpPr>
        <p:spPr>
          <a:xfrm>
            <a:off x="1727199" y="88899"/>
            <a:ext cx="6984076" cy="537767"/>
          </a:xfrm>
        </p:spPr>
        <p:txBody>
          <a:bodyPr/>
          <a:lstStyle/>
          <a:p>
            <a:r>
              <a:rPr lang="zh-CN" altLang="en-US"/>
              <a:t>单击此处编辑母版标题样式</a:t>
            </a:r>
            <a:endParaRPr lang="en-US"/>
          </a:p>
        </p:txBody>
      </p:sp>
      <p:sp>
        <p:nvSpPr>
          <p:cNvPr id="3" name="Text Placeholder 2"/>
          <p:cNvSpPr>
            <a:spLocks noGrp="1"/>
          </p:cNvSpPr>
          <p:nvPr>
            <p:ph type="body" idx="1" hasCustomPrompt="1"/>
          </p:nvPr>
        </p:nvSpPr>
        <p:spPr>
          <a:xfrm>
            <a:off x="824578" y="1032272"/>
            <a:ext cx="3868340" cy="617934"/>
          </a:xfrm>
        </p:spPr>
        <p:txBody>
          <a:bodyPr anchor="b">
            <a:normAutofit/>
          </a:bodyPr>
          <a:lstStyle>
            <a:lvl1pPr marL="0" indent="0">
              <a:buNone/>
              <a:defRPr sz="1015" b="1"/>
            </a:lvl1pPr>
            <a:lvl2pPr marL="257175" indent="0">
              <a:buNone/>
              <a:defRPr sz="1125" b="1"/>
            </a:lvl2pPr>
            <a:lvl3pPr marL="514350" indent="0">
              <a:buNone/>
              <a:defRPr sz="1015"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zh-CN" altLang="en-US"/>
              <a:t>编辑母版文本样式</a:t>
            </a:r>
            <a:endParaRPr lang="zh-CN" altLang="en-US"/>
          </a:p>
        </p:txBody>
      </p:sp>
      <p:sp>
        <p:nvSpPr>
          <p:cNvPr id="4" name="KSO_BC1"/>
          <p:cNvSpPr>
            <a:spLocks noGrp="1"/>
          </p:cNvSpPr>
          <p:nvPr>
            <p:ph sz="half" idx="2" hasCustomPrompt="1"/>
          </p:nvPr>
        </p:nvSpPr>
        <p:spPr>
          <a:xfrm>
            <a:off x="824578" y="1650206"/>
            <a:ext cx="3868340" cy="2763441"/>
          </a:xfrm>
        </p:spPr>
        <p:txBody>
          <a:bodyPr/>
          <a:lstStyle/>
          <a:p>
            <a:pPr lvl="0"/>
            <a:r>
              <a:rPr lang="zh-CN" altLang="en-US"/>
              <a:t>编辑母版文本样式</a:t>
            </a:r>
            <a:endParaRPr lang="zh-CN" altLang="en-US"/>
          </a:p>
          <a:p>
            <a:pPr lvl="1"/>
            <a:r>
              <a:rPr lang="zh-CN" altLang="en-US"/>
              <a:t>第二级</a:t>
            </a:r>
            <a:endParaRPr lang="zh-CN" altLang="en-US"/>
          </a:p>
        </p:txBody>
      </p:sp>
      <p:sp>
        <p:nvSpPr>
          <p:cNvPr id="5" name="Text Placeholder 4"/>
          <p:cNvSpPr>
            <a:spLocks noGrp="1"/>
          </p:cNvSpPr>
          <p:nvPr>
            <p:ph type="body" sz="quarter" idx="3" hasCustomPrompt="1"/>
          </p:nvPr>
        </p:nvSpPr>
        <p:spPr>
          <a:xfrm>
            <a:off x="4823885" y="1032272"/>
            <a:ext cx="3887391" cy="617934"/>
          </a:xfrm>
        </p:spPr>
        <p:txBody>
          <a:bodyPr anchor="b">
            <a:normAutofit/>
          </a:bodyPr>
          <a:lstStyle>
            <a:lvl1pPr marL="0" indent="0">
              <a:buNone/>
              <a:defRPr sz="1015" b="1"/>
            </a:lvl1pPr>
            <a:lvl2pPr marL="257175" indent="0">
              <a:buNone/>
              <a:defRPr sz="1125" b="1"/>
            </a:lvl2pPr>
            <a:lvl3pPr marL="514350" indent="0">
              <a:buNone/>
              <a:defRPr sz="1015"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zh-CN" altLang="en-US"/>
              <a:t>编辑母版文本样式</a:t>
            </a:r>
            <a:endParaRPr lang="zh-CN" altLang="en-US"/>
          </a:p>
        </p:txBody>
      </p:sp>
      <p:sp>
        <p:nvSpPr>
          <p:cNvPr id="6" name="KSO_BC2"/>
          <p:cNvSpPr>
            <a:spLocks noGrp="1"/>
          </p:cNvSpPr>
          <p:nvPr>
            <p:ph sz="quarter" idx="4" hasCustomPrompt="1"/>
          </p:nvPr>
        </p:nvSpPr>
        <p:spPr>
          <a:xfrm>
            <a:off x="4823885" y="1650206"/>
            <a:ext cx="3887391" cy="2763441"/>
          </a:xfrm>
        </p:spPr>
        <p:txBody>
          <a:bodyPr/>
          <a:lstStyle/>
          <a:p>
            <a:pPr lvl="0"/>
            <a:r>
              <a:rPr lang="zh-CN" altLang="en-US"/>
              <a:t>编辑母版文本样式</a:t>
            </a:r>
            <a:endParaRPr lang="zh-CN" altLang="en-US"/>
          </a:p>
          <a:p>
            <a:pPr lvl="1"/>
            <a:r>
              <a:rPr lang="zh-CN" altLang="en-US"/>
              <a:t>第二级</a:t>
            </a:r>
            <a:endParaRPr lang="zh-CN" altLang="en-US"/>
          </a:p>
        </p:txBody>
      </p:sp>
      <p:sp>
        <p:nvSpPr>
          <p:cNvPr id="7" name="KSO_FD"/>
          <p:cNvSpPr>
            <a:spLocks noGrp="1"/>
          </p:cNvSpPr>
          <p:nvPr>
            <p:ph type="dt" sz="half" idx="10"/>
          </p:nvPr>
        </p:nvSpPr>
        <p:spPr/>
        <p:txBody>
          <a:bodyPr/>
          <a:lstStyle/>
          <a:p>
            <a:fld id="{02854A03-91AF-448A-9954-517C0577E5F0}" type="datetimeFigureOut">
              <a:rPr lang="zh-CN" altLang="en-US" smtClean="0"/>
              <a:t/>
            </a:fld>
            <a:endParaRPr lang="zh-CN" altLang="en-US"/>
          </a:p>
        </p:txBody>
      </p:sp>
      <p:sp>
        <p:nvSpPr>
          <p:cNvPr id="8" name="KSO_FT"/>
          <p:cNvSpPr>
            <a:spLocks noGrp="1"/>
          </p:cNvSpPr>
          <p:nvPr>
            <p:ph type="ftr" sz="quarter" idx="11"/>
          </p:nvPr>
        </p:nvSpPr>
        <p:spPr/>
        <p:txBody>
          <a:bodyPr/>
          <a:lstStyle/>
          <a:p>
            <a:endParaRPr lang="zh-CN" altLang="en-US"/>
          </a:p>
        </p:txBody>
      </p:sp>
      <p:sp>
        <p:nvSpPr>
          <p:cNvPr id="9" name="KSO_FN"/>
          <p:cNvSpPr>
            <a:spLocks noGrp="1"/>
          </p:cNvSpPr>
          <p:nvPr>
            <p:ph type="sldNum" sz="quarter" idx="12"/>
          </p:nvPr>
        </p:nvSpPr>
        <p:spPr/>
        <p:txBody>
          <a:bodyPr/>
          <a:lstStyle/>
          <a:p>
            <a:fld id="{2EEFC946-6D13-4F8C-9740-992A906A613E}"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KSO_BT1"/>
          <p:cNvSpPr>
            <a:spLocks noGrp="1"/>
          </p:cNvSpPr>
          <p:nvPr>
            <p:ph type="title"/>
          </p:nvPr>
        </p:nvSpPr>
        <p:spPr/>
        <p:txBody>
          <a:bodyPr/>
          <a:lstStyle/>
          <a:p>
            <a:r>
              <a:rPr lang="zh-CN" altLang="en-US"/>
              <a:t>单击此处编辑母版标题样式</a:t>
            </a:r>
            <a:endParaRPr lang="en-US"/>
          </a:p>
        </p:txBody>
      </p:sp>
      <p:sp>
        <p:nvSpPr>
          <p:cNvPr id="3" name="KSO_FD"/>
          <p:cNvSpPr>
            <a:spLocks noGrp="1"/>
          </p:cNvSpPr>
          <p:nvPr>
            <p:ph type="dt" sz="half" idx="10"/>
          </p:nvPr>
        </p:nvSpPr>
        <p:spPr/>
        <p:txBody>
          <a:bodyPr/>
          <a:lstStyle/>
          <a:p>
            <a:fld id="{530820CF-B880-4189-942D-D702A7CBA730}" type="datetimeFigureOut">
              <a:rPr lang="zh-CN" altLang="en-US" smtClean="0"/>
              <a:t/>
            </a:fld>
            <a:endParaRPr lang="zh-CN" altLang="en-US"/>
          </a:p>
        </p:txBody>
      </p:sp>
      <p:sp>
        <p:nvSpPr>
          <p:cNvPr id="4" name="KSO_FT"/>
          <p:cNvSpPr>
            <a:spLocks noGrp="1"/>
          </p:cNvSpPr>
          <p:nvPr>
            <p:ph type="ftr" sz="quarter" idx="11"/>
          </p:nvPr>
        </p:nvSpPr>
        <p:spPr/>
        <p:txBody>
          <a:bodyPr/>
          <a:lstStyle/>
          <a:p>
            <a:endParaRPr lang="zh-CN" altLang="en-US"/>
          </a:p>
        </p:txBody>
      </p:sp>
      <p:sp>
        <p:nvSpPr>
          <p:cNvPr id="5" name="KSO_FN"/>
          <p:cNvSpPr>
            <a:spLocks noGrp="1"/>
          </p:cNvSpPr>
          <p:nvPr>
            <p:ph type="sldNum" sz="quarter" idx="12"/>
          </p:nvPr>
        </p:nvSpPr>
        <p:spPr/>
        <p:txBody>
          <a:bodyPr/>
          <a:lstStyle/>
          <a:p>
            <a:fld id="{0C913308-F349-4B6D-A68A-DD1791B4A57B}"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showMasterSp="0" type="blank" preserve="1">
  <p:cSld name="空白">
    <p:spTree>
      <p:nvGrpSpPr>
        <p:cNvPr id="1" name=""/>
        <p:cNvGrpSpPr/>
        <p:nvPr/>
      </p:nvGrpSpPr>
      <p:grpSpPr>
        <a:xfrm>
          <a:off x="0" y="0"/>
          <a:ext cx="0" cy="0"/>
        </a:xfrm>
      </p:grpSpPr>
      <p:sp>
        <p:nvSpPr>
          <p:cNvPr id="2" name="KSO_FD"/>
          <p:cNvSpPr>
            <a:spLocks noGrp="1"/>
          </p:cNvSpPr>
          <p:nvPr>
            <p:ph type="dt" sz="half" idx="10"/>
          </p:nvPr>
        </p:nvSpPr>
        <p:spPr/>
        <p:txBody>
          <a:bodyPr/>
          <a:lstStyle/>
          <a:p>
            <a:fld id="{02854A03-91AF-448A-9954-517C0577E5F0}" type="datetimeFigureOut">
              <a:rPr lang="zh-CN" altLang="en-US" smtClean="0"/>
              <a:t/>
            </a:fld>
            <a:endParaRPr lang="zh-CN" altLang="en-US"/>
          </a:p>
        </p:txBody>
      </p:sp>
      <p:sp>
        <p:nvSpPr>
          <p:cNvPr id="3" name="KSO_FT"/>
          <p:cNvSpPr>
            <a:spLocks noGrp="1"/>
          </p:cNvSpPr>
          <p:nvPr>
            <p:ph type="ftr" sz="quarter" idx="11"/>
          </p:nvPr>
        </p:nvSpPr>
        <p:spPr/>
        <p:txBody>
          <a:bodyPr/>
          <a:lstStyle/>
          <a:p>
            <a:endParaRPr lang="zh-CN" altLang="en-US"/>
          </a:p>
        </p:txBody>
      </p:sp>
      <p:sp>
        <p:nvSpPr>
          <p:cNvPr id="4" name="KSO_FN"/>
          <p:cNvSpPr>
            <a:spLocks noGrp="1"/>
          </p:cNvSpPr>
          <p:nvPr>
            <p:ph type="sldNum" sz="quarter" idx="12"/>
          </p:nvPr>
        </p:nvSpPr>
        <p:spPr/>
        <p:txBody>
          <a:bodyPr/>
          <a:lstStyle/>
          <a:p>
            <a:fld id="{2EEFC946-6D13-4F8C-9740-992A906A613E}" type="slidenum">
              <a:rPr lang="zh-CN" altLang="en-US" smtClean="0"/>
              <a:t/>
            </a:fld>
            <a:endParaRPr lang="zh-CN" altLang="en-US"/>
          </a:p>
        </p:txBody>
      </p:sp>
      <p:sp>
        <p:nvSpPr>
          <p:cNvPr id="5" name="文本框 12"/>
          <p:cNvSpPr txBox="1">
            <a:spLocks noChangeArrowheads="1"/>
          </p:cNvSpPr>
          <p:nvPr userDrawn="1"/>
        </p:nvSpPr>
        <p:spPr bwMode="auto">
          <a:xfrm>
            <a:off x="1157536" y="370296"/>
            <a:ext cx="1796090" cy="250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5023" tIns="32511" rIns="65023" bIns="32511">
            <a:spAutoFit/>
          </a:bodyPr>
          <a:lstStyle>
            <a:lvl1pPr>
              <a:defRPr>
                <a:solidFill>
                  <a:schemeClr val="tx1"/>
                </a:solidFill>
                <a:latin typeface="Open Sans" panose="020b0606030504020204" pitchFamily="34" charset="0"/>
                <a:ea typeface="冬青黑体简体中文 W3" charset="-122"/>
              </a:defRPr>
            </a:lvl1pPr>
            <a:lvl2pPr marL="742950" indent="-285750">
              <a:defRPr>
                <a:solidFill>
                  <a:schemeClr val="tx1"/>
                </a:solidFill>
                <a:latin typeface="Open Sans" panose="020b0606030504020204" pitchFamily="34" charset="0"/>
                <a:ea typeface="冬青黑体简体中文 W3" charset="-122"/>
              </a:defRPr>
            </a:lvl2pPr>
            <a:lvl3pPr marL="1143000" indent="-228600">
              <a:defRPr>
                <a:solidFill>
                  <a:schemeClr val="tx1"/>
                </a:solidFill>
                <a:latin typeface="Open Sans" panose="020b0606030504020204" pitchFamily="34" charset="0"/>
                <a:ea typeface="冬青黑体简体中文 W3" charset="-122"/>
              </a:defRPr>
            </a:lvl3pPr>
            <a:lvl4pPr marL="1600200" indent="-228600">
              <a:defRPr>
                <a:solidFill>
                  <a:schemeClr val="tx1"/>
                </a:solidFill>
                <a:latin typeface="Open Sans" panose="020b0606030504020204" pitchFamily="34" charset="0"/>
                <a:ea typeface="冬青黑体简体中文 W3" charset="-122"/>
              </a:defRPr>
            </a:lvl4pPr>
            <a:lvl5pPr marL="2057400" indent="-228600">
              <a:defRPr>
                <a:solidFill>
                  <a:schemeClr val="tx1"/>
                </a:solidFill>
                <a:latin typeface="Open Sans" panose="020b0606030504020204" pitchFamily="34" charset="0"/>
                <a:ea typeface="冬青黑体简体中文 W3" charset="-122"/>
              </a:defRPr>
            </a:lvl5pPr>
            <a:lvl6pPr marL="2514600" indent="-228600" fontAlgn="base">
              <a:spcBef>
                <a:spcPct val="0"/>
              </a:spcBef>
              <a:spcAft>
                <a:spcPct val="0"/>
              </a:spcAft>
              <a:defRPr>
                <a:solidFill>
                  <a:schemeClr val="tx1"/>
                </a:solidFill>
                <a:latin typeface="Open Sans" panose="020b0606030504020204" pitchFamily="34" charset="0"/>
                <a:ea typeface="冬青黑体简体中文 W3" charset="-122"/>
              </a:defRPr>
            </a:lvl6pPr>
            <a:lvl7pPr marL="2971800" indent="-228600" fontAlgn="base">
              <a:spcBef>
                <a:spcPct val="0"/>
              </a:spcBef>
              <a:spcAft>
                <a:spcPct val="0"/>
              </a:spcAft>
              <a:defRPr>
                <a:solidFill>
                  <a:schemeClr val="tx1"/>
                </a:solidFill>
                <a:latin typeface="Open Sans" panose="020b0606030504020204" pitchFamily="34" charset="0"/>
                <a:ea typeface="冬青黑体简体中文 W3" charset="-122"/>
              </a:defRPr>
            </a:lvl7pPr>
            <a:lvl8pPr marL="3429000" indent="-228600" fontAlgn="base">
              <a:spcBef>
                <a:spcPct val="0"/>
              </a:spcBef>
              <a:spcAft>
                <a:spcPct val="0"/>
              </a:spcAft>
              <a:defRPr>
                <a:solidFill>
                  <a:schemeClr val="tx1"/>
                </a:solidFill>
                <a:latin typeface="Open Sans" panose="020b0606030504020204" pitchFamily="34" charset="0"/>
                <a:ea typeface="冬青黑体简体中文 W3" charset="-122"/>
              </a:defRPr>
            </a:lvl8pPr>
            <a:lvl9pPr marL="3886200" indent="-228600" fontAlgn="base">
              <a:spcBef>
                <a:spcPct val="0"/>
              </a:spcBef>
              <a:spcAft>
                <a:spcPct val="0"/>
              </a:spcAft>
              <a:defRPr>
                <a:solidFill>
                  <a:schemeClr val="tx1"/>
                </a:solidFill>
                <a:latin typeface="Open Sans" panose="020b0606030504020204" pitchFamily="34" charset="0"/>
                <a:ea typeface="冬青黑体简体中文 W3" charset="-122"/>
              </a:defRPr>
            </a:lvl9pPr>
          </a:lstStyle>
          <a:p>
            <a:r>
              <a:rPr lang="zh-CN" altLang="en-US" sz="1200">
                <a:solidFill>
                  <a:schemeClr val="accent1"/>
                </a:solidFill>
                <a:latin typeface="微软雅黑" panose="020b0503020204020204" pitchFamily="34" charset="-122"/>
                <a:ea typeface="微软雅黑" panose="020b0503020204020204" pitchFamily="34" charset="-122"/>
                <a:cs typeface="+mn-ea"/>
                <a:sym typeface="+mn-lt"/>
              </a:rPr>
              <a:t>点击添加相关标题文字</a:t>
            </a:r>
            <a:endParaRPr lang="zh-CN" altLang="en-US" sz="1200">
              <a:solidFill>
                <a:schemeClr val="accent1"/>
              </a:solidFill>
              <a:latin typeface="微软雅黑" panose="020b0503020204020204" pitchFamily="34" charset="-122"/>
              <a:ea typeface="微软雅黑" panose="020b0503020204020204" pitchFamily="34" charset="-122"/>
              <a:cs typeface="+mn-ea"/>
              <a:sym typeface="+mn-lt"/>
            </a:endParaRPr>
          </a:p>
        </p:txBody>
      </p:sp>
      <p:pic>
        <p:nvPicPr>
          <p:cNvPr id="6" name="Picture 3" descr="C:\Users\Administrator\Desktop\微立体创业计划\005.png"/>
          <p:cNvPicPr>
            <a:picLocks noChangeAspect="1" noChangeArrowheads="1"/>
          </p:cNvPicPr>
          <p:nvPr userDrawn="1"/>
        </p:nvPicPr>
        <p:blipFill>
          <a:blip r:embed="rId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395536" y="210344"/>
            <a:ext cx="609601" cy="609601"/>
          </a:xfrm>
          <a:prstGeom prst="rect">
            <a:avLst/>
          </a:prstGeom>
          <a:noFill/>
          <a:effectLst>
            <a:outerShdw blurRad="127000" dist="63500" dir="3000000" sx="104000" sy="104000" algn="tl" rotWithShape="0">
              <a:prstClr val="black">
                <a:alpha val="34000"/>
              </a:prstClr>
            </a:outerShdw>
          </a:effectLst>
          <a:extLst>
            <a:ext uri="{909E8E84-426E-40DD-AFC4-6F175D3DCCD1}">
              <a14:hiddenFill xmlns:a14="http://schemas.microsoft.com/office/drawing/2010/main">
                <a:solidFill>
                  <a:srgbClr val="FFFFFF"/>
                </a:solidFill>
              </a14:hiddenFill>
            </a:ext>
          </a:extLst>
        </p:spPr>
      </p:pic>
      <p:pic>
        <p:nvPicPr>
          <p:cNvPr id="7" name="Picture 4" descr="C:\Users\Administrator\Desktop\微立体创业计划\004.png"/>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47935" y="219716"/>
            <a:ext cx="609601" cy="609601"/>
          </a:xfrm>
          <a:prstGeom prst="rect">
            <a:avLst/>
          </a:prstGeom>
          <a:noFill/>
          <a:effectLst>
            <a:outerShdw blurRad="127000" dist="63500" dir="3000000" sx="104000" sy="104000" algn="tl" rotWithShape="0">
              <a:prstClr val="black">
                <a:alpha val="34000"/>
              </a:prstClr>
            </a:outerShdw>
          </a:effectLst>
          <a:extLst>
            <a:ext uri="{909E8E84-426E-40DD-AFC4-6F175D3DCCD1}">
              <a14:hiddenFill xmlns:a14="http://schemas.microsoft.com/office/drawing/2010/main">
                <a:solidFill>
                  <a:srgbClr val="FFFFFF"/>
                </a:solidFill>
              </a14:hiddenFill>
            </a:ext>
          </a:extLst>
        </p:spPr>
      </p:pic>
      <p:sp>
        <p:nvSpPr>
          <p:cNvPr id="8" name="矩形 3"/>
          <p:cNvSpPr>
            <a:spLocks noChangeArrowheads="1"/>
          </p:cNvSpPr>
          <p:nvPr userDrawn="1"/>
        </p:nvSpPr>
        <p:spPr bwMode="auto">
          <a:xfrm>
            <a:off x="1115616" y="612722"/>
            <a:ext cx="2587892" cy="230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none" lIns="68582" tIns="34292" rIns="68582" bIns="34292">
            <a:spAutoFit/>
          </a:bodyPr>
          <a:lstStyle/>
          <a:p>
            <a:r>
              <a:rPr lang="en-US" altLang="zh-CN" sz="1050" b="0">
                <a:solidFill>
                  <a:schemeClr val="tx1">
                    <a:lumMod val="85000"/>
                    <a:lumOff val="15000"/>
                  </a:schemeClr>
                </a:solidFill>
                <a:latin typeface="微软雅黑" panose="020b0503020204020204" pitchFamily="34" charset="-122"/>
                <a:ea typeface="微软雅黑" panose="020b0503020204020204" pitchFamily="34" charset="-122"/>
                <a:sym typeface="Arial" panose="020b0604020202020204" pitchFamily="34" charset="0"/>
              </a:rPr>
              <a:t>Click here to add the title text content</a:t>
            </a:r>
            <a:endParaRPr lang="zh-CN" altLang="en-US" sz="1050" b="0">
              <a:solidFill>
                <a:schemeClr val="tx1">
                  <a:lumMod val="85000"/>
                  <a:lumOff val="15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9"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200" fill="hold"/>
                                        <p:tgtEl>
                                          <p:spTgt spid="6"/>
                                        </p:tgtEl>
                                        <p:attrNameLst>
                                          <p:attrName>ppt_x</p:attrName>
                                        </p:attrNameLst>
                                      </p:cBhvr>
                                      <p:tavLst>
                                        <p:tav tm="0">
                                          <p:val>
                                            <p:strVal val="0-#ppt_w/2"/>
                                          </p:val>
                                        </p:tav>
                                        <p:tav tm="100000">
                                          <p:val>
                                            <p:strVal val="#ppt_x"/>
                                          </p:val>
                                        </p:tav>
                                      </p:tavLst>
                                    </p:anim>
                                    <p:anim calcmode="lin" valueType="num">
                                      <p:cBhvr additive="base">
                                        <p:cTn id="8" dur="12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200" fill="hold"/>
                                        <p:tgtEl>
                                          <p:spTgt spid="7"/>
                                        </p:tgtEl>
                                        <p:attrNameLst>
                                          <p:attrName>ppt_x</p:attrName>
                                        </p:attrNameLst>
                                      </p:cBhvr>
                                      <p:tavLst>
                                        <p:tav tm="0">
                                          <p:val>
                                            <p:strVal val="#ppt_x"/>
                                          </p:val>
                                        </p:tav>
                                        <p:tav tm="100000">
                                          <p:val>
                                            <p:strVal val="#ppt_x"/>
                                          </p:val>
                                        </p:tav>
                                      </p:tavLst>
                                    </p:anim>
                                    <p:anim calcmode="lin" valueType="num">
                                      <p:cBhvr additive="base">
                                        <p:cTn id="12" dur="1200" fill="hold"/>
                                        <p:tgtEl>
                                          <p:spTgt spid="7"/>
                                        </p:tgtEl>
                                        <p:attrNameLst>
                                          <p:attrName>ppt_y</p:attrName>
                                        </p:attrNameLst>
                                      </p:cBhvr>
                                      <p:tavLst>
                                        <p:tav tm="0">
                                          <p:val>
                                            <p:strVal val="0-#ppt_h/2"/>
                                          </p:val>
                                        </p:tav>
                                        <p:tav tm="100000">
                                          <p:val>
                                            <p:strVal val="#ppt_y"/>
                                          </p:val>
                                        </p:tav>
                                      </p:tavLst>
                                    </p:anim>
                                  </p:childTnLst>
                                </p:cTn>
                              </p:par>
                            </p:childTnLst>
                          </p:cTn>
                        </p:par>
                        <p:par>
                          <p:cTn id="13" fill="hold" nodeType="afterGroup">
                            <p:stCondLst>
                              <p:cond delay="1200"/>
                            </p:stCondLst>
                            <p:childTnLst>
                              <p:par>
                                <p:cTn id="14" presetID="22" presetClass="entr" presetSubtype="8"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KSO_BT1"/>
          <p:cNvSpPr>
            <a:spLocks noGrp="1"/>
          </p:cNvSpPr>
          <p:nvPr>
            <p:ph type="title"/>
          </p:nvPr>
        </p:nvSpPr>
        <p:spPr>
          <a:xfrm>
            <a:off x="858444" y="400052"/>
            <a:ext cx="2949178" cy="1200150"/>
          </a:xfrm>
        </p:spPr>
        <p:txBody>
          <a:bodyPr anchor="b"/>
          <a:lstStyle>
            <a:lvl1pPr>
              <a:defRPr sz="1800"/>
            </a:lvl1pPr>
          </a:lstStyle>
          <a:p>
            <a:r>
              <a:rPr lang="zh-CN" altLang="en-US"/>
              <a:t>单击此处编辑母版标题样式</a:t>
            </a:r>
            <a:endParaRPr lang="en-US"/>
          </a:p>
        </p:txBody>
      </p:sp>
      <p:sp>
        <p:nvSpPr>
          <p:cNvPr id="3" name="KSO_BC1"/>
          <p:cNvSpPr>
            <a:spLocks noGrp="1"/>
          </p:cNvSpPr>
          <p:nvPr>
            <p:ph idx="1" hasCustomPrompt="1"/>
          </p:nvPr>
        </p:nvSpPr>
        <p:spPr>
          <a:xfrm>
            <a:off x="4115992" y="797724"/>
            <a:ext cx="4629150" cy="3655219"/>
          </a:xfrm>
        </p:spPr>
        <p:txBody>
          <a:bodyPr>
            <a:normAutofit/>
          </a:bodyPr>
          <a:lstStyle>
            <a:lvl1pPr>
              <a:defRPr sz="1125"/>
            </a:lvl1pPr>
            <a:lvl2pPr>
              <a:defRPr sz="1015"/>
            </a:lvl2pPr>
            <a:lvl3pPr>
              <a:defRPr sz="900"/>
            </a:lvl3pPr>
            <a:lvl4pPr>
              <a:defRPr sz="790"/>
            </a:lvl4pPr>
            <a:lvl5pPr>
              <a:defRPr sz="790"/>
            </a:lvl5pPr>
            <a:lvl6pPr>
              <a:defRPr sz="1125"/>
            </a:lvl6pPr>
            <a:lvl7pPr>
              <a:defRPr sz="1125"/>
            </a:lvl7pPr>
            <a:lvl8pPr>
              <a:defRPr sz="1125"/>
            </a:lvl8pPr>
            <a:lvl9pPr>
              <a:defRPr sz="1125"/>
            </a:lvl9pPr>
          </a:lstStyle>
          <a:p>
            <a:pPr lvl="0"/>
            <a:r>
              <a:rPr lang="zh-CN" altLang="en-US"/>
              <a:t>编辑母版文本样式</a:t>
            </a:r>
            <a:endParaRPr lang="zh-CN" altLang="en-US"/>
          </a:p>
          <a:p>
            <a:pPr lvl="1"/>
            <a:r>
              <a:rPr lang="zh-CN" altLang="en-US"/>
              <a:t>第二级</a:t>
            </a:r>
            <a:endParaRPr lang="zh-CN" altLang="en-US"/>
          </a:p>
        </p:txBody>
      </p:sp>
      <p:sp>
        <p:nvSpPr>
          <p:cNvPr id="4" name="KSO_BC2"/>
          <p:cNvSpPr>
            <a:spLocks noGrp="1"/>
          </p:cNvSpPr>
          <p:nvPr>
            <p:ph type="body" sz="half" idx="2" hasCustomPrompt="1"/>
          </p:nvPr>
        </p:nvSpPr>
        <p:spPr>
          <a:xfrm>
            <a:off x="858444" y="1600202"/>
            <a:ext cx="2949178" cy="2858691"/>
          </a:xfrm>
        </p:spPr>
        <p:txBody>
          <a:bodyPr/>
          <a:lstStyle>
            <a:lvl1pPr marL="0" indent="0">
              <a:buNone/>
              <a:defRPr sz="900"/>
            </a:lvl1pPr>
            <a:lvl2pPr marL="257175" indent="0">
              <a:buNone/>
              <a:defRPr sz="790"/>
            </a:lvl2pPr>
            <a:lvl3pPr marL="514350" indent="0">
              <a:buNone/>
              <a:defRPr sz="675"/>
            </a:lvl3pPr>
            <a:lvl4pPr marL="771525" indent="0">
              <a:buNone/>
              <a:defRPr sz="565"/>
            </a:lvl4pPr>
            <a:lvl5pPr marL="1028700" indent="0">
              <a:buNone/>
              <a:defRPr sz="565"/>
            </a:lvl5pPr>
            <a:lvl6pPr marL="1285875" indent="0">
              <a:buNone/>
              <a:defRPr sz="565"/>
            </a:lvl6pPr>
            <a:lvl7pPr marL="1543050" indent="0">
              <a:buNone/>
              <a:defRPr sz="565"/>
            </a:lvl7pPr>
            <a:lvl8pPr marL="1800225" indent="0">
              <a:buNone/>
              <a:defRPr sz="565"/>
            </a:lvl8pPr>
            <a:lvl9pPr marL="2057400" indent="0">
              <a:buNone/>
              <a:defRPr sz="565"/>
            </a:lvl9pPr>
          </a:lstStyle>
          <a:p>
            <a:pPr lvl="0"/>
            <a:r>
              <a:rPr lang="zh-CN" altLang="en-US"/>
              <a:t>编辑母版文本样式</a:t>
            </a:r>
            <a:endParaRPr lang="zh-CN" altLang="en-US"/>
          </a:p>
        </p:txBody>
      </p:sp>
      <p:sp>
        <p:nvSpPr>
          <p:cNvPr id="5" name="KSO_FD"/>
          <p:cNvSpPr>
            <a:spLocks noGrp="1"/>
          </p:cNvSpPr>
          <p:nvPr>
            <p:ph type="dt" sz="half" idx="10"/>
          </p:nvPr>
        </p:nvSpPr>
        <p:spPr/>
        <p:txBody>
          <a:bodyPr/>
          <a:lstStyle/>
          <a:p>
            <a:fld id="{02854A03-91AF-448A-9954-517C0577E5F0}" type="datetimeFigureOut">
              <a:rPr lang="zh-CN" altLang="en-US" smtClean="0"/>
              <a:t/>
            </a:fld>
            <a:endParaRPr lang="zh-CN" altLang="en-US"/>
          </a:p>
        </p:txBody>
      </p:sp>
      <p:sp>
        <p:nvSpPr>
          <p:cNvPr id="6" name="KSO_FT"/>
          <p:cNvSpPr>
            <a:spLocks noGrp="1"/>
          </p:cNvSpPr>
          <p:nvPr>
            <p:ph type="ftr" sz="quarter" idx="11"/>
          </p:nvPr>
        </p:nvSpPr>
        <p:spPr/>
        <p:txBody>
          <a:bodyPr/>
          <a:lstStyle/>
          <a:p>
            <a:endParaRPr lang="zh-CN" altLang="en-US"/>
          </a:p>
        </p:txBody>
      </p:sp>
      <p:sp>
        <p:nvSpPr>
          <p:cNvPr id="7" name="KSO_FN"/>
          <p:cNvSpPr>
            <a:spLocks noGrp="1"/>
          </p:cNvSpPr>
          <p:nvPr>
            <p:ph type="sldNum" sz="quarter" idx="12"/>
          </p:nvPr>
        </p:nvSpPr>
        <p:spPr/>
        <p:txBody>
          <a:bodyPr/>
          <a:lstStyle/>
          <a:p>
            <a:fld id="{2EEFC946-6D13-4F8C-9740-992A906A613E}"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KSO_BT1"/>
          <p:cNvSpPr>
            <a:spLocks noGrp="1"/>
          </p:cNvSpPr>
          <p:nvPr>
            <p:ph type="title"/>
          </p:nvPr>
        </p:nvSpPr>
        <p:spPr>
          <a:xfrm>
            <a:off x="934644" y="342900"/>
            <a:ext cx="2949178" cy="1200150"/>
          </a:xfrm>
        </p:spPr>
        <p:txBody>
          <a:bodyPr anchor="b"/>
          <a:lstStyle>
            <a:lvl1pPr>
              <a:defRPr sz="1800"/>
            </a:lvl1pPr>
          </a:lstStyle>
          <a:p>
            <a:r>
              <a:rPr lang="zh-CN" altLang="en-US"/>
              <a:t>单击此处编辑母版标题样式</a:t>
            </a:r>
            <a:endParaRPr lang="en-US"/>
          </a:p>
        </p:txBody>
      </p:sp>
      <p:sp>
        <p:nvSpPr>
          <p:cNvPr id="3" name="KSO_BC1"/>
          <p:cNvSpPr>
            <a:spLocks noGrp="1" noChangeAspect="1"/>
          </p:cNvSpPr>
          <p:nvPr>
            <p:ph type="pic" idx="1"/>
          </p:nvPr>
        </p:nvSpPr>
        <p:spPr>
          <a:xfrm>
            <a:off x="4082125" y="740572"/>
            <a:ext cx="4629150" cy="3655219"/>
          </a:xfrm>
        </p:spPr>
        <p:txBody>
          <a:bodyPr anchor="t"/>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r>
              <a:rPr lang="zh-CN" altLang="en-US"/>
              <a:t>单击图标添加图片</a:t>
            </a:r>
            <a:endParaRPr lang="en-US"/>
          </a:p>
        </p:txBody>
      </p:sp>
      <p:sp>
        <p:nvSpPr>
          <p:cNvPr id="4" name="KSO_BC2"/>
          <p:cNvSpPr>
            <a:spLocks noGrp="1"/>
          </p:cNvSpPr>
          <p:nvPr>
            <p:ph type="body" sz="half" idx="2" hasCustomPrompt="1"/>
          </p:nvPr>
        </p:nvSpPr>
        <p:spPr>
          <a:xfrm>
            <a:off x="934644" y="1543050"/>
            <a:ext cx="2949178" cy="2858691"/>
          </a:xfrm>
        </p:spPr>
        <p:txBody>
          <a:bodyPr/>
          <a:lstStyle>
            <a:lvl1pPr marL="0" indent="0">
              <a:buNone/>
              <a:defRPr sz="900"/>
            </a:lvl1pPr>
            <a:lvl2pPr marL="257175" indent="0">
              <a:buNone/>
              <a:defRPr sz="790"/>
            </a:lvl2pPr>
            <a:lvl3pPr marL="514350" indent="0">
              <a:buNone/>
              <a:defRPr sz="675"/>
            </a:lvl3pPr>
            <a:lvl4pPr marL="771525" indent="0">
              <a:buNone/>
              <a:defRPr sz="565"/>
            </a:lvl4pPr>
            <a:lvl5pPr marL="1028700" indent="0">
              <a:buNone/>
              <a:defRPr sz="565"/>
            </a:lvl5pPr>
            <a:lvl6pPr marL="1285875" indent="0">
              <a:buNone/>
              <a:defRPr sz="565"/>
            </a:lvl6pPr>
            <a:lvl7pPr marL="1543050" indent="0">
              <a:buNone/>
              <a:defRPr sz="565"/>
            </a:lvl7pPr>
            <a:lvl8pPr marL="1800225" indent="0">
              <a:buNone/>
              <a:defRPr sz="565"/>
            </a:lvl8pPr>
            <a:lvl9pPr marL="2057400" indent="0">
              <a:buNone/>
              <a:defRPr sz="565"/>
            </a:lvl9pPr>
          </a:lstStyle>
          <a:p>
            <a:pPr lvl="0"/>
            <a:r>
              <a:rPr lang="zh-CN" altLang="en-US"/>
              <a:t>编辑母版文本样式</a:t>
            </a:r>
            <a:endParaRPr lang="zh-CN" altLang="en-US"/>
          </a:p>
        </p:txBody>
      </p:sp>
      <p:sp>
        <p:nvSpPr>
          <p:cNvPr id="5" name="KSO_FD"/>
          <p:cNvSpPr>
            <a:spLocks noGrp="1"/>
          </p:cNvSpPr>
          <p:nvPr>
            <p:ph type="dt" sz="half" idx="10"/>
          </p:nvPr>
        </p:nvSpPr>
        <p:spPr/>
        <p:txBody>
          <a:bodyPr/>
          <a:lstStyle/>
          <a:p>
            <a:fld id="{02854A03-91AF-448A-9954-517C0577E5F0}" type="datetimeFigureOut">
              <a:rPr lang="zh-CN" altLang="en-US" smtClean="0"/>
              <a:t/>
            </a:fld>
            <a:endParaRPr lang="zh-CN" altLang="en-US"/>
          </a:p>
        </p:txBody>
      </p:sp>
      <p:sp>
        <p:nvSpPr>
          <p:cNvPr id="6" name="KSO_FT"/>
          <p:cNvSpPr>
            <a:spLocks noGrp="1"/>
          </p:cNvSpPr>
          <p:nvPr>
            <p:ph type="ftr" sz="quarter" idx="11"/>
          </p:nvPr>
        </p:nvSpPr>
        <p:spPr/>
        <p:txBody>
          <a:bodyPr/>
          <a:lstStyle/>
          <a:p>
            <a:endParaRPr lang="zh-CN" altLang="en-US"/>
          </a:p>
        </p:txBody>
      </p:sp>
      <p:sp>
        <p:nvSpPr>
          <p:cNvPr id="7" name="KSO_FN"/>
          <p:cNvSpPr>
            <a:spLocks noGrp="1"/>
          </p:cNvSpPr>
          <p:nvPr>
            <p:ph type="sldNum" sz="quarter" idx="12"/>
          </p:nvPr>
        </p:nvSpPr>
        <p:spPr/>
        <p:txBody>
          <a:bodyPr/>
          <a:lstStyle/>
          <a:p>
            <a:fld id="{2EEFC946-6D13-4F8C-9740-992A906A613E}"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slideLayout" Target="../slideLayouts/slideLayout16.xml" /><Relationship Id="rId17" Type="http://schemas.openxmlformats.org/officeDocument/2006/relationships/slideLayout" Target="../slideLayouts/slideLayout17.xml" /><Relationship Id="rId18"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8.xml" /><Relationship Id="rId10" Type="http://schemas.openxmlformats.org/officeDocument/2006/relationships/slideLayout" Target="../slideLayouts/slideLayout27.xml" /><Relationship Id="rId11" Type="http://schemas.openxmlformats.org/officeDocument/2006/relationships/slideLayout" Target="../slideLayouts/slideLayout28.xml" /><Relationship Id="rId12" Type="http://schemas.openxmlformats.org/officeDocument/2006/relationships/tags" Target="../tags/tag57.xml" /><Relationship Id="rId13" Type="http://schemas.openxmlformats.org/officeDocument/2006/relationships/tags" Target="../tags/tag58.xml" /><Relationship Id="rId14" Type="http://schemas.openxmlformats.org/officeDocument/2006/relationships/tags" Target="../tags/tag59.xml" /><Relationship Id="rId15" Type="http://schemas.openxmlformats.org/officeDocument/2006/relationships/tags" Target="../tags/tag60.xml" /><Relationship Id="rId16" Type="http://schemas.openxmlformats.org/officeDocument/2006/relationships/theme" Target="../theme/theme2.xml" /><Relationship Id="rId2" Type="http://schemas.openxmlformats.org/officeDocument/2006/relationships/slideLayout" Target="../slideLayouts/slideLayout19.xml" /><Relationship Id="rId3" Type="http://schemas.openxmlformats.org/officeDocument/2006/relationships/slideLayout" Target="../slideLayouts/slideLayout20.xml" /><Relationship Id="rId4" Type="http://schemas.openxmlformats.org/officeDocument/2006/relationships/slideLayout" Target="../slideLayouts/slideLayout21.xml" /><Relationship Id="rId5" Type="http://schemas.openxmlformats.org/officeDocument/2006/relationships/slideLayout" Target="../slideLayouts/slideLayout22.xml" /><Relationship Id="rId6" Type="http://schemas.openxmlformats.org/officeDocument/2006/relationships/slideLayout" Target="../slideLayouts/slideLayout23.xml" /><Relationship Id="rId7" Type="http://schemas.openxmlformats.org/officeDocument/2006/relationships/slideLayout" Target="../slideLayouts/slideLayout24.xml" /><Relationship Id="rId8" Type="http://schemas.openxmlformats.org/officeDocument/2006/relationships/slideLayout" Target="../slideLayouts/slideLayout25.xml" /><Relationship Id="rId9" Type="http://schemas.openxmlformats.org/officeDocument/2006/relationships/slideLayout" Target="../slideLayouts/slideLayout26.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4" name="KSO_FD"/>
          <p:cNvSpPr>
            <a:spLocks noGrp="1"/>
          </p:cNvSpPr>
          <p:nvPr>
            <p:ph type="dt" sz="half" idx="2"/>
          </p:nvPr>
        </p:nvSpPr>
        <p:spPr>
          <a:xfrm>
            <a:off x="628650" y="4814891"/>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2854A03-91AF-448A-9954-517C0577E5F0}" type="datetimeFigureOut">
              <a:rPr lang="zh-CN" altLang="en-US" smtClean="0"/>
              <a:t/>
            </a:fld>
            <a:endParaRPr lang="zh-CN" altLang="en-US"/>
          </a:p>
        </p:txBody>
      </p:sp>
      <p:sp>
        <p:nvSpPr>
          <p:cNvPr id="5" name="KSO_FT"/>
          <p:cNvSpPr>
            <a:spLocks noGrp="1"/>
          </p:cNvSpPr>
          <p:nvPr>
            <p:ph type="ftr" sz="quarter" idx="3"/>
          </p:nvPr>
        </p:nvSpPr>
        <p:spPr>
          <a:xfrm>
            <a:off x="3028950" y="4814891"/>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KSO_FN"/>
          <p:cNvSpPr>
            <a:spLocks noGrp="1"/>
          </p:cNvSpPr>
          <p:nvPr>
            <p:ph type="sldNum" sz="quarter" idx="4"/>
          </p:nvPr>
        </p:nvSpPr>
        <p:spPr>
          <a:xfrm>
            <a:off x="6457950" y="4814891"/>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EEFC946-6D13-4F8C-9740-992A906A613E}" type="slidenum">
              <a:rPr lang="zh-CN" altLang="en-US" smtClean="0"/>
              <a:t/>
            </a:fld>
            <a:endParaRPr lang="zh-CN" altLang="en-US"/>
          </a:p>
        </p:txBody>
      </p:sp>
      <p:sp>
        <p:nvSpPr>
          <p:cNvPr id="3" name="KSO_BC1"/>
          <p:cNvSpPr>
            <a:spLocks noGrp="1"/>
          </p:cNvSpPr>
          <p:nvPr>
            <p:ph type="body" idx="1"/>
          </p:nvPr>
        </p:nvSpPr>
        <p:spPr>
          <a:xfrm>
            <a:off x="423945" y="740228"/>
            <a:ext cx="8230198" cy="4019897"/>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p:txBody>
      </p:sp>
      <p:sp>
        <p:nvSpPr>
          <p:cNvPr id="2" name="KSO_BT1"/>
          <p:cNvSpPr>
            <a:spLocks noGrp="1"/>
          </p:cNvSpPr>
          <p:nvPr>
            <p:ph type="title"/>
          </p:nvPr>
        </p:nvSpPr>
        <p:spPr>
          <a:xfrm>
            <a:off x="423945" y="1"/>
            <a:ext cx="6754777" cy="467753"/>
          </a:xfrm>
          <a:prstGeom prst="rect">
            <a:avLst/>
          </a:prstGeom>
        </p:spPr>
        <p:txBody>
          <a:bodyPr vert="horz" lIns="91440" tIns="45720" rIns="91440" bIns="45720" rtlCol="0" anchor="ctr">
            <a:normAutofit/>
          </a:bodyPr>
          <a:lstStyle/>
          <a:p>
            <a:r>
              <a:rPr lang="zh-CN" altLang="en-US"/>
              <a:t>单击此处编辑母版标题样式</a:t>
            </a:r>
            <a:endParaRPr lang="en-US"/>
          </a:p>
        </p:txBody>
      </p:sp>
      <p:grpSp>
        <p:nvGrpSpPr>
          <p:cNvPr id="24" name="组合 23"/>
          <p:cNvGrpSpPr/>
          <p:nvPr/>
        </p:nvGrpSpPr>
        <p:grpSpPr>
          <a:xfrm>
            <a:off x="0" y="5110844"/>
            <a:ext cx="9144000" cy="36912"/>
            <a:chExt cx="12192000" cy="518983"/>
          </a:xfrm>
        </p:grpSpPr>
        <p:sp>
          <p:nvSpPr>
            <p:cNvPr id="25" name="矩形 24"/>
            <p:cNvSpPr/>
            <p:nvPr/>
          </p:nvSpPr>
          <p:spPr>
            <a:xfrm>
              <a:off x="0" y="0"/>
              <a:ext cx="2497541" cy="518615"/>
            </a:xfrm>
            <a:prstGeom prst="rect">
              <a:avLst/>
            </a:prstGeom>
            <a:solidFill>
              <a:srgbClr val="66C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6" name="矩形 25"/>
            <p:cNvSpPr/>
            <p:nvPr/>
          </p:nvSpPr>
          <p:spPr>
            <a:xfrm>
              <a:off x="2620371" y="368"/>
              <a:ext cx="9571629" cy="518615"/>
            </a:xfrm>
            <a:prstGeom prst="rect">
              <a:avLst/>
            </a:prstGeom>
            <a:solidFill>
              <a:srgbClr val="EE7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xStyles>
    <p:titleStyle>
      <a:lvl1pPr algn="l" defTabSz="514350" rtl="0" eaLnBrk="1" latinLnBrk="0" hangingPunct="1">
        <a:lnSpc>
          <a:spcPct val="90000"/>
        </a:lnSpc>
        <a:spcBef>
          <a:spcPct val="0"/>
        </a:spcBef>
        <a:buNone/>
        <a:defRPr sz="2400" b="1" i="0" kern="1200" baseline="0">
          <a:solidFill>
            <a:schemeClr val="bg1"/>
          </a:solidFill>
          <a:effectLst/>
          <a:latin typeface="+mj-ea"/>
          <a:ea typeface="+mj-ea"/>
          <a:cs typeface="+mj-cs"/>
        </a:defRPr>
      </a:lvl1pPr>
    </p:titleStyle>
    <p:bodyStyle>
      <a:lvl1pPr marL="271780" indent="-271780" algn="just" defTabSz="514350" rtl="0" eaLnBrk="1" latinLnBrk="0" hangingPunct="1">
        <a:lnSpc>
          <a:spcPct val="110000"/>
        </a:lnSpc>
        <a:spcBef>
          <a:spcPts val="900"/>
        </a:spcBef>
        <a:spcAft>
          <a:spcPct val="0"/>
        </a:spcAft>
        <a:buClr>
          <a:schemeClr val="accent1"/>
        </a:buClr>
        <a:buSzPct val="60000"/>
        <a:buFont typeface="Wingdings 2" panose="05020102010507070707" pitchFamily="18" charset="2"/>
        <a:buChar char="³"/>
        <a:defRPr lang="zh-CN" altLang="en-US" sz="2100" kern="1200" baseline="0" smtClean="0">
          <a:solidFill>
            <a:schemeClr val="accent1"/>
          </a:solidFill>
          <a:latin typeface="+mn-ea"/>
          <a:ea typeface="+mn-ea"/>
          <a:cs typeface="+mn-cs"/>
        </a:defRPr>
      </a:lvl1pPr>
      <a:lvl2pPr marL="271780" indent="-271780" algn="just" defTabSz="514350" rtl="0" eaLnBrk="1" latinLnBrk="0" hangingPunct="1">
        <a:lnSpc>
          <a:spcPct val="120000"/>
        </a:lnSpc>
        <a:spcBef>
          <a:spcPct val="0"/>
        </a:spcBef>
        <a:spcAft>
          <a:spcPts val="900"/>
        </a:spcAft>
        <a:buClr>
          <a:schemeClr val="accent2">
            <a:lumMod val="60000"/>
            <a:lumOff val="40000"/>
          </a:schemeClr>
        </a:buClr>
        <a:buFont typeface="幼圆" panose="02010509060101010101" pitchFamily="49" charset="-122"/>
        <a:buChar char=" "/>
        <a:defRPr sz="1350" kern="1200" baseline="0">
          <a:solidFill>
            <a:schemeClr val="tx1"/>
          </a:solidFill>
          <a:latin typeface="+mn-ea"/>
          <a:ea typeface="+mn-ea"/>
          <a:cs typeface="+mn-cs"/>
        </a:defRPr>
      </a:lvl2pPr>
      <a:lvl3pPr marL="643255" indent="-128905" algn="l" defTabSz="514350" rtl="0" eaLnBrk="1" latinLnBrk="0" hangingPunct="1">
        <a:lnSpc>
          <a:spcPct val="90000"/>
        </a:lnSpc>
        <a:spcBef>
          <a:spcPts val="280"/>
        </a:spcBef>
        <a:buFont typeface="Arial" panose="020b0604020202020204" pitchFamily="34" charset="0"/>
        <a:buChar char="•"/>
        <a:defRPr sz="1125" kern="1200">
          <a:solidFill>
            <a:schemeClr val="tx1"/>
          </a:solidFill>
          <a:latin typeface="+mn-lt"/>
          <a:ea typeface="+mn-ea"/>
          <a:cs typeface="+mn-cs"/>
        </a:defRPr>
      </a:lvl3pPr>
      <a:lvl4pPr marL="900430" indent="-128905" algn="l" defTabSz="514350" rtl="0" eaLnBrk="1" latinLnBrk="0" hangingPunct="1">
        <a:lnSpc>
          <a:spcPct val="90000"/>
        </a:lnSpc>
        <a:spcBef>
          <a:spcPts val="280"/>
        </a:spcBef>
        <a:buFont typeface="Arial" panose="020b0604020202020204" pitchFamily="34" charset="0"/>
        <a:buChar char="•"/>
        <a:defRPr sz="1015" kern="1200">
          <a:solidFill>
            <a:schemeClr val="tx1"/>
          </a:solidFill>
          <a:latin typeface="+mn-lt"/>
          <a:ea typeface="+mn-ea"/>
          <a:cs typeface="+mn-cs"/>
        </a:defRPr>
      </a:lvl4pPr>
      <a:lvl5pPr marL="1157605" indent="-128905" algn="l" defTabSz="514350" rtl="0" eaLnBrk="1" latinLnBrk="0" hangingPunct="1">
        <a:lnSpc>
          <a:spcPct val="90000"/>
        </a:lnSpc>
        <a:spcBef>
          <a:spcPts val="280"/>
        </a:spcBef>
        <a:buFont typeface="Arial" panose="020b0604020202020204" pitchFamily="34" charset="0"/>
        <a:buChar char="•"/>
        <a:defRPr sz="1015" kern="1200">
          <a:solidFill>
            <a:schemeClr val="tx1"/>
          </a:solidFill>
          <a:latin typeface="+mn-lt"/>
          <a:ea typeface="+mn-ea"/>
          <a:cs typeface="+mn-cs"/>
        </a:defRPr>
      </a:lvl5pPr>
      <a:lvl6pPr marL="1414780" indent="-128905" algn="l" defTabSz="514350" rtl="0" eaLnBrk="1" latinLnBrk="0" hangingPunct="1">
        <a:lnSpc>
          <a:spcPct val="90000"/>
        </a:lnSpc>
        <a:spcBef>
          <a:spcPts val="280"/>
        </a:spcBef>
        <a:buFont typeface="Arial" panose="020b0604020202020204" pitchFamily="34" charset="0"/>
        <a:buChar char="•"/>
        <a:defRPr sz="1015" kern="1200">
          <a:solidFill>
            <a:schemeClr val="tx1"/>
          </a:solidFill>
          <a:latin typeface="+mn-lt"/>
          <a:ea typeface="+mn-ea"/>
          <a:cs typeface="+mn-cs"/>
        </a:defRPr>
      </a:lvl6pPr>
      <a:lvl7pPr marL="1671955" indent="-128905" algn="l" defTabSz="514350" rtl="0" eaLnBrk="1" latinLnBrk="0" hangingPunct="1">
        <a:lnSpc>
          <a:spcPct val="90000"/>
        </a:lnSpc>
        <a:spcBef>
          <a:spcPts val="280"/>
        </a:spcBef>
        <a:buFont typeface="Arial" panose="020b0604020202020204" pitchFamily="34" charset="0"/>
        <a:buChar char="•"/>
        <a:defRPr sz="1015" kern="1200">
          <a:solidFill>
            <a:schemeClr val="tx1"/>
          </a:solidFill>
          <a:latin typeface="+mn-lt"/>
          <a:ea typeface="+mn-ea"/>
          <a:cs typeface="+mn-cs"/>
        </a:defRPr>
      </a:lvl7pPr>
      <a:lvl8pPr marL="1929130" indent="-128905" algn="l" defTabSz="514350" rtl="0" eaLnBrk="1" latinLnBrk="0" hangingPunct="1">
        <a:lnSpc>
          <a:spcPct val="90000"/>
        </a:lnSpc>
        <a:spcBef>
          <a:spcPts val="280"/>
        </a:spcBef>
        <a:buFont typeface="Arial" panose="020b0604020202020204" pitchFamily="34" charset="0"/>
        <a:buChar char="•"/>
        <a:defRPr sz="1015" kern="1200">
          <a:solidFill>
            <a:schemeClr val="tx1"/>
          </a:solidFill>
          <a:latin typeface="+mn-lt"/>
          <a:ea typeface="+mn-ea"/>
          <a:cs typeface="+mn-cs"/>
        </a:defRPr>
      </a:lvl8pPr>
      <a:lvl9pPr marL="2186305" indent="-128905" algn="l" defTabSz="514350" rtl="0" eaLnBrk="1" latinLnBrk="0" hangingPunct="1">
        <a:lnSpc>
          <a:spcPct val="90000"/>
        </a:lnSpc>
        <a:spcBef>
          <a:spcPts val="280"/>
        </a:spcBef>
        <a:buFont typeface="Arial" panose="020b0604020202020204" pitchFamily="34" charset="0"/>
        <a:buChar char="•"/>
        <a:defRPr sz="1015" kern="1200">
          <a:solidFill>
            <a:schemeClr val="tx1"/>
          </a:solidFill>
          <a:latin typeface="+mn-lt"/>
          <a:ea typeface="+mn-ea"/>
          <a:cs typeface="+mn-cs"/>
        </a:defRPr>
      </a:lvl9pPr>
    </p:bodyStyle>
    <p:otherStyle>
      <a:defPPr>
        <a:defRPr lang="en-US"/>
      </a:defPPr>
      <a:lvl1pPr marL="0" algn="l" defTabSz="514350" rtl="0" eaLnBrk="1" latinLnBrk="0" hangingPunct="1">
        <a:defRPr sz="1015" kern="1200">
          <a:solidFill>
            <a:schemeClr val="tx1"/>
          </a:solidFill>
          <a:latin typeface="+mn-lt"/>
          <a:ea typeface="+mn-ea"/>
          <a:cs typeface="+mn-cs"/>
        </a:defRPr>
      </a:lvl1pPr>
      <a:lvl2pPr marL="257175" algn="l" defTabSz="514350" rtl="0" eaLnBrk="1" latinLnBrk="0" hangingPunct="1">
        <a:defRPr sz="1015" kern="1200">
          <a:solidFill>
            <a:schemeClr val="tx1"/>
          </a:solidFill>
          <a:latin typeface="+mn-lt"/>
          <a:ea typeface="+mn-ea"/>
          <a:cs typeface="+mn-cs"/>
        </a:defRPr>
      </a:lvl2pPr>
      <a:lvl3pPr marL="514350" algn="l" defTabSz="514350" rtl="0" eaLnBrk="1" latinLnBrk="0" hangingPunct="1">
        <a:defRPr sz="1015" kern="1200">
          <a:solidFill>
            <a:schemeClr val="tx1"/>
          </a:solidFill>
          <a:latin typeface="+mn-lt"/>
          <a:ea typeface="+mn-ea"/>
          <a:cs typeface="+mn-cs"/>
        </a:defRPr>
      </a:lvl3pPr>
      <a:lvl4pPr marL="771525" algn="l" defTabSz="514350" rtl="0" eaLnBrk="1" latinLnBrk="0" hangingPunct="1">
        <a:defRPr sz="1015" kern="1200">
          <a:solidFill>
            <a:schemeClr val="tx1"/>
          </a:solidFill>
          <a:latin typeface="+mn-lt"/>
          <a:ea typeface="+mn-ea"/>
          <a:cs typeface="+mn-cs"/>
        </a:defRPr>
      </a:lvl4pPr>
      <a:lvl5pPr marL="1028700" algn="l" defTabSz="514350" rtl="0" eaLnBrk="1" latinLnBrk="0" hangingPunct="1">
        <a:defRPr sz="1015" kern="1200">
          <a:solidFill>
            <a:schemeClr val="tx1"/>
          </a:solidFill>
          <a:latin typeface="+mn-lt"/>
          <a:ea typeface="+mn-ea"/>
          <a:cs typeface="+mn-cs"/>
        </a:defRPr>
      </a:lvl5pPr>
      <a:lvl6pPr marL="1285875" algn="l" defTabSz="514350" rtl="0" eaLnBrk="1" latinLnBrk="0" hangingPunct="1">
        <a:defRPr sz="1015" kern="1200">
          <a:solidFill>
            <a:schemeClr val="tx1"/>
          </a:solidFill>
          <a:latin typeface="+mn-lt"/>
          <a:ea typeface="+mn-ea"/>
          <a:cs typeface="+mn-cs"/>
        </a:defRPr>
      </a:lvl6pPr>
      <a:lvl7pPr marL="1543050" algn="l" defTabSz="514350" rtl="0" eaLnBrk="1" latinLnBrk="0" hangingPunct="1">
        <a:defRPr sz="1015" kern="1200">
          <a:solidFill>
            <a:schemeClr val="tx1"/>
          </a:solidFill>
          <a:latin typeface="+mn-lt"/>
          <a:ea typeface="+mn-ea"/>
          <a:cs typeface="+mn-cs"/>
        </a:defRPr>
      </a:lvl7pPr>
      <a:lvl8pPr marL="1800225" algn="l" defTabSz="514350" rtl="0" eaLnBrk="1" latinLnBrk="0" hangingPunct="1">
        <a:defRPr sz="1015" kern="1200">
          <a:solidFill>
            <a:schemeClr val="tx1"/>
          </a:solidFill>
          <a:latin typeface="+mn-lt"/>
          <a:ea typeface="+mn-ea"/>
          <a:cs typeface="+mn-cs"/>
        </a:defRPr>
      </a:lvl8pPr>
      <a:lvl9pPr marL="2057400" algn="l" defTabSz="514350" rtl="0" eaLnBrk="1" latinLnBrk="0" hangingPunct="1">
        <a:defRPr sz="101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Pr>
        <a:solidFill>
          <a:schemeClr val="bg2"/>
        </a:solidFill>
        <a:effectLst/>
      </p:bgPr>
    </p:bg>
    <p:spTree>
      <p:nvGrpSpPr>
        <p:cNvPr id="1" name=""/>
        <p:cNvGrpSpPr/>
        <p:nvPr/>
      </p:nvGrpSpPr>
      <p:grpSpPr>
        <a:xfrm>
          <a:off x="0" y="0"/>
          <a:ext cx="0" cy="0"/>
        </a:xfrm>
      </p:grpSpPr>
      <p:sp>
        <p:nvSpPr>
          <p:cNvPr id="4" name="日期占位符 3"/>
          <p:cNvSpPr>
            <a:spLocks noGrp="1"/>
          </p:cNvSpPr>
          <p:nvPr>
            <p:ph type="dt" sz="half" idx="2"/>
            <p:custDataLst>
              <p:tags r:id="rId12"/>
            </p:custDataLst>
          </p:nvPr>
        </p:nvSpPr>
        <p:spPr>
          <a:xfrm>
            <a:off x="459000" y="4735800"/>
            <a:ext cx="2025000" cy="237600"/>
          </a:xfrm>
          <a:prstGeom prst="rect">
            <a:avLst/>
          </a:prstGeom>
        </p:spPr>
        <p:txBody>
          <a:bodyPr vert="horz" lIns="91440" tIns="45720" rIns="91440" bIns="45720" rtlCol="0" anchor="ctr">
            <a:normAutofit/>
          </a:bodyPr>
          <a:lstStyle>
            <a:defPPr>
              <a:defRPr lang="zh-CN"/>
            </a:defPPr>
            <a:lvl1pPr marL="0" algn="l" defTabSz="685800" rtl="0" eaLnBrk="1" latinLnBrk="0" hangingPunct="1">
              <a:defRPr sz="750" kern="1200" baseline="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3"/>
            <p:custDataLst>
              <p:tags r:id="rId13"/>
            </p:custDataLst>
          </p:nvPr>
        </p:nvSpPr>
        <p:spPr>
          <a:xfrm>
            <a:off x="3087000" y="4735800"/>
            <a:ext cx="2970000" cy="237600"/>
          </a:xfrm>
          <a:prstGeom prst="rect">
            <a:avLst/>
          </a:prstGeom>
        </p:spPr>
        <p:txBody>
          <a:bodyPr vert="horz" lIns="91440" tIns="45720" rIns="91440" bIns="45720" rtlCol="0" anchor="ctr">
            <a:normAutofit/>
          </a:bodyPr>
          <a:lstStyle>
            <a:defPPr>
              <a:defRPr lang="zh-CN"/>
            </a:defPPr>
            <a:lvl1pPr marL="0" algn="ctr" defTabSz="685800" rtl="0" eaLnBrk="1" latinLnBrk="0" hangingPunct="1">
              <a:defRPr sz="750" kern="1200" baseline="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6" name="灯片编号占位符 5"/>
          <p:cNvSpPr>
            <a:spLocks noGrp="1"/>
          </p:cNvSpPr>
          <p:nvPr>
            <p:ph type="sldNum" sz="quarter" idx="4"/>
            <p:custDataLst>
              <p:tags r:id="rId14"/>
            </p:custDataLst>
          </p:nvPr>
        </p:nvSpPr>
        <p:spPr>
          <a:xfrm>
            <a:off x="6658200" y="4735800"/>
            <a:ext cx="2025000" cy="237600"/>
          </a:xfrm>
          <a:prstGeom prst="rect">
            <a:avLst/>
          </a:prstGeom>
        </p:spPr>
        <p:txBody>
          <a:bodyPr vert="horz" lIns="91440" tIns="45720" rIns="91440" bIns="45720" rtlCol="0" anchor="ctr">
            <a:normAutofit/>
          </a:bodyPr>
          <a:lstStyle>
            <a:defPPr>
              <a:defRPr lang="zh-CN"/>
            </a:defPPr>
            <a:lvl1pPr marL="0" algn="r" defTabSz="685800" rtl="0" eaLnBrk="1" latinLnBrk="0" hangingPunct="1">
              <a:defRPr sz="750" kern="1200" baseline="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9AE70B2-8BF9-45C0-BB95-33D1B9D3A854}" type="slidenum">
              <a:rPr lang="zh-CN" altLang="en-US" smtClean="0"/>
              <a:t>0</a:t>
            </a:fld>
            <a:endParaRPr lang="zh-CN" altLang="en-US"/>
          </a:p>
        </p:txBody>
      </p:sp>
      <p:sp>
        <p:nvSpPr>
          <p:cNvPr id="7" name="矩形 6"/>
          <p:cNvSpPr/>
          <p:nvPr userDrawn="1"/>
        </p:nvSpPr>
        <p:spPr>
          <a:xfrm>
            <a:off x="0" y="476"/>
            <a:ext cx="9144952" cy="5142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zh-CN" altLang="en-US"/>
          </a:p>
        </p:txBody>
      </p:sp>
    </p:spTree>
    <p:custDataLst>
      <p:tags r:id="rId15"/>
    </p:custData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transition/>
  <p:timing/>
  <p:txStyles>
    <p:titleStyle>
      <a:lvl1pPr algn="l" defTabSz="685800" rtl="0" eaLnBrk="1" fontAlgn="auto" latinLnBrk="0" hangingPunct="1">
        <a:lnSpc>
          <a:spcPct val="100000"/>
        </a:lnSpc>
        <a:spcBef>
          <a:spcPct val="0"/>
        </a:spcBef>
        <a:buNone/>
        <a:defRPr sz="2700" b="1" u="none" strike="noStrike" kern="1200" cap="none" spc="225" normalizeH="0" baseline="0">
          <a:solidFill>
            <a:schemeClr val="tx1">
              <a:lumMod val="85000"/>
              <a:lumOff val="15000"/>
            </a:schemeClr>
          </a:solidFill>
          <a:uFillTx/>
          <a:latin typeface="+mj-lt"/>
          <a:ea typeface="+mj-ea"/>
          <a:cs typeface="+mj-cs"/>
        </a:defRPr>
      </a:lvl1pPr>
    </p:titleStyle>
    <p:bodyStyle>
      <a:lvl1pPr marL="171450" indent="-171450" algn="l" defTabSz="685800" rtl="0" eaLnBrk="1" fontAlgn="auto" latinLnBrk="0" hangingPunct="1">
        <a:lnSpc>
          <a:spcPct val="130000"/>
        </a:lnSpc>
        <a:spcBef>
          <a:spcPct val="0"/>
        </a:spcBef>
        <a:spcAft>
          <a:spcPts val="750"/>
        </a:spcAft>
        <a:buFont typeface="Arial" panose="020b0604020202020204" pitchFamily="34" charset="0"/>
        <a:buChar char="●"/>
        <a:defRPr sz="1350" u="none" strike="noStrike" kern="1200" cap="none" spc="112" normalizeH="0" baseline="0">
          <a:solidFill>
            <a:schemeClr val="tx1">
              <a:lumMod val="65000"/>
              <a:lumOff val="35000"/>
            </a:schemeClr>
          </a:solidFill>
          <a:uFillTx/>
          <a:latin typeface="+mn-lt"/>
          <a:ea typeface="+mn-ea"/>
          <a:cs typeface="+mn-cs"/>
        </a:defRPr>
      </a:lvl1pPr>
      <a:lvl2pPr marL="514350" indent="-171450" algn="l" defTabSz="685800" rtl="0" eaLnBrk="1" fontAlgn="auto" latinLnBrk="0" hangingPunct="1">
        <a:lnSpc>
          <a:spcPct val="120000"/>
        </a:lnSpc>
        <a:spcBef>
          <a:spcPct val="0"/>
        </a:spcBef>
        <a:spcAft>
          <a:spcPts val="450"/>
        </a:spcAft>
        <a:buFont typeface="Arial" panose="020b0604020202020204" pitchFamily="34" charset="0"/>
        <a:buChar char="●"/>
        <a:tabLst>
          <a:tab pos="1207294"/>
        </a:tabLst>
        <a:defRPr sz="1200" u="none" strike="noStrike" kern="1200" cap="none" spc="112" normalizeH="0" baseline="0">
          <a:solidFill>
            <a:schemeClr val="tx1">
              <a:lumMod val="65000"/>
              <a:lumOff val="35000"/>
            </a:schemeClr>
          </a:solidFill>
          <a:uFillTx/>
          <a:latin typeface="+mn-lt"/>
          <a:ea typeface="+mn-ea"/>
          <a:cs typeface="+mn-cs"/>
        </a:defRPr>
      </a:lvl2pPr>
      <a:lvl3pPr marL="857250" indent="-171450" algn="l" defTabSz="685800" rtl="0" eaLnBrk="1" fontAlgn="auto" latinLnBrk="0" hangingPunct="1">
        <a:lnSpc>
          <a:spcPct val="120000"/>
        </a:lnSpc>
        <a:spcBef>
          <a:spcPct val="0"/>
        </a:spcBef>
        <a:spcAft>
          <a:spcPts val="450"/>
        </a:spcAft>
        <a:buFont typeface="Arial" panose="020b0604020202020204" pitchFamily="34" charset="0"/>
        <a:buChar char="●"/>
        <a:defRPr sz="1200" u="none" strike="noStrike" kern="1200" cap="none" spc="112" normalizeH="0" baseline="0">
          <a:solidFill>
            <a:schemeClr val="tx1">
              <a:lumMod val="65000"/>
              <a:lumOff val="35000"/>
            </a:schemeClr>
          </a:solidFill>
          <a:uFillTx/>
          <a:latin typeface="+mn-lt"/>
          <a:ea typeface="+mn-ea"/>
          <a:cs typeface="+mn-cs"/>
        </a:defRPr>
      </a:lvl3pPr>
      <a:lvl4pPr marL="1200150" indent="-171450" algn="l" defTabSz="685800" rtl="0" eaLnBrk="1" fontAlgn="auto" latinLnBrk="0" hangingPunct="1">
        <a:lnSpc>
          <a:spcPct val="120000"/>
        </a:lnSpc>
        <a:spcBef>
          <a:spcPct val="0"/>
        </a:spcBef>
        <a:spcAft>
          <a:spcPts val="225"/>
        </a:spcAft>
        <a:buFont typeface="Wingdings" panose="05000000000000000000" charset="0"/>
        <a:buChar char=""/>
        <a:defRPr sz="1050" u="none" strike="noStrike" kern="1200" cap="none" spc="112" normalizeH="0" baseline="0">
          <a:solidFill>
            <a:schemeClr val="tx1">
              <a:lumMod val="65000"/>
              <a:lumOff val="35000"/>
            </a:schemeClr>
          </a:solidFill>
          <a:uFillTx/>
          <a:latin typeface="+mn-lt"/>
          <a:ea typeface="+mn-ea"/>
          <a:cs typeface="+mn-cs"/>
        </a:defRPr>
      </a:lvl4pPr>
      <a:lvl5pPr marL="1543050" indent="-171450" algn="l" defTabSz="685800" rtl="0" eaLnBrk="1" fontAlgn="auto" latinLnBrk="0" hangingPunct="1">
        <a:lnSpc>
          <a:spcPct val="120000"/>
        </a:lnSpc>
        <a:spcBef>
          <a:spcPct val="0"/>
        </a:spcBef>
        <a:spcAft>
          <a:spcPts val="225"/>
        </a:spcAft>
        <a:buFont typeface="Arial" panose="020b0604020202020204" pitchFamily="34" charset="0"/>
        <a:buChar char="•"/>
        <a:defRPr sz="1050" u="none" strike="noStrike" kern="1200" cap="none" spc="112" normalizeH="0" baseline="0">
          <a:solidFill>
            <a:schemeClr val="tx1">
              <a:lumMod val="65000"/>
              <a:lumOff val="35000"/>
            </a:schemeClr>
          </a:solidFill>
          <a:uFillTx/>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xml" /><Relationship Id="rId3" Type="http://schemas.openxmlformats.org/officeDocument/2006/relationships/image" Target="../media/image4.png" /><Relationship Id="rId4" Type="http://schemas.microsoft.com/office/2007/relationships/media" Target="../media/media1.mp3" /><Relationship Id="rId5" Type="http://schemas.microsoft.com/office/2007/relationships/media" Target="../media/media1.mp3" TargetMode="Internal" /><Relationship Id="rId6" Type="http://schemas.openxmlformats.org/officeDocument/2006/relationships/image" Target="../media/image5.emf" /><Relationship Id="rId7" Type="http://schemas.openxmlformats.org/officeDocument/2006/relationships/image" Target="../media/image6.emf" /><Relationship Id="rId8" Type="http://schemas.openxmlformats.org/officeDocument/2006/relationships/tags" Target="../tags/tag61.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10.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11.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12.xml" /><Relationship Id="rId3" Type="http://schemas.openxmlformats.org/officeDocument/2006/relationships/image" Target="../media/image12.jpeg" /><Relationship Id="rId4" Type="http://schemas.openxmlformats.org/officeDocument/2006/relationships/image" Target="../media/image13.jpeg" /><Relationship Id="rId5" Type="http://schemas.openxmlformats.org/officeDocument/2006/relationships/image" Target="../media/image14.jpeg" /><Relationship Id="rId6" Type="http://schemas.openxmlformats.org/officeDocument/2006/relationships/image" Target="../media/image15.png" /><Relationship Id="rId7" Type="http://schemas.openxmlformats.org/officeDocument/2006/relationships/image" Target="../media/image16.png" /><Relationship Id="rId8" Type="http://schemas.openxmlformats.org/officeDocument/2006/relationships/image" Target="../media/image17.png" /><Relationship Id="rId9" Type="http://schemas.openxmlformats.org/officeDocument/2006/relationships/image" Target="../media/image18.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3.xml" /><Relationship Id="rId3" Type="http://schemas.openxmlformats.org/officeDocument/2006/relationships/tags" Target="../tags/tag64.xml" /><Relationship Id="rId4" Type="http://schemas.openxmlformats.org/officeDocument/2006/relationships/image" Target="../media/image5.emf"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14.xml"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15.xml" /><Relationship Id="rId3" Type="http://schemas.openxmlformats.org/officeDocument/2006/relationships/image" Target="../media/image19.jpeg" /><Relationship Id="rId4" Type="http://schemas.openxmlformats.org/officeDocument/2006/relationships/image" Target="../media/image20.jpeg" /><Relationship Id="rId5" Type="http://schemas.openxmlformats.org/officeDocument/2006/relationships/image" Target="../media/image21.jpeg" /><Relationship Id="rId6" Type="http://schemas.openxmlformats.org/officeDocument/2006/relationships/image" Target="../media/image22.jpe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16.xml"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17.xml"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18.xml" /><Relationship Id="rId3" Type="http://schemas.openxmlformats.org/officeDocument/2006/relationships/image" Target="../media/image23.jpe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19.xml" /><Relationship Id="rId3" Type="http://schemas.openxmlformats.org/officeDocument/2006/relationships/tags" Target="../tags/tag65.xml" /><Relationship Id="rId4" Type="http://schemas.openxmlformats.org/officeDocument/2006/relationships/image" Target="../media/image5.emf"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2.xml"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20.xml"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21.xml" /><Relationship Id="rId3" Type="http://schemas.openxmlformats.org/officeDocument/2006/relationships/tags" Target="../tags/tag66.xml" /><Relationship Id="rId4" Type="http://schemas.openxmlformats.org/officeDocument/2006/relationships/image" Target="../media/image24.png" /><Relationship Id="rId5" Type="http://schemas.openxmlformats.org/officeDocument/2006/relationships/image" Target="../media/image25.png" /><Relationship Id="rId6" Type="http://schemas.openxmlformats.org/officeDocument/2006/relationships/image" Target="../media/image26.png" /><Relationship Id="rId7" Type="http://schemas.microsoft.com/office/2007/relationships/hdphoto" Target="../media/image27.wdp"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22.xml" /><Relationship Id="rId3" Type="http://schemas.openxmlformats.org/officeDocument/2006/relationships/chart" Target="../charts/chart1.xml"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23.xml" /><Relationship Id="rId3" Type="http://schemas.openxmlformats.org/officeDocument/2006/relationships/image" Target="../media/image28.jpeg" /><Relationship Id="rId4" Type="http://schemas.openxmlformats.org/officeDocument/2006/relationships/image" Target="../media/image29.jpeg" /><Relationship Id="rId5" Type="http://schemas.openxmlformats.org/officeDocument/2006/relationships/image" Target="../media/image30.jpe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24.xml" /><Relationship Id="rId3" Type="http://schemas.openxmlformats.org/officeDocument/2006/relationships/image" Target="../media/image5.emf" /><Relationship Id="rId4" Type="http://schemas.openxmlformats.org/officeDocument/2006/relationships/image" Target="../media/image6.emf" /><Relationship Id="rId5" Type="http://schemas.openxmlformats.org/officeDocument/2006/relationships/tags" Target="../tags/tag67.xml"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notesSlide" Target="../notesSlides/notesSlide25.xml" /><Relationship Id="rId3" Type="http://schemas.openxmlformats.org/officeDocument/2006/relationships/hyperlink" Target="https://www.ppthui.com/jingpin/" TargetMode="External" /><Relationship Id="rId4" Type="http://schemas.openxmlformats.org/officeDocument/2006/relationships/hyperlink" Target="https://www.ppthui.com/hangye/" TargetMode="External" /><Relationship Id="rId5" Type="http://schemas.openxmlformats.org/officeDocument/2006/relationships/hyperlink" Target="https://www.ppthui.com/gongzuo/" TargetMode="External" /><Relationship Id="rId6" Type="http://schemas.openxmlformats.org/officeDocument/2006/relationships/hyperlink" Target="https://www.ppthui.com/jieri/" TargetMode="External" /><Relationship Id="rId7" Type="http://schemas.openxmlformats.org/officeDocument/2006/relationships/hyperlink" Target="https://www.ppthui.com/beijing/" TargetMode="External" /><Relationship Id="rId8" Type="http://schemas.openxmlformats.org/officeDocument/2006/relationships/hyperlink" Target="https://www.ppthui.com/kejian/" TargetMode="External" /><Relationship Id="rId9" Type="http://schemas.openxmlformats.org/officeDocument/2006/relationships/image" Target="../media/image31.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24.xml" /><Relationship Id="rId10" Type="http://schemas.openxmlformats.org/officeDocument/2006/relationships/image" Target="../media/image31.png" /><Relationship Id="rId11" Type="http://schemas.openxmlformats.org/officeDocument/2006/relationships/hyperlink" Target="https://www.ppthui.com/jianjie/" TargetMode="External" /><Relationship Id="rId12" Type="http://schemas.openxmlformats.org/officeDocument/2006/relationships/hyperlink" Target="https://www.ppthui.com/shangwu/" TargetMode="External" /><Relationship Id="rId13" Type="http://schemas.openxmlformats.org/officeDocument/2006/relationships/hyperlink" Target="https://www.ppthui.com/fengjing/" TargetMode="External" /><Relationship Id="rId14" Type="http://schemas.openxmlformats.org/officeDocument/2006/relationships/hyperlink" Target="https://www.ppthui.com/shishang/" TargetMode="External" /><Relationship Id="rId15" Type="http://schemas.openxmlformats.org/officeDocument/2006/relationships/hyperlink" Target="https://www.ppthui.com/gudian/" TargetMode="External" /><Relationship Id="rId16" Type="http://schemas.openxmlformats.org/officeDocument/2006/relationships/hyperlink" Target="https://www.ppthui.com/aiqing/" TargetMode="External" /><Relationship Id="rId17" Type="http://schemas.openxmlformats.org/officeDocument/2006/relationships/hyperlink" Target="https://www.ppthui.com/dongman/" TargetMode="External" /><Relationship Id="rId18" Type="http://schemas.openxmlformats.org/officeDocument/2006/relationships/hyperlink" Target="https://www.ppthui.com/sheji/" TargetMode="External" /><Relationship Id="rId19" Type="http://schemas.openxmlformats.org/officeDocument/2006/relationships/hyperlink" Target="https://www.ppthui.com/search/&#20027;&#39064;&#29677;&#20250;.html" TargetMode="External" /><Relationship Id="rId2" Type="http://schemas.openxmlformats.org/officeDocument/2006/relationships/notesSlide" Target="../notesSlides/notesSlide26.xml" /><Relationship Id="rId20" Type="http://schemas.openxmlformats.org/officeDocument/2006/relationships/hyperlink" Target="https://www.ppthui.com/search/&#32972;&#26223;&#22270;&#29255;.html" TargetMode="External" /><Relationship Id="rId21" Type="http://schemas.openxmlformats.org/officeDocument/2006/relationships/hyperlink" Target="https://www.ppthui.com/dangzheng/" TargetMode="External" /><Relationship Id="rId22" Type="http://schemas.openxmlformats.org/officeDocument/2006/relationships/hyperlink" Target="https://www.ppthui.com/keji/" TargetMode="External" /><Relationship Id="rId23" Type="http://schemas.openxmlformats.org/officeDocument/2006/relationships/hyperlink" Target="https://www.ppthui.com/gongye/" TargetMode="External" /><Relationship Id="rId24" Type="http://schemas.openxmlformats.org/officeDocument/2006/relationships/hyperlink" Target="https://www.ppthui.com/yixue/" TargetMode="External" /><Relationship Id="rId25" Type="http://schemas.openxmlformats.org/officeDocument/2006/relationships/hyperlink" Target="https://www.ppthui.com/lvyou/" TargetMode="External" /><Relationship Id="rId26" Type="http://schemas.openxmlformats.org/officeDocument/2006/relationships/hyperlink" Target="https://www.ppthui.com/jinrong/" TargetMode="External" /><Relationship Id="rId27" Type="http://schemas.openxmlformats.org/officeDocument/2006/relationships/hyperlink" Target="https://www.ppthui.com/canyin/" TargetMode="External" /><Relationship Id="rId28" Type="http://schemas.openxmlformats.org/officeDocument/2006/relationships/hyperlink" Target="https://www.ppthui.com/jiaoyu/" TargetMode="External" /><Relationship Id="rId29" Type="http://schemas.openxmlformats.org/officeDocument/2006/relationships/hyperlink" Target="https://www.ppthui.com/search/&#25945;&#23398;&#35828;&#35838;.html" TargetMode="External" /><Relationship Id="rId3" Type="http://schemas.openxmlformats.org/officeDocument/2006/relationships/hyperlink" Target="https://www.ppthui.com" TargetMode="External" /><Relationship Id="rId30" Type="http://schemas.openxmlformats.org/officeDocument/2006/relationships/hyperlink" Target="https://www.ppthui.com/search/&#38144;&#21806;.html" TargetMode="External" /><Relationship Id="rId31" Type="http://schemas.openxmlformats.org/officeDocument/2006/relationships/hyperlink" Target="https://www.ppthui.com/huibao/" TargetMode="External" /><Relationship Id="rId32" Type="http://schemas.openxmlformats.org/officeDocument/2006/relationships/hyperlink" Target="https://www.ppthui.com/biye/" TargetMode="External" /><Relationship Id="rId33" Type="http://schemas.openxmlformats.org/officeDocument/2006/relationships/hyperlink" Target="https://www.ppthui.com/peixun/" TargetMode="External" /><Relationship Id="rId34" Type="http://schemas.openxmlformats.org/officeDocument/2006/relationships/hyperlink" Target="https://www.ppthui.com/shuzhi/" TargetMode="External" /><Relationship Id="rId35" Type="http://schemas.openxmlformats.org/officeDocument/2006/relationships/hyperlink" Target="https://www.ppthui.com/fenxi/" TargetMode="External" /><Relationship Id="rId36" Type="http://schemas.openxmlformats.org/officeDocument/2006/relationships/hyperlink" Target="https://www.ppthui.com/jianli/" TargetMode="External" /><Relationship Id="rId37" Type="http://schemas.openxmlformats.org/officeDocument/2006/relationships/hyperlink" Target="https://www.ppthui.com/gongsi/" TargetMode="External" /><Relationship Id="rId38" Type="http://schemas.openxmlformats.org/officeDocument/2006/relationships/hyperlink" Target="https://www.ppthui.com/search/&#24037;&#20316;&#24635;&#32467;.html" TargetMode="External" /><Relationship Id="rId39" Type="http://schemas.openxmlformats.org/officeDocument/2006/relationships/hyperlink" Target="https://www.ppthui.com/search/&#22242;&#38431;.html" TargetMode="External" /><Relationship Id="rId4" Type="http://schemas.openxmlformats.org/officeDocument/2006/relationships/hyperlink" Target="https://www.ppthui.com/jingpin/" TargetMode="External" /><Relationship Id="rId5" Type="http://schemas.openxmlformats.org/officeDocument/2006/relationships/hyperlink" Target="https://www.ppthui.com/hangye/" TargetMode="External" /><Relationship Id="rId6" Type="http://schemas.openxmlformats.org/officeDocument/2006/relationships/hyperlink" Target="https://www.ppthui.com/gongzuo/" TargetMode="External" /><Relationship Id="rId7" Type="http://schemas.openxmlformats.org/officeDocument/2006/relationships/hyperlink" Target="https://www.ppthui.com/jieri/" TargetMode="External" /><Relationship Id="rId8" Type="http://schemas.openxmlformats.org/officeDocument/2006/relationships/hyperlink" Target="http://www.ppthui.com/dangzheng/" TargetMode="External" /><Relationship Id="rId9" Type="http://schemas.openxmlformats.org/officeDocument/2006/relationships/hyperlink" Target="http://www.ppthui.com/jiaoyu/" TargetMode="Externa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3.xml" /><Relationship Id="rId3" Type="http://schemas.openxmlformats.org/officeDocument/2006/relationships/tags" Target="../tags/tag62.xml" /><Relationship Id="rId4" Type="http://schemas.openxmlformats.org/officeDocument/2006/relationships/image" Target="../media/image5.emf"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4.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5.xml" /><Relationship Id="rId3" Type="http://schemas.openxmlformats.org/officeDocument/2006/relationships/image" Target="../media/image7.emf" /><Relationship Id="rId4" Type="http://schemas.openxmlformats.org/officeDocument/2006/relationships/image" Target="../media/image8.emf" /><Relationship Id="rId5" Type="http://schemas.openxmlformats.org/officeDocument/2006/relationships/image" Target="../media/image9.emf"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6.x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7.xml" /><Relationship Id="rId3" Type="http://schemas.openxmlformats.org/officeDocument/2006/relationships/image" Target="../media/image10.jpeg" /><Relationship Id="rId4" Type="http://schemas.openxmlformats.org/officeDocument/2006/relationships/image" Target="../media/image11.jpe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8.xml" /><Relationship Id="rId3" Type="http://schemas.openxmlformats.org/officeDocument/2006/relationships/tags" Target="../tags/tag63.xml" /><Relationship Id="rId4" Type="http://schemas.openxmlformats.org/officeDocument/2006/relationships/image" Target="../media/image5.emf"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4.xml" /><Relationship Id="rId2" Type="http://schemas.openxmlformats.org/officeDocument/2006/relationships/notesSlide" Target="../notesSlides/notesSlide9.xml"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3" name="致爱丽丝 for elfse">
            <a:hlinkClick action="ppaction://media"/>
          </p:cNvPr>
          <p:cNvPicPr>
            <a:picLocks noChangeAspect="1"/>
          </p:cNvPicPr>
          <p:nvPr>
            <a:audioFile r:link="rId4"/>
            <p:extLst>
              <p:ext uri="{DAA4B4D4-6D71-4841-9C94-3DE7FCFB9230}">
                <p14:media xmlns:p14="http://schemas.microsoft.com/office/powerpoint/2010/main" r:embed="rId5">
                  <p14:fade in="5000.000000" out="5000.000000"/>
                </p14:media>
              </p:ext>
            </p:extLst>
          </p:nvPr>
        </p:nvPicPr>
        <p:blipFill>
          <a:blip r:embed="rId3"/>
          <a:stretch>
            <a:fillRect/>
          </a:stretch>
        </p:blipFill>
        <p:spPr>
          <a:xfrm>
            <a:off x="-486595" y="124233"/>
            <a:ext cx="487212" cy="487212"/>
          </a:xfrm>
          <a:prstGeom prst="rect">
            <a:avLst/>
          </a:prstGeom>
        </p:spPr>
      </p:pic>
      <p:grpSp>
        <p:nvGrpSpPr>
          <p:cNvPr id="25" name="组合 24"/>
          <p:cNvGrpSpPr/>
          <p:nvPr/>
        </p:nvGrpSpPr>
        <p:grpSpPr>
          <a:xfrm>
            <a:off x="0" y="0"/>
            <a:ext cx="9144000" cy="5144783"/>
            <a:chExt cx="12192000" cy="6859710"/>
          </a:xfrm>
        </p:grpSpPr>
        <p:sp>
          <p:nvSpPr>
            <p:cNvPr id="26" name="矩形 25"/>
            <p:cNvSpPr/>
            <p:nvPr/>
          </p:nvSpPr>
          <p:spPr>
            <a:xfrm>
              <a:off x="0" y="0"/>
              <a:ext cx="12192000" cy="4361431"/>
            </a:xfrm>
            <a:prstGeom prst="rect">
              <a:avLst/>
            </a:prstGeom>
            <a:solidFill>
              <a:srgbClr val="66C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7" name="矩形 26"/>
            <p:cNvSpPr/>
            <p:nvPr/>
          </p:nvSpPr>
          <p:spPr>
            <a:xfrm>
              <a:off x="0" y="4348627"/>
              <a:ext cx="12192000" cy="2511083"/>
            </a:xfrm>
            <a:prstGeom prst="rect">
              <a:avLst/>
            </a:prstGeom>
            <a:solidFill>
              <a:srgbClr val="EE7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28" name="图片 27"/>
            <p:cNvPicPr>
              <a:picLocks noChangeAspect="1"/>
            </p:cNvPicPr>
            <p:nvPr/>
          </p:nvPicPr>
          <p:blipFill>
            <a:blip r:embed="rId6"/>
            <a:stretch>
              <a:fillRect/>
            </a:stretch>
          </p:blipFill>
          <p:spPr>
            <a:xfrm>
              <a:off x="5485668" y="223013"/>
              <a:ext cx="6457539" cy="6484862"/>
            </a:xfrm>
            <a:prstGeom prst="rect">
              <a:avLst/>
            </a:prstGeom>
          </p:spPr>
        </p:pic>
      </p:grpSp>
      <p:sp>
        <p:nvSpPr>
          <p:cNvPr id="31" name="KSO_FN"/>
          <p:cNvSpPr>
            <a:spLocks noGrp="1"/>
          </p:cNvSpPr>
          <p:nvPr>
            <p:ph type="sldNum" sz="quarter" idx="12"/>
          </p:nvPr>
        </p:nvSpPr>
        <p:spPr/>
        <p:txBody>
          <a:bodyPr/>
          <a:lstStyle>
            <a:lvl1pPr>
              <a:defRPr>
                <a:solidFill>
                  <a:schemeClr val="bg1"/>
                </a:solidFill>
              </a:defRPr>
            </a:lvl1pPr>
          </a:lstStyle>
          <a:p>
            <a:fld id="{2EEFC946-6D13-4F8C-9740-992A906A613E}" type="slidenum">
              <a:rPr lang="zh-CN" altLang="en-US" smtClean="0"/>
              <a:t>1</a:t>
            </a:fld>
            <a:endParaRPr lang="zh-CN" altLang="en-US"/>
          </a:p>
        </p:txBody>
      </p:sp>
      <p:sp>
        <p:nvSpPr>
          <p:cNvPr id="32" name="KSO_CT2"/>
          <p:cNvSpPr txBox="1"/>
          <p:nvPr/>
        </p:nvSpPr>
        <p:spPr>
          <a:xfrm>
            <a:off x="335743" y="3394792"/>
            <a:ext cx="3678998" cy="443474"/>
          </a:xfrm>
          <a:prstGeom prst="rect">
            <a:avLst/>
          </a:prstGeom>
          <a:noFill/>
        </p:spPr>
        <p:txBody>
          <a:bodyPr>
            <a:noAutofit/>
          </a:bodyPr>
          <a:lstStyle>
            <a:lvl1pPr marL="0" indent="0" algn="l" defTabSz="514350" rtl="0" eaLnBrk="1" latinLnBrk="0" hangingPunct="1">
              <a:lnSpc>
                <a:spcPct val="110000"/>
              </a:lnSpc>
              <a:spcBef>
                <a:spcPts val="900"/>
              </a:spcBef>
              <a:spcAft>
                <a:spcPct val="0"/>
              </a:spcAft>
              <a:buClr>
                <a:schemeClr val="accent1"/>
              </a:buClr>
              <a:buSzPct val="60000"/>
              <a:buFont typeface="Wingdings 2" panose="05020102010507070707" pitchFamily="18" charset="2"/>
              <a:buNone/>
              <a:defRPr lang="zh-CN" altLang="en-US" sz="1800" b="0" kern="1200" baseline="0">
                <a:solidFill>
                  <a:schemeClr val="bg1"/>
                </a:solidFill>
                <a:effectLst/>
                <a:latin typeface="+mn-ea"/>
                <a:ea typeface="+mn-ea"/>
                <a:cs typeface="+mn-cs"/>
              </a:defRPr>
            </a:lvl1pPr>
            <a:lvl2pPr marL="257175" indent="0" algn="ctr" defTabSz="514350" rtl="0" eaLnBrk="1" latinLnBrk="0" hangingPunct="1">
              <a:lnSpc>
                <a:spcPct val="120000"/>
              </a:lnSpc>
              <a:spcBef>
                <a:spcPct val="0"/>
              </a:spcBef>
              <a:spcAft>
                <a:spcPts val="900"/>
              </a:spcAft>
              <a:buClr>
                <a:schemeClr val="accent2">
                  <a:lumMod val="60000"/>
                  <a:lumOff val="40000"/>
                </a:schemeClr>
              </a:buClr>
              <a:buFont typeface="幼圆" panose="02010509060101010101" pitchFamily="49" charset="-122"/>
              <a:buNone/>
              <a:defRPr sz="1125" kern="1200" baseline="0">
                <a:solidFill>
                  <a:schemeClr val="tx1"/>
                </a:solidFill>
                <a:latin typeface="+mn-ea"/>
                <a:ea typeface="+mn-ea"/>
                <a:cs typeface="+mn-cs"/>
              </a:defRPr>
            </a:lvl2pPr>
            <a:lvl3pPr marL="514350" indent="0" algn="ctr" defTabSz="514350" rtl="0" eaLnBrk="1" latinLnBrk="0" hangingPunct="1">
              <a:lnSpc>
                <a:spcPct val="90000"/>
              </a:lnSpc>
              <a:spcBef>
                <a:spcPts val="280"/>
              </a:spcBef>
              <a:buFont typeface="Arial" panose="020b0604020202020204" pitchFamily="34" charset="0"/>
              <a:buNone/>
              <a:defRPr sz="1015" kern="1200">
                <a:solidFill>
                  <a:schemeClr val="tx1"/>
                </a:solidFill>
                <a:latin typeface="+mn-lt"/>
                <a:ea typeface="+mn-ea"/>
                <a:cs typeface="+mn-cs"/>
              </a:defRPr>
            </a:lvl3pPr>
            <a:lvl4pPr marL="771525"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4pPr>
            <a:lvl5pPr marL="1028700"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5pPr>
            <a:lvl6pPr marL="1285875"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6pPr>
            <a:lvl7pPr marL="1543050"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7pPr>
            <a:lvl8pPr marL="1800225"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8pPr>
            <a:lvl9pPr marL="2057400"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9pPr>
          </a:lstStyle>
          <a:p>
            <a:r>
              <a:rPr lang="zh-CN" altLang="en-US"/>
              <a:t>适用于工作总结</a:t>
            </a:r>
            <a:r>
              <a:rPr lang="en-US" altLang="zh-CN"/>
              <a:t>/</a:t>
            </a:r>
            <a:r>
              <a:rPr lang="zh-CN" altLang="en-US"/>
              <a:t>业绩统计</a:t>
            </a:r>
            <a:endParaRPr lang="zh-CN" altLang="en-US"/>
          </a:p>
        </p:txBody>
      </p:sp>
      <p:sp>
        <p:nvSpPr>
          <p:cNvPr id="33" name="KSO_CT1"/>
          <p:cNvSpPr txBox="1"/>
          <p:nvPr/>
        </p:nvSpPr>
        <p:spPr>
          <a:xfrm>
            <a:off x="326572" y="2152914"/>
            <a:ext cx="4752958" cy="1001194"/>
          </a:xfrm>
          <a:prstGeom prst="rect">
            <a:avLst/>
          </a:prstGeom>
        </p:spPr>
        <p:txBody>
          <a:bodyPr anchor="b">
            <a:noAutofit/>
          </a:bodyPr>
          <a:lstStyle>
            <a:lvl1pPr algn="l" defTabSz="514350" rtl="0" eaLnBrk="1" latinLnBrk="0" hangingPunct="1">
              <a:lnSpc>
                <a:spcPct val="100000"/>
              </a:lnSpc>
              <a:spcBef>
                <a:spcPct val="0"/>
              </a:spcBef>
              <a:buNone/>
              <a:defRPr sz="2700" b="1" i="0" kern="1000" baseline="0">
                <a:solidFill>
                  <a:schemeClr val="bg1"/>
                </a:solidFill>
                <a:effectLst/>
                <a:latin typeface="+mj-ea"/>
                <a:ea typeface="+mj-ea"/>
                <a:cs typeface="+mj-cs"/>
              </a:defRPr>
            </a:lvl1pPr>
          </a:lstStyle>
          <a:p>
            <a:r>
              <a:rPr lang="zh-CN" altLang="en-US" sz="3200"/>
              <a:t>淘宝天猫购物狂欢节</a:t>
            </a:r>
            <a:endParaRPr lang="zh-CN" altLang="en-US" sz="3200"/>
          </a:p>
        </p:txBody>
      </p:sp>
      <p:pic>
        <p:nvPicPr>
          <p:cNvPr id="34" name="图片 33"/>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auto">
          <a:xfrm>
            <a:off x="432197" y="324190"/>
            <a:ext cx="1773827" cy="666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PA_文本框 454"/>
          <p:cNvSpPr txBox="1"/>
          <p:nvPr>
            <p:custDataLst>
              <p:tags r:id="rId8"/>
            </p:custDataLst>
          </p:nvPr>
        </p:nvSpPr>
        <p:spPr>
          <a:xfrm>
            <a:off x="304068" y="1711749"/>
            <a:ext cx="2225843" cy="1014730"/>
          </a:xfrm>
          <a:prstGeom prst="rect">
            <a:avLst/>
          </a:prstGeom>
          <a:noFill/>
        </p:spPr>
        <p:txBody>
          <a:bodyPr wrap="square" rtlCol="0">
            <a:spAutoFit/>
          </a:bodyPr>
          <a:lstStyle/>
          <a:p>
            <a:pPr algn="ctr" defTabSz="685800">
              <a:defRPr/>
            </a:pPr>
            <a:r>
              <a:rPr lang="en-US" altLang="zh-CN" sz="6000" b="1">
                <a:solidFill>
                  <a:schemeClr val="bg1"/>
                </a:solidFill>
                <a:latin typeface="造字工房悦黑演示版常规体" pitchFamily="50" charset="-122"/>
                <a:ea typeface="造字工房悦黑演示版常规体" pitchFamily="50" charset="-122"/>
                <a:cs typeface="+mn-ea"/>
                <a:sym typeface="+mn-lt"/>
              </a:rPr>
              <a:t>202X</a:t>
            </a:r>
            <a:endParaRPr lang="zh-CN" altLang="en-US" sz="5400" b="1">
              <a:solidFill>
                <a:schemeClr val="bg1"/>
              </a:solidFill>
              <a:latin typeface="造字工房悦黑演示版常规体" pitchFamily="50" charset="-122"/>
              <a:ea typeface="造字工房悦黑演示版常规体" pitchFamily="50" charset="-122"/>
              <a:cs typeface="+mn-ea"/>
              <a:sym typeface="+mn-lt"/>
            </a:endParaRPr>
          </a:p>
        </p:txBody>
      </p:sp>
      <p:sp>
        <p:nvSpPr>
          <p:cNvPr id="2" name="矩形 1"/>
          <p:cNvSpPr/>
          <p:nvPr/>
        </p:nvSpPr>
        <p:spPr>
          <a:xfrm>
            <a:off x="343116" y="3830625"/>
            <a:ext cx="4798907" cy="368300"/>
          </a:xfrm>
          <a:prstGeom prst="rect">
            <a:avLst/>
          </a:prstGeom>
        </p:spPr>
        <p:txBody>
          <a:bodyPr wrap="square">
            <a:spAutoFit/>
          </a:bodyPr>
          <a:lstStyle/>
          <a:p>
            <a:r>
              <a:rPr lang="zh-CN" altLang="en-US" sz="1800">
                <a:solidFill>
                  <a:schemeClr val="bg1"/>
                </a:solidFill>
              </a:rPr>
              <a:t>汇报人：</a:t>
            </a:r>
            <a:r>
              <a:rPr lang="en-US" altLang="zh-CN" sz="1800">
                <a:solidFill>
                  <a:schemeClr val="bg1"/>
                </a:solidFill>
              </a:rPr>
              <a:t>PPT</a:t>
            </a:r>
            <a:r>
              <a:rPr lang="zh-CN" altLang="en-US" sz="1800">
                <a:solidFill>
                  <a:schemeClr val="bg1"/>
                </a:solidFill>
              </a:rPr>
              <a:t>汇</a:t>
            </a:r>
            <a:r>
              <a:rPr lang="en-US" altLang="zh-CN" sz="1800">
                <a:solidFill>
                  <a:schemeClr val="bg1"/>
                </a:solidFill>
              </a:rPr>
              <a:t>    </a:t>
            </a:r>
            <a:r>
              <a:rPr lang="zh-CN" altLang="en-US" sz="1800">
                <a:solidFill>
                  <a:schemeClr val="bg1"/>
                </a:solidFill>
              </a:rPr>
              <a:t>汇报时间：xx年xx月</a:t>
            </a:r>
            <a:endParaRPr lang="zh-CN" altLang="en-US" sz="1800">
              <a:solidFill>
                <a:schemeClr val="bg1"/>
              </a:solidFill>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8" fill="hold" nodeType="clickPar">
                      <p:stCondLst>
                        <p:cond delay="indefinite"/>
                        <p:cond evt="onBegin" delay="0">
                          <p:tn val="7"/>
                        </p:cond>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randombar(horizontal)">
                                      <p:cBhvr>
                                        <p:cTn id="12" dur="500"/>
                                        <p:tgtEl>
                                          <p:spTgt spid="25"/>
                                        </p:tgtEl>
                                      </p:cBhvr>
                                    </p:animEffect>
                                  </p:childTnLst>
                                </p:cTn>
                              </p:par>
                            </p:childTnLst>
                          </p:cTn>
                        </p:par>
                      </p:childTnLst>
                    </p:cTn>
                  </p:par>
                  <p:par>
                    <p:cTn id="13" fill="hold" nodeType="clickPar">
                      <p:stCondLst>
                        <p:cond delay="indefinite"/>
                        <p:cond evt="onBegin" delay="0">
                          <p:tn val="12"/>
                        </p:cond>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500" fill="hold"/>
                                        <p:tgtEl>
                                          <p:spTgt spid="34"/>
                                        </p:tgtEl>
                                        <p:attrNameLst>
                                          <p:attrName>ppt_x</p:attrName>
                                        </p:attrNameLst>
                                      </p:cBhvr>
                                      <p:tavLst>
                                        <p:tav tm="0">
                                          <p:val>
                                            <p:strVal val="0-#ppt_w/2"/>
                                          </p:val>
                                        </p:tav>
                                        <p:tav tm="100000">
                                          <p:val>
                                            <p:strVal val="#ppt_x"/>
                                          </p:val>
                                        </p:tav>
                                      </p:tavLst>
                                    </p:anim>
                                    <p:anim calcmode="lin" valueType="num">
                                      <p:cBhvr additive="base">
                                        <p:cTn id="18" dur="500" fill="hold"/>
                                        <p:tgtEl>
                                          <p:spTgt spid="34"/>
                                        </p:tgtEl>
                                        <p:attrNameLst>
                                          <p:attrName>ppt_y</p:attrName>
                                        </p:attrNameLst>
                                      </p:cBhvr>
                                      <p:tavLst>
                                        <p:tav tm="0">
                                          <p:val>
                                            <p:strVal val="#ppt_y"/>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1000"/>
                                        <p:tgtEl>
                                          <p:spTgt spid="35"/>
                                        </p:tgtEl>
                                      </p:cBhvr>
                                    </p:animEffect>
                                    <p:anim calcmode="lin" valueType="num">
                                      <p:cBhvr>
                                        <p:cTn id="22" dur="1000" fill="hold"/>
                                        <p:tgtEl>
                                          <p:spTgt spid="35"/>
                                        </p:tgtEl>
                                        <p:attrNameLst>
                                          <p:attrName>ppt_x</p:attrName>
                                        </p:attrNameLst>
                                      </p:cBhvr>
                                      <p:tavLst>
                                        <p:tav tm="0">
                                          <p:val>
                                            <p:strVal val="#ppt_x"/>
                                          </p:val>
                                        </p:tav>
                                        <p:tav tm="100000">
                                          <p:val>
                                            <p:strVal val="#ppt_x"/>
                                          </p:val>
                                        </p:tav>
                                      </p:tavLst>
                                    </p:anim>
                                    <p:anim calcmode="lin" valueType="num">
                                      <p:cBhvr>
                                        <p:cTn id="23"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24" fill="hold" nodeType="clickPar">
                      <p:stCondLst>
                        <p:cond delay="indefinite"/>
                        <p:cond evt="onBegin" delay="0">
                          <p:tn val="23"/>
                        </p:cond>
                      </p:stCondLst>
                      <p:childTnLst>
                        <p:par>
                          <p:cTn id="25" fill="hold">
                            <p:stCondLst>
                              <p:cond delay="0"/>
                            </p:stCondLst>
                            <p:childTnLst>
                              <p:par>
                                <p:cTn id="26" presetID="55" presetClass="entr" presetSubtype="0" fill="hold" grpId="0" nodeType="clickEffect">
                                  <p:stCondLst>
                                    <p:cond delay="0"/>
                                  </p:stCondLst>
                                  <p:childTnLst>
                                    <p:set>
                                      <p:cBhvr>
                                        <p:cTn id="27" dur="1" fill="hold">
                                          <p:stCondLst>
                                            <p:cond delay="0"/>
                                          </p:stCondLst>
                                        </p:cTn>
                                        <p:tgtEl>
                                          <p:spTgt spid="33"/>
                                        </p:tgtEl>
                                        <p:attrNameLst>
                                          <p:attrName>style.visibility</p:attrName>
                                        </p:attrNameLst>
                                      </p:cBhvr>
                                      <p:to>
                                        <p:strVal val="visible"/>
                                      </p:to>
                                    </p:set>
                                    <p:anim calcmode="lin" valueType="num">
                                      <p:cBhvr>
                                        <p:cTn id="28" dur="1000" fill="hold"/>
                                        <p:tgtEl>
                                          <p:spTgt spid="33"/>
                                        </p:tgtEl>
                                        <p:attrNameLst>
                                          <p:attrName>ppt_w</p:attrName>
                                        </p:attrNameLst>
                                      </p:cBhvr>
                                      <p:tavLst>
                                        <p:tav tm="0">
                                          <p:val>
                                            <p:strVal val="#ppt_w*0.70"/>
                                          </p:val>
                                        </p:tav>
                                        <p:tav tm="100000">
                                          <p:val>
                                            <p:strVal val="#ppt_w"/>
                                          </p:val>
                                        </p:tav>
                                      </p:tavLst>
                                    </p:anim>
                                    <p:anim calcmode="lin" valueType="num">
                                      <p:cBhvr>
                                        <p:cTn id="29" dur="1000" fill="hold"/>
                                        <p:tgtEl>
                                          <p:spTgt spid="33"/>
                                        </p:tgtEl>
                                        <p:attrNameLst>
                                          <p:attrName>ppt_h</p:attrName>
                                        </p:attrNameLst>
                                      </p:cBhvr>
                                      <p:tavLst>
                                        <p:tav tm="0">
                                          <p:val>
                                            <p:strVal val="#ppt_h"/>
                                          </p:val>
                                        </p:tav>
                                        <p:tav tm="100000">
                                          <p:val>
                                            <p:strVal val="#ppt_h"/>
                                          </p:val>
                                        </p:tav>
                                      </p:tavLst>
                                    </p:anim>
                                    <p:animEffect transition="in" filter="fade">
                                      <p:cBhvr>
                                        <p:cTn id="30" dur="1000"/>
                                        <p:tgtEl>
                                          <p:spTgt spid="33"/>
                                        </p:tgtEl>
                                      </p:cBhvr>
                                    </p:animEffect>
                                  </p:childTnLst>
                                </p:cTn>
                              </p:par>
                            </p:childTnLst>
                          </p:cTn>
                        </p:par>
                      </p:childTnLst>
                    </p:cTn>
                  </p:par>
                  <p:par>
                    <p:cTn id="31" fill="hold" nodeType="clickPar">
                      <p:stCondLst>
                        <p:cond delay="indefinite"/>
                        <p:cond evt="onBegin" delay="0">
                          <p:tn val="30"/>
                        </p:cond>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left)">
                                      <p:cBhvr>
                                        <p:cTn id="3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 repeatCount="indefinite" fill="hold" display="0">
                  <p:stCondLst>
                    <p:cond delay="indefinite"/>
                  </p:stCondLst>
                  <p:endCondLst>
                    <p:cond evt="onStopAudio" delay="0">
                      <p:tgtEl>
                        <p:sldTgt/>
                      </p:tgtEl>
                    </p:cond>
                  </p:endCondLst>
                </p:cTn>
                <p:tgtEl>
                  <p:spTgt spid="3"/>
                </p:tgtEl>
              </p:cMediaNode>
            </p:audio>
          </p:childTnLst>
        </p:cTn>
      </p:par>
    </p:tnLst>
    <p:bldLst>
      <p:bldP spid="32" grpId="0"/>
      <p:bldP spid="33" grpId="0"/>
      <p:bldP spid="35" grpId="0"/>
    </p:bldLs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pSp>
        <p:nvGrpSpPr>
          <p:cNvPr id="2" name="c32f01c0-0bab-4df7-85e4-f5191be2ec92"/>
          <p:cNvGrpSpPr>
            <a:grpSpLocks noChangeAspect="1"/>
          </p:cNvGrpSpPr>
          <p:nvPr/>
        </p:nvGrpSpPr>
        <p:grpSpPr>
          <a:xfrm>
            <a:off x="533632" y="1221601"/>
            <a:ext cx="8071016" cy="3365878"/>
            <a:chOff x="711509" y="1628801"/>
            <a:chExt cx="10761354" cy="4487837"/>
          </a:xfrm>
        </p:grpSpPr>
        <p:grpSp>
          <p:nvGrpSpPr>
            <p:cNvPr id="3" name="Group 1"/>
            <p:cNvGrpSpPr/>
            <p:nvPr/>
          </p:nvGrpSpPr>
          <p:grpSpPr>
            <a:xfrm>
              <a:off x="5443060" y="2476778"/>
              <a:ext cx="1339983" cy="2581532"/>
              <a:chOff x="5443060" y="2476778"/>
              <a:chExt cx="1339983" cy="2581532"/>
            </a:xfrm>
          </p:grpSpPr>
          <p:sp>
            <p:nvSpPr>
              <p:cNvPr id="29" name="Freeform: Shape 25"/>
              <p:cNvSpPr/>
              <p:nvPr/>
            </p:nvSpPr>
            <p:spPr bwMode="auto">
              <a:xfrm>
                <a:off x="5682067" y="4136136"/>
                <a:ext cx="863218" cy="373339"/>
              </a:xfrm>
              <a:custGeom>
                <a:gdLst>
                  <a:gd name="T0" fmla="*/ 63 w 537"/>
                  <a:gd name="T1" fmla="*/ 120 h 233"/>
                  <a:gd name="T2" fmla="*/ 448 w 537"/>
                  <a:gd name="T3" fmla="*/ 17 h 233"/>
                  <a:gd name="T4" fmla="*/ 473 w 537"/>
                  <a:gd name="T5" fmla="*/ 113 h 233"/>
                  <a:gd name="T6" fmla="*/ 89 w 537"/>
                  <a:gd name="T7" fmla="*/ 216 h 233"/>
                  <a:gd name="T8" fmla="*/ 63 w 537"/>
                  <a:gd name="T9" fmla="*/ 120 h 233"/>
                </a:gdLst>
                <a:cxnLst>
                  <a:cxn ang="0">
                    <a:pos x="T0" y="T1"/>
                  </a:cxn>
                  <a:cxn ang="0">
                    <a:pos x="T2" y="T3"/>
                  </a:cxn>
                  <a:cxn ang="0">
                    <a:pos x="T4" y="T5"/>
                  </a:cxn>
                  <a:cxn ang="0">
                    <a:pos x="T6" y="T7"/>
                  </a:cxn>
                  <a:cxn ang="0">
                    <a:pos x="T8" y="T9"/>
                  </a:cxn>
                </a:cxnLst>
                <a:rect l="0" t="0" r="r" b="b"/>
                <a:pathLst>
                  <a:path w="537" h="233">
                    <a:moveTo>
                      <a:pt x="63" y="120"/>
                    </a:moveTo>
                    <a:cubicBezTo>
                      <a:pt x="448" y="17"/>
                      <a:pt x="448" y="17"/>
                      <a:pt x="448" y="17"/>
                    </a:cubicBezTo>
                    <a:cubicBezTo>
                      <a:pt x="511" y="0"/>
                      <a:pt x="537" y="96"/>
                      <a:pt x="473" y="113"/>
                    </a:cubicBezTo>
                    <a:cubicBezTo>
                      <a:pt x="89" y="216"/>
                      <a:pt x="89" y="216"/>
                      <a:pt x="89" y="216"/>
                    </a:cubicBezTo>
                    <a:cubicBezTo>
                      <a:pt x="25" y="233"/>
                      <a:pt x="0" y="137"/>
                      <a:pt x="63" y="120"/>
                    </a:cubicBezTo>
                    <a:close/>
                  </a:path>
                </a:pathLst>
              </a:custGeom>
              <a:solidFill>
                <a:schemeClr val="accent6"/>
              </a:solidFill>
              <a:ln>
                <a:noFill/>
              </a:ln>
            </p:spPr>
            <p:txBody>
              <a:bodyPr anchor="ctr"/>
              <a:lstStyle/>
              <a:p>
                <a:pPr algn="ctr"/>
                <a:endParaRPr>
                  <a:solidFill>
                    <a:schemeClr val="bg1">
                      <a:lumMod val="50000"/>
                    </a:schemeClr>
                  </a:solidFill>
                  <a:latin typeface="+mj-ea"/>
                  <a:ea typeface="+mj-ea"/>
                </a:endParaRPr>
              </a:p>
            </p:txBody>
          </p:sp>
          <p:sp>
            <p:nvSpPr>
              <p:cNvPr id="30" name="Freeform: Shape 26"/>
              <p:cNvSpPr/>
              <p:nvPr/>
            </p:nvSpPr>
            <p:spPr bwMode="auto">
              <a:xfrm>
                <a:off x="5682067" y="4340083"/>
                <a:ext cx="863218" cy="373339"/>
              </a:xfrm>
              <a:custGeom>
                <a:gdLst>
                  <a:gd name="T0" fmla="*/ 63 w 537"/>
                  <a:gd name="T1" fmla="*/ 120 h 233"/>
                  <a:gd name="T2" fmla="*/ 89 w 537"/>
                  <a:gd name="T3" fmla="*/ 216 h 233"/>
                  <a:gd name="T4" fmla="*/ 473 w 537"/>
                  <a:gd name="T5" fmla="*/ 113 h 233"/>
                  <a:gd name="T6" fmla="*/ 448 w 537"/>
                  <a:gd name="T7" fmla="*/ 17 h 233"/>
                  <a:gd name="T8" fmla="*/ 63 w 537"/>
                  <a:gd name="T9" fmla="*/ 120 h 233"/>
                </a:gdLst>
                <a:cxnLst>
                  <a:cxn ang="0">
                    <a:pos x="T0" y="T1"/>
                  </a:cxn>
                  <a:cxn ang="0">
                    <a:pos x="T2" y="T3"/>
                  </a:cxn>
                  <a:cxn ang="0">
                    <a:pos x="T4" y="T5"/>
                  </a:cxn>
                  <a:cxn ang="0">
                    <a:pos x="T6" y="T7"/>
                  </a:cxn>
                  <a:cxn ang="0">
                    <a:pos x="T8" y="T9"/>
                  </a:cxn>
                </a:cxnLst>
                <a:rect l="0" t="0" r="r" b="b"/>
                <a:pathLst>
                  <a:path w="537" h="233">
                    <a:moveTo>
                      <a:pt x="63" y="120"/>
                    </a:moveTo>
                    <a:cubicBezTo>
                      <a:pt x="0" y="137"/>
                      <a:pt x="25" y="233"/>
                      <a:pt x="89" y="216"/>
                    </a:cubicBezTo>
                    <a:cubicBezTo>
                      <a:pt x="473" y="113"/>
                      <a:pt x="473" y="113"/>
                      <a:pt x="473" y="113"/>
                    </a:cubicBezTo>
                    <a:cubicBezTo>
                      <a:pt x="537" y="96"/>
                      <a:pt x="511" y="0"/>
                      <a:pt x="448" y="17"/>
                    </a:cubicBezTo>
                    <a:cubicBezTo>
                      <a:pt x="63" y="120"/>
                      <a:pt x="63" y="120"/>
                      <a:pt x="63" y="120"/>
                    </a:cubicBezTo>
                    <a:close/>
                  </a:path>
                </a:pathLst>
              </a:custGeom>
              <a:solidFill>
                <a:schemeClr val="accent2"/>
              </a:solidFill>
              <a:ln>
                <a:noFill/>
              </a:ln>
            </p:spPr>
            <p:txBody>
              <a:bodyPr anchor="ctr"/>
              <a:lstStyle/>
              <a:p>
                <a:pPr algn="ctr"/>
                <a:endParaRPr>
                  <a:solidFill>
                    <a:schemeClr val="bg1">
                      <a:lumMod val="50000"/>
                    </a:schemeClr>
                  </a:solidFill>
                  <a:latin typeface="+mj-ea"/>
                  <a:ea typeface="+mj-ea"/>
                </a:endParaRPr>
              </a:p>
            </p:txBody>
          </p:sp>
          <p:sp>
            <p:nvSpPr>
              <p:cNvPr id="31" name="Freeform: Shape 27"/>
              <p:cNvSpPr/>
              <p:nvPr/>
            </p:nvSpPr>
            <p:spPr bwMode="auto">
              <a:xfrm>
                <a:off x="5682067" y="3935576"/>
                <a:ext cx="863218" cy="374016"/>
              </a:xfrm>
              <a:custGeom>
                <a:gdLst>
                  <a:gd name="T0" fmla="*/ 63 w 537"/>
                  <a:gd name="T1" fmla="*/ 120 h 233"/>
                  <a:gd name="T2" fmla="*/ 89 w 537"/>
                  <a:gd name="T3" fmla="*/ 216 h 233"/>
                  <a:gd name="T4" fmla="*/ 473 w 537"/>
                  <a:gd name="T5" fmla="*/ 113 h 233"/>
                  <a:gd name="T6" fmla="*/ 448 w 537"/>
                  <a:gd name="T7" fmla="*/ 17 h 233"/>
                  <a:gd name="T8" fmla="*/ 63 w 537"/>
                  <a:gd name="T9" fmla="*/ 120 h 233"/>
                </a:gdLst>
                <a:cxnLst>
                  <a:cxn ang="0">
                    <a:pos x="T0" y="T1"/>
                  </a:cxn>
                  <a:cxn ang="0">
                    <a:pos x="T2" y="T3"/>
                  </a:cxn>
                  <a:cxn ang="0">
                    <a:pos x="T4" y="T5"/>
                  </a:cxn>
                  <a:cxn ang="0">
                    <a:pos x="T6" y="T7"/>
                  </a:cxn>
                  <a:cxn ang="0">
                    <a:pos x="T8" y="T9"/>
                  </a:cxn>
                </a:cxnLst>
                <a:rect l="0" t="0" r="r" b="b"/>
                <a:pathLst>
                  <a:path w="537" h="233">
                    <a:moveTo>
                      <a:pt x="63" y="120"/>
                    </a:moveTo>
                    <a:cubicBezTo>
                      <a:pt x="0" y="137"/>
                      <a:pt x="25" y="233"/>
                      <a:pt x="89" y="216"/>
                    </a:cubicBezTo>
                    <a:cubicBezTo>
                      <a:pt x="473" y="113"/>
                      <a:pt x="473" y="113"/>
                      <a:pt x="473" y="113"/>
                    </a:cubicBezTo>
                    <a:cubicBezTo>
                      <a:pt x="537" y="96"/>
                      <a:pt x="511" y="0"/>
                      <a:pt x="448" y="17"/>
                    </a:cubicBezTo>
                    <a:cubicBezTo>
                      <a:pt x="63" y="120"/>
                      <a:pt x="63" y="120"/>
                      <a:pt x="63" y="120"/>
                    </a:cubicBezTo>
                    <a:close/>
                  </a:path>
                </a:pathLst>
              </a:custGeom>
              <a:solidFill>
                <a:schemeClr val="accent1"/>
              </a:solidFill>
              <a:ln>
                <a:noFill/>
              </a:ln>
            </p:spPr>
            <p:txBody>
              <a:bodyPr anchor="ctr"/>
              <a:lstStyle/>
              <a:p>
                <a:pPr algn="ctr"/>
                <a:endParaRPr>
                  <a:solidFill>
                    <a:schemeClr val="bg1">
                      <a:lumMod val="50000"/>
                    </a:schemeClr>
                  </a:solidFill>
                  <a:latin typeface="+mj-ea"/>
                  <a:ea typeface="+mj-ea"/>
                </a:endParaRPr>
              </a:p>
            </p:txBody>
          </p:sp>
          <p:sp>
            <p:nvSpPr>
              <p:cNvPr id="32" name="Freeform: Shape 28"/>
              <p:cNvSpPr/>
              <p:nvPr/>
            </p:nvSpPr>
            <p:spPr bwMode="auto">
              <a:xfrm>
                <a:off x="5688843" y="3698428"/>
                <a:ext cx="602356" cy="328620"/>
              </a:xfrm>
              <a:custGeom>
                <a:gdLst>
                  <a:gd name="T0" fmla="*/ 166 w 375"/>
                  <a:gd name="T1" fmla="*/ 36 h 205"/>
                  <a:gd name="T2" fmla="*/ 375 w 375"/>
                  <a:gd name="T3" fmla="*/ 160 h 205"/>
                  <a:gd name="T4" fmla="*/ 202 w 375"/>
                  <a:gd name="T5" fmla="*/ 205 h 205"/>
                  <a:gd name="T6" fmla="*/ 0 w 375"/>
                  <a:gd name="T7" fmla="*/ 81 h 205"/>
                  <a:gd name="T8" fmla="*/ 166 w 375"/>
                  <a:gd name="T9" fmla="*/ 36 h 205"/>
                </a:gdLst>
                <a:cxnLst>
                  <a:cxn ang="0">
                    <a:pos x="T0" y="T1"/>
                  </a:cxn>
                  <a:cxn ang="0">
                    <a:pos x="T2" y="T3"/>
                  </a:cxn>
                  <a:cxn ang="0">
                    <a:pos x="T4" y="T5"/>
                  </a:cxn>
                  <a:cxn ang="0">
                    <a:pos x="T6" y="T7"/>
                  </a:cxn>
                  <a:cxn ang="0">
                    <a:pos x="T8" y="T9"/>
                  </a:cxn>
                </a:cxnLst>
                <a:rect l="0" t="0" r="r" b="b"/>
                <a:pathLst>
                  <a:path w="375" h="205">
                    <a:moveTo>
                      <a:pt x="166" y="36"/>
                    </a:moveTo>
                    <a:cubicBezTo>
                      <a:pt x="287" y="0"/>
                      <a:pt x="334" y="75"/>
                      <a:pt x="375" y="160"/>
                    </a:cubicBezTo>
                    <a:cubicBezTo>
                      <a:pt x="318" y="175"/>
                      <a:pt x="260" y="190"/>
                      <a:pt x="202" y="205"/>
                    </a:cubicBezTo>
                    <a:cubicBezTo>
                      <a:pt x="156" y="56"/>
                      <a:pt x="61" y="73"/>
                      <a:pt x="0" y="81"/>
                    </a:cubicBezTo>
                    <a:cubicBezTo>
                      <a:pt x="56" y="66"/>
                      <a:pt x="111" y="51"/>
                      <a:pt x="166" y="36"/>
                    </a:cubicBezTo>
                    <a:close/>
                  </a:path>
                </a:pathLst>
              </a:custGeom>
              <a:solidFill>
                <a:schemeClr val="tx2">
                  <a:lumMod val="40000"/>
                  <a:lumOff val="60000"/>
                </a:schemeClr>
              </a:solidFill>
              <a:ln>
                <a:noFill/>
              </a:ln>
            </p:spPr>
            <p:txBody>
              <a:bodyPr anchor="ctr"/>
              <a:lstStyle/>
              <a:p>
                <a:pPr algn="ctr"/>
                <a:endParaRPr>
                  <a:solidFill>
                    <a:schemeClr val="bg1">
                      <a:lumMod val="50000"/>
                    </a:schemeClr>
                  </a:solidFill>
                  <a:latin typeface="+mj-ea"/>
                  <a:ea typeface="+mj-ea"/>
                </a:endParaRPr>
              </a:p>
            </p:txBody>
          </p:sp>
          <p:grpSp>
            <p:nvGrpSpPr>
              <p:cNvPr id="4" name="Group 29"/>
              <p:cNvGrpSpPr/>
              <p:nvPr/>
            </p:nvGrpSpPr>
            <p:grpSpPr>
              <a:xfrm>
                <a:off x="5856201" y="4567752"/>
                <a:ext cx="550861" cy="490558"/>
                <a:chOff x="5708371" y="5136354"/>
                <a:chExt cx="831509" cy="740482"/>
              </a:xfrm>
              <a:solidFill>
                <a:schemeClr val="tx1">
                  <a:lumMod val="65000"/>
                  <a:lumOff val="35000"/>
                </a:schemeClr>
              </a:solidFill>
            </p:grpSpPr>
            <p:sp>
              <p:nvSpPr>
                <p:cNvPr id="38" name="Freeform: Shape 34"/>
                <p:cNvSpPr/>
                <p:nvPr/>
              </p:nvSpPr>
              <p:spPr bwMode="auto">
                <a:xfrm>
                  <a:off x="5708371" y="5136354"/>
                  <a:ext cx="831509" cy="563544"/>
                </a:xfrm>
                <a:custGeom>
                  <a:gdLst>
                    <a:gd name="T0" fmla="*/ 813 w 813"/>
                    <a:gd name="T1" fmla="*/ 0 h 551"/>
                    <a:gd name="T2" fmla="*/ 524 w 813"/>
                    <a:gd name="T3" fmla="*/ 551 h 551"/>
                    <a:gd name="T4" fmla="*/ 256 w 813"/>
                    <a:gd name="T5" fmla="*/ 551 h 551"/>
                    <a:gd name="T6" fmla="*/ 0 w 813"/>
                    <a:gd name="T7" fmla="*/ 215 h 551"/>
                    <a:gd name="T8" fmla="*/ 0 w 813"/>
                    <a:gd name="T9" fmla="*/ 215 h 551"/>
                    <a:gd name="T10" fmla="*/ 813 w 813"/>
                    <a:gd name="T11" fmla="*/ 0 h 551"/>
                  </a:gdLst>
                  <a:cxnLst>
                    <a:cxn ang="0">
                      <a:pos x="T0" y="T1"/>
                    </a:cxn>
                    <a:cxn ang="0">
                      <a:pos x="T2" y="T3"/>
                    </a:cxn>
                    <a:cxn ang="0">
                      <a:pos x="T4" y="T5"/>
                    </a:cxn>
                    <a:cxn ang="0">
                      <a:pos x="T6" y="T7"/>
                    </a:cxn>
                    <a:cxn ang="0">
                      <a:pos x="T8" y="T9"/>
                    </a:cxn>
                    <a:cxn ang="0">
                      <a:pos x="T10" y="T11"/>
                    </a:cxn>
                  </a:cxnLst>
                  <a:rect l="0" t="0" r="r" b="b"/>
                  <a:pathLst>
                    <a:path w="813" h="551">
                      <a:moveTo>
                        <a:pt x="813" y="0"/>
                      </a:moveTo>
                      <a:lnTo>
                        <a:pt x="524" y="551"/>
                      </a:lnTo>
                      <a:lnTo>
                        <a:pt x="256" y="551"/>
                      </a:lnTo>
                      <a:lnTo>
                        <a:pt x="0" y="215"/>
                      </a:lnTo>
                      <a:lnTo>
                        <a:pt x="0" y="215"/>
                      </a:lnTo>
                      <a:lnTo>
                        <a:pt x="813" y="0"/>
                      </a:lnTo>
                      <a:close/>
                    </a:path>
                  </a:pathLst>
                </a:custGeom>
                <a:grpFill/>
                <a:ln>
                  <a:noFill/>
                </a:ln>
              </p:spPr>
              <p:txBody>
                <a:bodyPr anchor="ctr"/>
                <a:lstStyle/>
                <a:p>
                  <a:pPr algn="ctr"/>
                  <a:endParaRPr>
                    <a:solidFill>
                      <a:schemeClr val="bg1">
                        <a:lumMod val="50000"/>
                      </a:schemeClr>
                    </a:solidFill>
                    <a:latin typeface="+mj-ea"/>
                    <a:ea typeface="+mj-ea"/>
                  </a:endParaRPr>
                </a:p>
              </p:txBody>
            </p:sp>
            <p:grpSp>
              <p:nvGrpSpPr>
                <p:cNvPr id="33" name="Group 35"/>
                <p:cNvGrpSpPr/>
                <p:nvPr/>
              </p:nvGrpSpPr>
              <p:grpSpPr>
                <a:xfrm>
                  <a:off x="5708371" y="5136354"/>
                  <a:ext cx="831509" cy="740482"/>
                  <a:chOff x="5708371" y="5136354"/>
                  <a:chExt cx="831509" cy="740482"/>
                </a:xfrm>
                <a:grpFill/>
              </p:grpSpPr>
              <p:sp>
                <p:nvSpPr>
                  <p:cNvPr id="40" name="Freeform: Shape 36"/>
                  <p:cNvSpPr/>
                  <p:nvPr/>
                </p:nvSpPr>
                <p:spPr bwMode="auto">
                  <a:xfrm>
                    <a:off x="5708371" y="5136354"/>
                    <a:ext cx="831509" cy="563544"/>
                  </a:xfrm>
                  <a:custGeom>
                    <a:gdLst>
                      <a:gd name="T0" fmla="*/ 813 w 813"/>
                      <a:gd name="T1" fmla="*/ 0 h 551"/>
                      <a:gd name="T2" fmla="*/ 524 w 813"/>
                      <a:gd name="T3" fmla="*/ 551 h 551"/>
                      <a:gd name="T4" fmla="*/ 256 w 813"/>
                      <a:gd name="T5" fmla="*/ 551 h 551"/>
                      <a:gd name="T6" fmla="*/ 0 w 813"/>
                      <a:gd name="T7" fmla="*/ 215 h 551"/>
                      <a:gd name="T8" fmla="*/ 0 w 813"/>
                      <a:gd name="T9" fmla="*/ 215 h 551"/>
                      <a:gd name="T10" fmla="*/ 813 w 813"/>
                      <a:gd name="T11" fmla="*/ 0 h 551"/>
                    </a:gdLst>
                    <a:cxnLst>
                      <a:cxn ang="0">
                        <a:pos x="T0" y="T1"/>
                      </a:cxn>
                      <a:cxn ang="0">
                        <a:pos x="T2" y="T3"/>
                      </a:cxn>
                      <a:cxn ang="0">
                        <a:pos x="T4" y="T5"/>
                      </a:cxn>
                      <a:cxn ang="0">
                        <a:pos x="T6" y="T7"/>
                      </a:cxn>
                      <a:cxn ang="0">
                        <a:pos x="T8" y="T9"/>
                      </a:cxn>
                      <a:cxn ang="0">
                        <a:pos x="T10" y="T11"/>
                      </a:cxn>
                    </a:cxnLst>
                    <a:rect l="0" t="0" r="r" b="b"/>
                    <a:pathLst>
                      <a:path w="813" h="551">
                        <a:moveTo>
                          <a:pt x="813" y="0"/>
                        </a:moveTo>
                        <a:lnTo>
                          <a:pt x="524" y="551"/>
                        </a:lnTo>
                        <a:lnTo>
                          <a:pt x="256" y="551"/>
                        </a:lnTo>
                        <a:lnTo>
                          <a:pt x="0" y="215"/>
                        </a:lnTo>
                        <a:lnTo>
                          <a:pt x="0" y="215"/>
                        </a:lnTo>
                        <a:lnTo>
                          <a:pt x="813" y="0"/>
                        </a:lnTo>
                      </a:path>
                    </a:pathLst>
                  </a:custGeom>
                  <a:solidFill>
                    <a:schemeClr val="tx2">
                      <a:lumMod val="40000"/>
                      <a:lumOff val="60000"/>
                    </a:schemeClr>
                  </a:solidFill>
                  <a:ln>
                    <a:noFill/>
                  </a:ln>
                </p:spPr>
                <p:txBody>
                  <a:bodyPr anchor="ctr"/>
                  <a:lstStyle/>
                  <a:p>
                    <a:pPr algn="ctr"/>
                    <a:endParaRPr>
                      <a:solidFill>
                        <a:schemeClr val="bg1">
                          <a:lumMod val="50000"/>
                        </a:schemeClr>
                      </a:solidFill>
                      <a:latin typeface="+mj-ea"/>
                      <a:ea typeface="+mj-ea"/>
                    </a:endParaRPr>
                  </a:p>
                </p:txBody>
              </p:sp>
              <p:sp>
                <p:nvSpPr>
                  <p:cNvPr id="41" name="Freeform: Shape 37"/>
                  <p:cNvSpPr/>
                  <p:nvPr/>
                </p:nvSpPr>
                <p:spPr bwMode="auto">
                  <a:xfrm>
                    <a:off x="5967131" y="5733649"/>
                    <a:ext cx="279215" cy="143187"/>
                  </a:xfrm>
                  <a:custGeom>
                    <a:gdLst>
                      <a:gd name="T0" fmla="*/ 115 w 115"/>
                      <a:gd name="T1" fmla="*/ 0 h 59"/>
                      <a:gd name="T2" fmla="*/ 115 w 115"/>
                      <a:gd name="T3" fmla="*/ 2 h 59"/>
                      <a:gd name="T4" fmla="*/ 57 w 115"/>
                      <a:gd name="T5" fmla="*/ 59 h 59"/>
                      <a:gd name="T6" fmla="*/ 0 w 115"/>
                      <a:gd name="T7" fmla="*/ 2 h 59"/>
                      <a:gd name="T8" fmla="*/ 0 w 115"/>
                      <a:gd name="T9" fmla="*/ 0 h 59"/>
                      <a:gd name="T10" fmla="*/ 1 w 115"/>
                      <a:gd name="T11" fmla="*/ 2 h 59"/>
                      <a:gd name="T12" fmla="*/ 114 w 115"/>
                      <a:gd name="T13" fmla="*/ 2 h 59"/>
                      <a:gd name="T14" fmla="*/ 115 w 115"/>
                      <a:gd name="T15" fmla="*/ 0 h 59"/>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59">
                        <a:moveTo>
                          <a:pt x="115" y="0"/>
                        </a:moveTo>
                        <a:cubicBezTo>
                          <a:pt x="115" y="0"/>
                          <a:pt x="115" y="1"/>
                          <a:pt x="115" y="2"/>
                        </a:cubicBezTo>
                        <a:cubicBezTo>
                          <a:pt x="115" y="33"/>
                          <a:pt x="89" y="59"/>
                          <a:pt x="57" y="59"/>
                        </a:cubicBezTo>
                        <a:cubicBezTo>
                          <a:pt x="26" y="59"/>
                          <a:pt x="0" y="33"/>
                          <a:pt x="0" y="2"/>
                        </a:cubicBezTo>
                        <a:cubicBezTo>
                          <a:pt x="0" y="1"/>
                          <a:pt x="0" y="1"/>
                          <a:pt x="0" y="0"/>
                        </a:cubicBezTo>
                        <a:cubicBezTo>
                          <a:pt x="1" y="2"/>
                          <a:pt x="1" y="2"/>
                          <a:pt x="1" y="2"/>
                        </a:cubicBezTo>
                        <a:cubicBezTo>
                          <a:pt x="114" y="2"/>
                          <a:pt x="114" y="2"/>
                          <a:pt x="114" y="2"/>
                        </a:cubicBezTo>
                        <a:cubicBezTo>
                          <a:pt x="115" y="0"/>
                          <a:pt x="115" y="0"/>
                          <a:pt x="115" y="0"/>
                        </a:cubicBezTo>
                        <a:close/>
                      </a:path>
                    </a:pathLst>
                  </a:custGeom>
                  <a:solidFill>
                    <a:schemeClr val="tx2">
                      <a:lumMod val="40000"/>
                      <a:lumOff val="60000"/>
                    </a:schemeClr>
                  </a:solidFill>
                  <a:ln>
                    <a:noFill/>
                  </a:ln>
                </p:spPr>
                <p:txBody>
                  <a:bodyPr anchor="ctr"/>
                  <a:lstStyle/>
                  <a:p>
                    <a:pPr algn="ctr"/>
                    <a:endParaRPr>
                      <a:solidFill>
                        <a:schemeClr val="bg1">
                          <a:lumMod val="50000"/>
                        </a:schemeClr>
                      </a:solidFill>
                      <a:latin typeface="+mj-ea"/>
                      <a:ea typeface="+mj-ea"/>
                    </a:endParaRPr>
                  </a:p>
                </p:txBody>
              </p:sp>
            </p:grpSp>
          </p:grpSp>
          <p:sp>
            <p:nvSpPr>
              <p:cNvPr id="34" name="Freeform: Shape 30"/>
              <p:cNvSpPr/>
              <p:nvPr/>
            </p:nvSpPr>
            <p:spPr bwMode="auto">
              <a:xfrm>
                <a:off x="5547232" y="2476778"/>
                <a:ext cx="694504" cy="272381"/>
              </a:xfrm>
              <a:custGeom>
                <a:gdLst>
                  <a:gd name="T0" fmla="*/ 85 w 432"/>
                  <a:gd name="T1" fmla="*/ 0 h 170"/>
                  <a:gd name="T2" fmla="*/ 106 w 432"/>
                  <a:gd name="T3" fmla="*/ 3 h 170"/>
                  <a:gd name="T4" fmla="*/ 106 w 432"/>
                  <a:gd name="T5" fmla="*/ 3 h 170"/>
                  <a:gd name="T6" fmla="*/ 432 w 432"/>
                  <a:gd name="T7" fmla="*/ 86 h 170"/>
                  <a:gd name="T8" fmla="*/ 112 w 432"/>
                  <a:gd name="T9" fmla="*/ 166 h 170"/>
                  <a:gd name="T10" fmla="*/ 112 w 432"/>
                  <a:gd name="T11" fmla="*/ 166 h 170"/>
                  <a:gd name="T12" fmla="*/ 85 w 432"/>
                  <a:gd name="T13" fmla="*/ 170 h 170"/>
                  <a:gd name="T14" fmla="*/ 0 w 432"/>
                  <a:gd name="T15" fmla="*/ 85 h 170"/>
                  <a:gd name="T16" fmla="*/ 85 w 432"/>
                  <a:gd name="T17" fmla="*/ 0 h 17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170">
                    <a:moveTo>
                      <a:pt x="85" y="0"/>
                    </a:moveTo>
                    <a:cubicBezTo>
                      <a:pt x="92" y="0"/>
                      <a:pt x="99" y="1"/>
                      <a:pt x="106" y="3"/>
                    </a:cubicBezTo>
                    <a:cubicBezTo>
                      <a:pt x="106" y="3"/>
                      <a:pt x="106" y="3"/>
                      <a:pt x="106" y="3"/>
                    </a:cubicBezTo>
                    <a:cubicBezTo>
                      <a:pt x="432" y="86"/>
                      <a:pt x="432" y="86"/>
                      <a:pt x="432" y="86"/>
                    </a:cubicBezTo>
                    <a:cubicBezTo>
                      <a:pt x="112" y="166"/>
                      <a:pt x="112" y="166"/>
                      <a:pt x="112" y="166"/>
                    </a:cubicBezTo>
                    <a:cubicBezTo>
                      <a:pt x="112" y="166"/>
                      <a:pt x="112" y="166"/>
                      <a:pt x="112" y="166"/>
                    </a:cubicBezTo>
                    <a:cubicBezTo>
                      <a:pt x="103" y="169"/>
                      <a:pt x="94" y="170"/>
                      <a:pt x="85" y="170"/>
                    </a:cubicBezTo>
                    <a:cubicBezTo>
                      <a:pt x="38" y="170"/>
                      <a:pt x="0" y="132"/>
                      <a:pt x="0" y="85"/>
                    </a:cubicBezTo>
                    <a:cubicBezTo>
                      <a:pt x="0" y="38"/>
                      <a:pt x="38" y="0"/>
                      <a:pt x="85" y="0"/>
                    </a:cubicBezTo>
                    <a:close/>
                  </a:path>
                </a:pathLst>
              </a:custGeom>
              <a:solidFill>
                <a:schemeClr val="accent3"/>
              </a:solidFill>
              <a:ln>
                <a:noFill/>
              </a:ln>
            </p:spPr>
            <p:txBody>
              <a:bodyPr anchor="ctr"/>
              <a:lstStyle/>
              <a:p>
                <a:pPr algn="ctr"/>
                <a:endParaRPr>
                  <a:solidFill>
                    <a:schemeClr val="bg1">
                      <a:lumMod val="50000"/>
                    </a:schemeClr>
                  </a:solidFill>
                  <a:latin typeface="+mj-ea"/>
                  <a:ea typeface="+mj-ea"/>
                </a:endParaRPr>
              </a:p>
            </p:txBody>
          </p:sp>
          <p:sp>
            <p:nvSpPr>
              <p:cNvPr id="35" name="Freeform: Shape 31"/>
              <p:cNvSpPr/>
              <p:nvPr/>
            </p:nvSpPr>
            <p:spPr bwMode="auto">
              <a:xfrm>
                <a:off x="5443060" y="2561186"/>
                <a:ext cx="1339983" cy="560923"/>
              </a:xfrm>
              <a:custGeom>
                <a:gdLst>
                  <a:gd name="connsiteX0" fmla="*/ 982060 w 2022667"/>
                  <a:gd name="connsiteY0" fmla="*/ 271936 h 846697"/>
                  <a:gd name="connsiteX1" fmla="*/ 123436 w 2022667"/>
                  <a:gd name="connsiteY1" fmla="*/ 504080 h 846697"/>
                  <a:gd name="connsiteX2" fmla="*/ 140415 w 2022667"/>
                  <a:gd name="connsiteY2" fmla="*/ 564534 h 846697"/>
                  <a:gd name="connsiteX3" fmla="*/ 999038 w 2022667"/>
                  <a:gd name="connsiteY3" fmla="*/ 332390 h 846697"/>
                  <a:gd name="connsiteX4" fmla="*/ 982060 w 2022667"/>
                  <a:gd name="connsiteY4" fmla="*/ 271936 h 846697"/>
                  <a:gd name="connsiteX5" fmla="*/ 1810824 w 2022667"/>
                  <a:gd name="connsiteY5" fmla="*/ 386 h 846697"/>
                  <a:gd name="connsiteX6" fmla="*/ 1869874 w 2022667"/>
                  <a:gd name="connsiteY6" fmla="*/ 407616 h 846697"/>
                  <a:gd name="connsiteX7" fmla="*/ 261781 w 2022667"/>
                  <a:gd name="connsiteY7" fmla="*/ 838458 h 846697"/>
                  <a:gd name="connsiteX8" fmla="*/ 152634 w 2022667"/>
                  <a:gd name="connsiteY8" fmla="*/ 439082 h 846697"/>
                  <a:gd name="connsiteX9" fmla="*/ 1763153 w 2022667"/>
                  <a:gd name="connsiteY9" fmla="*/ 8239 h 846697"/>
                  <a:gd name="connsiteX10" fmla="*/ 1810824 w 2022667"/>
                  <a:gd name="connsiteY10" fmla="*/ 386 h 84669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2667" h="846697">
                    <a:moveTo>
                      <a:pt x="982060" y="271936"/>
                    </a:moveTo>
                    <a:cubicBezTo>
                      <a:pt x="123436" y="504080"/>
                      <a:pt x="123436" y="504080"/>
                      <a:pt x="123436" y="504080"/>
                    </a:cubicBezTo>
                    <a:cubicBezTo>
                      <a:pt x="84628" y="513753"/>
                      <a:pt x="101607" y="574207"/>
                      <a:pt x="140415" y="564534"/>
                    </a:cubicBezTo>
                    <a:cubicBezTo>
                      <a:pt x="999038" y="332390"/>
                      <a:pt x="999038" y="332390"/>
                      <a:pt x="999038" y="332390"/>
                    </a:cubicBezTo>
                    <a:cubicBezTo>
                      <a:pt x="1037846" y="320299"/>
                      <a:pt x="1020868" y="262263"/>
                      <a:pt x="982060" y="271936"/>
                    </a:cubicBezTo>
                    <a:close/>
                    <a:moveTo>
                      <a:pt x="1810824" y="386"/>
                    </a:moveTo>
                    <a:cubicBezTo>
                      <a:pt x="2039421" y="-13318"/>
                      <a:pt x="2117728" y="341809"/>
                      <a:pt x="1869874" y="407616"/>
                    </a:cubicBezTo>
                    <a:cubicBezTo>
                      <a:pt x="1869874" y="407616"/>
                      <a:pt x="1869874" y="407616"/>
                      <a:pt x="261781" y="838458"/>
                    </a:cubicBezTo>
                    <a:cubicBezTo>
                      <a:pt x="-5022" y="908651"/>
                      <a:pt x="-111743" y="509275"/>
                      <a:pt x="152634" y="439082"/>
                    </a:cubicBezTo>
                    <a:cubicBezTo>
                      <a:pt x="152634" y="439082"/>
                      <a:pt x="152634" y="439082"/>
                      <a:pt x="1763153" y="8239"/>
                    </a:cubicBezTo>
                    <a:cubicBezTo>
                      <a:pt x="1779676" y="3852"/>
                      <a:pt x="1795584" y="1299"/>
                      <a:pt x="1810824" y="386"/>
                    </a:cubicBezTo>
                    <a:close/>
                  </a:path>
                </a:pathLst>
              </a:custGeom>
              <a:solidFill>
                <a:schemeClr val="accent3"/>
              </a:solidFill>
              <a:ln>
                <a:noFill/>
              </a:ln>
            </p:spPr>
            <p:txBody>
              <a:bodyPr anchor="ctr"/>
              <a:lstStyle/>
              <a:p>
                <a:pPr algn="ctr"/>
                <a:endParaRPr>
                  <a:solidFill>
                    <a:schemeClr val="bg1">
                      <a:lumMod val="50000"/>
                    </a:schemeClr>
                  </a:solidFill>
                  <a:latin typeface="+mj-ea"/>
                  <a:ea typeface="+mj-ea"/>
                </a:endParaRPr>
              </a:p>
            </p:txBody>
          </p:sp>
          <p:sp>
            <p:nvSpPr>
              <p:cNvPr id="36" name="Freeform: Shape 32"/>
              <p:cNvSpPr/>
              <p:nvPr/>
            </p:nvSpPr>
            <p:spPr bwMode="auto">
              <a:xfrm>
                <a:off x="5443060" y="2907435"/>
                <a:ext cx="1339983" cy="562252"/>
              </a:xfrm>
              <a:custGeom>
                <a:gdLst>
                  <a:gd name="connsiteX0" fmla="*/ 982060 w 2022667"/>
                  <a:gd name="connsiteY0" fmla="*/ 266822 h 848703"/>
                  <a:gd name="connsiteX1" fmla="*/ 123436 w 2022667"/>
                  <a:gd name="connsiteY1" fmla="*/ 499446 h 848703"/>
                  <a:gd name="connsiteX2" fmla="*/ 140415 w 2022667"/>
                  <a:gd name="connsiteY2" fmla="*/ 560025 h 848703"/>
                  <a:gd name="connsiteX3" fmla="*/ 999038 w 2022667"/>
                  <a:gd name="connsiteY3" fmla="*/ 327401 h 848703"/>
                  <a:gd name="connsiteX4" fmla="*/ 982060 w 2022667"/>
                  <a:gd name="connsiteY4" fmla="*/ 266822 h 848703"/>
                  <a:gd name="connsiteX5" fmla="*/ 1810824 w 2022667"/>
                  <a:gd name="connsiteY5" fmla="*/ 369 h 848703"/>
                  <a:gd name="connsiteX6" fmla="*/ 1869874 w 2022667"/>
                  <a:gd name="connsiteY6" fmla="*/ 409834 h 848703"/>
                  <a:gd name="connsiteX7" fmla="*/ 261781 w 2022667"/>
                  <a:gd name="connsiteY7" fmla="*/ 840511 h 848703"/>
                  <a:gd name="connsiteX8" fmla="*/ 152634 w 2022667"/>
                  <a:gd name="connsiteY8" fmla="*/ 438869 h 848703"/>
                  <a:gd name="connsiteX9" fmla="*/ 1763153 w 2022667"/>
                  <a:gd name="connsiteY9" fmla="*/ 8192 h 848703"/>
                  <a:gd name="connsiteX10" fmla="*/ 1810824 w 2022667"/>
                  <a:gd name="connsiteY10" fmla="*/ 369 h 84870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2667" h="848703">
                    <a:moveTo>
                      <a:pt x="982060" y="266822"/>
                    </a:moveTo>
                    <a:cubicBezTo>
                      <a:pt x="123436" y="499446"/>
                      <a:pt x="123436" y="499446"/>
                      <a:pt x="123436" y="499446"/>
                    </a:cubicBezTo>
                    <a:cubicBezTo>
                      <a:pt x="84628" y="511562"/>
                      <a:pt x="101607" y="572141"/>
                      <a:pt x="140415" y="560025"/>
                    </a:cubicBezTo>
                    <a:cubicBezTo>
                      <a:pt x="999038" y="327401"/>
                      <a:pt x="999038" y="327401"/>
                      <a:pt x="999038" y="327401"/>
                    </a:cubicBezTo>
                    <a:cubicBezTo>
                      <a:pt x="1037846" y="317708"/>
                      <a:pt x="1020868" y="257129"/>
                      <a:pt x="982060" y="266822"/>
                    </a:cubicBezTo>
                    <a:close/>
                    <a:moveTo>
                      <a:pt x="1810824" y="369"/>
                    </a:moveTo>
                    <a:cubicBezTo>
                      <a:pt x="2039421" y="-13064"/>
                      <a:pt x="2117728" y="344054"/>
                      <a:pt x="1869874" y="409834"/>
                    </a:cubicBezTo>
                    <a:cubicBezTo>
                      <a:pt x="261781" y="840511"/>
                      <a:pt x="261781" y="840511"/>
                      <a:pt x="261781" y="840511"/>
                    </a:cubicBezTo>
                    <a:cubicBezTo>
                      <a:pt x="-5022" y="910677"/>
                      <a:pt x="-111743" y="509035"/>
                      <a:pt x="152634" y="438869"/>
                    </a:cubicBezTo>
                    <a:cubicBezTo>
                      <a:pt x="1763153" y="8192"/>
                      <a:pt x="1763153" y="8192"/>
                      <a:pt x="1763153" y="8192"/>
                    </a:cubicBezTo>
                    <a:cubicBezTo>
                      <a:pt x="1779676" y="3807"/>
                      <a:pt x="1795584" y="1264"/>
                      <a:pt x="1810824" y="369"/>
                    </a:cubicBezTo>
                    <a:close/>
                  </a:path>
                </a:pathLst>
              </a:custGeom>
              <a:solidFill>
                <a:schemeClr val="accent2"/>
              </a:solidFill>
              <a:ln>
                <a:noFill/>
              </a:ln>
            </p:spPr>
            <p:txBody>
              <a:bodyPr anchor="ctr"/>
              <a:lstStyle/>
              <a:p>
                <a:pPr algn="ctr"/>
                <a:endParaRPr>
                  <a:solidFill>
                    <a:schemeClr val="bg1">
                      <a:lumMod val="50000"/>
                    </a:schemeClr>
                  </a:solidFill>
                  <a:latin typeface="+mj-ea"/>
                  <a:ea typeface="+mj-ea"/>
                </a:endParaRPr>
              </a:p>
            </p:txBody>
          </p:sp>
          <p:sp>
            <p:nvSpPr>
              <p:cNvPr id="37" name="Freeform: Shape 33"/>
              <p:cNvSpPr/>
              <p:nvPr/>
            </p:nvSpPr>
            <p:spPr bwMode="auto">
              <a:xfrm>
                <a:off x="5443060" y="3258385"/>
                <a:ext cx="1339983" cy="561036"/>
              </a:xfrm>
              <a:custGeom>
                <a:gdLst>
                  <a:gd name="connsiteX0" fmla="*/ 982060 w 2022667"/>
                  <a:gd name="connsiteY0" fmla="*/ 272356 h 846868"/>
                  <a:gd name="connsiteX1" fmla="*/ 123436 w 2022667"/>
                  <a:gd name="connsiteY1" fmla="*/ 504980 h 846868"/>
                  <a:gd name="connsiteX2" fmla="*/ 140415 w 2022667"/>
                  <a:gd name="connsiteY2" fmla="*/ 565559 h 846868"/>
                  <a:gd name="connsiteX3" fmla="*/ 999038 w 2022667"/>
                  <a:gd name="connsiteY3" fmla="*/ 332935 h 846868"/>
                  <a:gd name="connsiteX4" fmla="*/ 982060 w 2022667"/>
                  <a:gd name="connsiteY4" fmla="*/ 272356 h 846868"/>
                  <a:gd name="connsiteX5" fmla="*/ 1810824 w 2022667"/>
                  <a:gd name="connsiteY5" fmla="*/ 385 h 846868"/>
                  <a:gd name="connsiteX6" fmla="*/ 1869874 w 2022667"/>
                  <a:gd name="connsiteY6" fmla="*/ 409877 h 846868"/>
                  <a:gd name="connsiteX7" fmla="*/ 261781 w 2022667"/>
                  <a:gd name="connsiteY7" fmla="*/ 838134 h 846868"/>
                  <a:gd name="connsiteX8" fmla="*/ 152634 w 2022667"/>
                  <a:gd name="connsiteY8" fmla="*/ 438912 h 846868"/>
                  <a:gd name="connsiteX9" fmla="*/ 1763153 w 2022667"/>
                  <a:gd name="connsiteY9" fmla="*/ 8235 h 846868"/>
                  <a:gd name="connsiteX10" fmla="*/ 1810824 w 2022667"/>
                  <a:gd name="connsiteY10" fmla="*/ 385 h 84686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22667" h="846868">
                    <a:moveTo>
                      <a:pt x="982060" y="272356"/>
                    </a:moveTo>
                    <a:lnTo>
                      <a:pt x="123436" y="504980"/>
                    </a:lnTo>
                    <a:cubicBezTo>
                      <a:pt x="84628" y="514673"/>
                      <a:pt x="101607" y="575252"/>
                      <a:pt x="140415" y="565559"/>
                    </a:cubicBezTo>
                    <a:cubicBezTo>
                      <a:pt x="999038" y="332935"/>
                      <a:pt x="999038" y="332935"/>
                      <a:pt x="999038" y="332935"/>
                    </a:cubicBezTo>
                    <a:cubicBezTo>
                      <a:pt x="1037846" y="320819"/>
                      <a:pt x="1020868" y="260240"/>
                      <a:pt x="982060" y="272356"/>
                    </a:cubicBezTo>
                    <a:close/>
                    <a:moveTo>
                      <a:pt x="1810824" y="385"/>
                    </a:moveTo>
                    <a:cubicBezTo>
                      <a:pt x="2039421" y="-13304"/>
                      <a:pt x="2117728" y="341828"/>
                      <a:pt x="1869874" y="409877"/>
                    </a:cubicBezTo>
                    <a:cubicBezTo>
                      <a:pt x="1869874" y="409877"/>
                      <a:pt x="1869874" y="409877"/>
                      <a:pt x="261781" y="838134"/>
                    </a:cubicBezTo>
                    <a:cubicBezTo>
                      <a:pt x="-5022" y="910720"/>
                      <a:pt x="-111743" y="509078"/>
                      <a:pt x="152634" y="438912"/>
                    </a:cubicBezTo>
                    <a:cubicBezTo>
                      <a:pt x="152634" y="438912"/>
                      <a:pt x="152634" y="438912"/>
                      <a:pt x="1763153" y="8235"/>
                    </a:cubicBezTo>
                    <a:cubicBezTo>
                      <a:pt x="1779676" y="3850"/>
                      <a:pt x="1795584" y="1298"/>
                      <a:pt x="1810824" y="385"/>
                    </a:cubicBezTo>
                    <a:close/>
                  </a:path>
                </a:pathLst>
              </a:custGeom>
              <a:solidFill>
                <a:schemeClr val="accent4"/>
              </a:solidFill>
              <a:ln>
                <a:noFill/>
              </a:ln>
            </p:spPr>
            <p:txBody>
              <a:bodyPr anchor="ctr"/>
              <a:lstStyle/>
              <a:p>
                <a:pPr algn="ctr"/>
                <a:endParaRPr>
                  <a:solidFill>
                    <a:schemeClr val="bg1">
                      <a:lumMod val="50000"/>
                    </a:schemeClr>
                  </a:solidFill>
                  <a:latin typeface="+mj-ea"/>
                  <a:ea typeface="+mj-ea"/>
                </a:endParaRPr>
              </a:p>
            </p:txBody>
          </p:sp>
        </p:grpSp>
        <p:sp>
          <p:nvSpPr>
            <p:cNvPr id="5" name="Oval 39"/>
            <p:cNvSpPr>
              <a:spLocks noChangeAspect="1"/>
            </p:cNvSpPr>
            <p:nvPr/>
          </p:nvSpPr>
          <p:spPr>
            <a:xfrm>
              <a:off x="3522395" y="3274692"/>
              <a:ext cx="823407" cy="824096"/>
            </a:xfrm>
            <a:prstGeom prst="ellipse">
              <a:avLst/>
            </a:prstGeom>
            <a:solidFill>
              <a:schemeClr val="accent1">
                <a:alpha val="8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bg1">
                    <a:lumMod val="50000"/>
                  </a:schemeClr>
                </a:solidFill>
                <a:latin typeface="+mj-ea"/>
                <a:ea typeface="+mj-ea"/>
              </a:endParaRPr>
            </a:p>
          </p:txBody>
        </p:sp>
        <p:sp>
          <p:nvSpPr>
            <p:cNvPr id="6" name="Oval 40"/>
            <p:cNvSpPr>
              <a:spLocks noChangeAspect="1"/>
            </p:cNvSpPr>
            <p:nvPr/>
          </p:nvSpPr>
          <p:spPr>
            <a:xfrm>
              <a:off x="3617404" y="3369781"/>
              <a:ext cx="633390" cy="63392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en-US" b="1">
                  <a:solidFill>
                    <a:schemeClr val="bg1"/>
                  </a:solidFill>
                  <a:latin typeface="+mj-ea"/>
                  <a:ea typeface="+mj-ea"/>
                </a:rPr>
                <a:t>02</a:t>
              </a:r>
              <a:endParaRPr lang="en-US" b="1">
                <a:solidFill>
                  <a:schemeClr val="bg1"/>
                </a:solidFill>
                <a:latin typeface="+mj-ea"/>
                <a:ea typeface="+mj-ea"/>
              </a:endParaRPr>
            </a:p>
          </p:txBody>
        </p:sp>
        <p:sp>
          <p:nvSpPr>
            <p:cNvPr id="7" name="Oval 42"/>
            <p:cNvSpPr>
              <a:spLocks noChangeAspect="1"/>
            </p:cNvSpPr>
            <p:nvPr/>
          </p:nvSpPr>
          <p:spPr>
            <a:xfrm>
              <a:off x="4167324" y="4674247"/>
              <a:ext cx="823407" cy="824096"/>
            </a:xfrm>
            <a:prstGeom prst="ellipse">
              <a:avLst/>
            </a:prstGeom>
            <a:solidFill>
              <a:schemeClr val="accent2">
                <a:alpha val="7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bg1">
                    <a:lumMod val="50000"/>
                  </a:schemeClr>
                </a:solidFill>
                <a:latin typeface="+mj-ea"/>
                <a:ea typeface="+mj-ea"/>
              </a:endParaRPr>
            </a:p>
          </p:txBody>
        </p:sp>
        <p:sp>
          <p:nvSpPr>
            <p:cNvPr id="8" name="Oval 43"/>
            <p:cNvSpPr>
              <a:spLocks noChangeAspect="1"/>
            </p:cNvSpPr>
            <p:nvPr/>
          </p:nvSpPr>
          <p:spPr>
            <a:xfrm>
              <a:off x="4262333" y="4769336"/>
              <a:ext cx="633390" cy="63392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en-US" b="1">
                  <a:solidFill>
                    <a:schemeClr val="bg1"/>
                  </a:solidFill>
                  <a:latin typeface="+mj-ea"/>
                  <a:ea typeface="+mj-ea"/>
                </a:rPr>
                <a:t>03</a:t>
              </a:r>
              <a:endParaRPr lang="en-US" b="1">
                <a:solidFill>
                  <a:schemeClr val="bg1"/>
                </a:solidFill>
                <a:latin typeface="+mj-ea"/>
                <a:ea typeface="+mj-ea"/>
              </a:endParaRPr>
            </a:p>
          </p:txBody>
        </p:sp>
        <p:sp>
          <p:nvSpPr>
            <p:cNvPr id="9" name="Oval 45"/>
            <p:cNvSpPr>
              <a:spLocks noChangeAspect="1"/>
            </p:cNvSpPr>
            <p:nvPr/>
          </p:nvSpPr>
          <p:spPr>
            <a:xfrm>
              <a:off x="7208804" y="1866012"/>
              <a:ext cx="823407" cy="824096"/>
            </a:xfrm>
            <a:prstGeom prst="ellipse">
              <a:avLst/>
            </a:prstGeom>
            <a:solidFill>
              <a:schemeClr val="accent5">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bg1">
                    <a:lumMod val="50000"/>
                  </a:schemeClr>
                </a:solidFill>
                <a:latin typeface="+mj-ea"/>
                <a:ea typeface="+mj-ea"/>
              </a:endParaRPr>
            </a:p>
          </p:txBody>
        </p:sp>
        <p:sp>
          <p:nvSpPr>
            <p:cNvPr id="10" name="Oval 46"/>
            <p:cNvSpPr>
              <a:spLocks noChangeAspect="1"/>
            </p:cNvSpPr>
            <p:nvPr/>
          </p:nvSpPr>
          <p:spPr>
            <a:xfrm>
              <a:off x="7303813" y="1961101"/>
              <a:ext cx="633390" cy="63392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en-US" b="1">
                  <a:solidFill>
                    <a:schemeClr val="bg1"/>
                  </a:solidFill>
                  <a:latin typeface="+mj-ea"/>
                  <a:ea typeface="+mj-ea"/>
                </a:rPr>
                <a:t>04</a:t>
              </a:r>
              <a:endParaRPr lang="en-US" b="1">
                <a:solidFill>
                  <a:schemeClr val="bg1"/>
                </a:solidFill>
                <a:latin typeface="+mj-ea"/>
                <a:ea typeface="+mj-ea"/>
              </a:endParaRPr>
            </a:p>
          </p:txBody>
        </p:sp>
        <p:sp>
          <p:nvSpPr>
            <p:cNvPr id="11" name="Oval 48"/>
            <p:cNvSpPr>
              <a:spLocks noChangeAspect="1"/>
            </p:cNvSpPr>
            <p:nvPr/>
          </p:nvSpPr>
          <p:spPr>
            <a:xfrm>
              <a:off x="7801340" y="3274692"/>
              <a:ext cx="823407" cy="824096"/>
            </a:xfrm>
            <a:prstGeom prst="ellipse">
              <a:avLst/>
            </a:prstGeom>
            <a:solidFill>
              <a:schemeClr val="accent4">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bg1">
                    <a:lumMod val="50000"/>
                  </a:schemeClr>
                </a:solidFill>
                <a:latin typeface="+mj-ea"/>
                <a:ea typeface="+mj-ea"/>
              </a:endParaRPr>
            </a:p>
          </p:txBody>
        </p:sp>
        <p:sp>
          <p:nvSpPr>
            <p:cNvPr id="12" name="Oval 49"/>
            <p:cNvSpPr>
              <a:spLocks noChangeAspect="1"/>
            </p:cNvSpPr>
            <p:nvPr/>
          </p:nvSpPr>
          <p:spPr>
            <a:xfrm>
              <a:off x="7896349" y="3369781"/>
              <a:ext cx="633390" cy="6339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en-US" b="1">
                  <a:solidFill>
                    <a:schemeClr val="bg1"/>
                  </a:solidFill>
                  <a:latin typeface="+mj-ea"/>
                  <a:ea typeface="+mj-ea"/>
                </a:rPr>
                <a:t>05</a:t>
              </a:r>
              <a:endParaRPr lang="en-US" b="1">
                <a:solidFill>
                  <a:schemeClr val="bg1"/>
                </a:solidFill>
                <a:latin typeface="+mj-ea"/>
                <a:ea typeface="+mj-ea"/>
              </a:endParaRPr>
            </a:p>
          </p:txBody>
        </p:sp>
        <p:sp>
          <p:nvSpPr>
            <p:cNvPr id="13" name="Oval 51"/>
            <p:cNvSpPr>
              <a:spLocks noChangeAspect="1"/>
            </p:cNvSpPr>
            <p:nvPr/>
          </p:nvSpPr>
          <p:spPr>
            <a:xfrm>
              <a:off x="7202900" y="4674247"/>
              <a:ext cx="823407" cy="824096"/>
            </a:xfrm>
            <a:prstGeom prst="ellipse">
              <a:avLst/>
            </a:prstGeom>
            <a:solidFill>
              <a:schemeClr val="accent6">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bg1">
                    <a:lumMod val="50000"/>
                  </a:schemeClr>
                </a:solidFill>
                <a:latin typeface="+mj-ea"/>
                <a:ea typeface="+mj-ea"/>
              </a:endParaRPr>
            </a:p>
          </p:txBody>
        </p:sp>
        <p:sp>
          <p:nvSpPr>
            <p:cNvPr id="14" name="Oval 52"/>
            <p:cNvSpPr>
              <a:spLocks noChangeAspect="1"/>
            </p:cNvSpPr>
            <p:nvPr/>
          </p:nvSpPr>
          <p:spPr>
            <a:xfrm>
              <a:off x="7297909" y="4769336"/>
              <a:ext cx="633390" cy="63392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en-US" b="1">
                  <a:solidFill>
                    <a:schemeClr val="bg1"/>
                  </a:solidFill>
                  <a:latin typeface="+mj-ea"/>
                  <a:ea typeface="+mj-ea"/>
                </a:rPr>
                <a:t>06</a:t>
              </a:r>
              <a:endParaRPr lang="en-US" b="1">
                <a:solidFill>
                  <a:schemeClr val="bg1"/>
                </a:solidFill>
                <a:latin typeface="+mj-ea"/>
                <a:ea typeface="+mj-ea"/>
              </a:endParaRPr>
            </a:p>
          </p:txBody>
        </p:sp>
        <p:sp>
          <p:nvSpPr>
            <p:cNvPr id="15" name="Oval 54"/>
            <p:cNvSpPr>
              <a:spLocks noChangeAspect="1"/>
            </p:cNvSpPr>
            <p:nvPr/>
          </p:nvSpPr>
          <p:spPr>
            <a:xfrm>
              <a:off x="4167324" y="1880525"/>
              <a:ext cx="823407" cy="824096"/>
            </a:xfrm>
            <a:prstGeom prst="ellipse">
              <a:avLst/>
            </a:prstGeom>
            <a:solidFill>
              <a:schemeClr val="accent3">
                <a:alpha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solidFill>
                  <a:schemeClr val="bg1">
                    <a:lumMod val="50000"/>
                  </a:schemeClr>
                </a:solidFill>
                <a:latin typeface="+mj-ea"/>
                <a:ea typeface="+mj-ea"/>
              </a:endParaRPr>
            </a:p>
          </p:txBody>
        </p:sp>
        <p:sp>
          <p:nvSpPr>
            <p:cNvPr id="16" name="Oval 55"/>
            <p:cNvSpPr>
              <a:spLocks noChangeAspect="1"/>
            </p:cNvSpPr>
            <p:nvPr/>
          </p:nvSpPr>
          <p:spPr>
            <a:xfrm>
              <a:off x="4262331" y="1975614"/>
              <a:ext cx="633390" cy="63392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en-US" b="1">
                  <a:solidFill>
                    <a:schemeClr val="bg1"/>
                  </a:solidFill>
                  <a:latin typeface="+mj-ea"/>
                  <a:ea typeface="+mj-ea"/>
                </a:rPr>
                <a:t>01</a:t>
              </a:r>
              <a:endParaRPr lang="en-US" b="1">
                <a:solidFill>
                  <a:schemeClr val="bg1"/>
                </a:solidFill>
                <a:latin typeface="+mj-ea"/>
                <a:ea typeface="+mj-ea"/>
              </a:endParaRPr>
            </a:p>
          </p:txBody>
        </p:sp>
        <p:sp>
          <p:nvSpPr>
            <p:cNvPr id="17" name="TextBox 57"/>
            <p:cNvSpPr txBox="1"/>
            <p:nvPr/>
          </p:nvSpPr>
          <p:spPr>
            <a:xfrm>
              <a:off x="8239694" y="1920646"/>
              <a:ext cx="3233169" cy="769462"/>
            </a:xfrm>
            <a:prstGeom prst="rect">
              <a:avLst/>
            </a:prstGeom>
            <a:noFill/>
          </p:spPr>
          <p:txBody>
            <a:bodyPr wrap="square" lIns="0" tIns="0" rIns="0" bIns="0">
              <a:normAutofit/>
            </a:bodyPr>
            <a:lstStyle/>
            <a:p>
              <a:pPr>
                <a:lnSpc>
                  <a:spcPct val="120000"/>
                </a:lnSpc>
                <a:defRPr/>
              </a:pPr>
              <a:r>
                <a:rPr lang="zh-CN" altLang="en-US" sz="1100">
                  <a:solidFill>
                    <a:schemeClr val="bg1">
                      <a:lumMod val="50000"/>
                    </a:schemeClr>
                  </a:solidFill>
                  <a:latin typeface="+mj-ea"/>
                  <a:ea typeface="+mj-ea"/>
                </a:rPr>
                <a:t>此部分内容作为文字排版占位显示</a:t>
              </a:r>
              <a:br>
                <a:rPr lang="zh-CN" altLang="en-US" sz="1100">
                  <a:solidFill>
                    <a:schemeClr val="bg1">
                      <a:lumMod val="50000"/>
                    </a:schemeClr>
                  </a:solidFill>
                  <a:latin typeface="+mj-ea"/>
                  <a:ea typeface="+mj-ea"/>
                </a:rPr>
              </a:br>
              <a:r>
                <a:rPr lang="zh-CN" altLang="en-US" sz="1100">
                  <a:solidFill>
                    <a:schemeClr val="bg1">
                      <a:lumMod val="50000"/>
                    </a:schemeClr>
                  </a:solidFill>
                  <a:latin typeface="+mj-ea"/>
                  <a:ea typeface="+mj-ea"/>
                </a:rPr>
                <a:t>（建议使用主题字体）</a:t>
              </a:r>
              <a:endParaRPr lang="zh-CN" altLang="en-US" sz="1100">
                <a:solidFill>
                  <a:schemeClr val="bg1">
                    <a:lumMod val="50000"/>
                  </a:schemeClr>
                </a:solidFill>
                <a:latin typeface="+mj-ea"/>
                <a:ea typeface="+mj-ea"/>
              </a:endParaRPr>
            </a:p>
          </p:txBody>
        </p:sp>
        <p:sp>
          <p:nvSpPr>
            <p:cNvPr id="18" name="TextBox 58"/>
            <p:cNvSpPr txBox="1"/>
            <p:nvPr/>
          </p:nvSpPr>
          <p:spPr>
            <a:xfrm>
              <a:off x="8239695" y="1628801"/>
              <a:ext cx="1231106" cy="246221"/>
            </a:xfrm>
            <a:prstGeom prst="rect">
              <a:avLst/>
            </a:prstGeom>
            <a:noFill/>
          </p:spPr>
          <p:txBody>
            <a:bodyPr wrap="none" lIns="0" tIns="0" rIns="0" bIns="0">
              <a:normAutofit fontScale="92500" lnSpcReduction="20000"/>
            </a:bodyPr>
            <a:lstStyle/>
            <a:p>
              <a:r>
                <a:rPr lang="zh-CN" altLang="en-US" sz="1600" b="1">
                  <a:solidFill>
                    <a:schemeClr val="bg1">
                      <a:lumMod val="50000"/>
                    </a:schemeClr>
                  </a:solidFill>
                  <a:latin typeface="+mj-ea"/>
                  <a:ea typeface="+mj-ea"/>
                </a:rPr>
                <a:t>标题文本预设</a:t>
              </a:r>
              <a:endParaRPr lang="zh-CN" altLang="en-US" sz="1600" b="1">
                <a:solidFill>
                  <a:schemeClr val="bg1">
                    <a:lumMod val="50000"/>
                  </a:schemeClr>
                </a:solidFill>
                <a:latin typeface="+mj-ea"/>
                <a:ea typeface="+mj-ea"/>
              </a:endParaRPr>
            </a:p>
          </p:txBody>
        </p:sp>
        <p:sp>
          <p:nvSpPr>
            <p:cNvPr id="19" name="TextBox 60"/>
            <p:cNvSpPr txBox="1"/>
            <p:nvPr/>
          </p:nvSpPr>
          <p:spPr>
            <a:xfrm>
              <a:off x="8968992" y="3523722"/>
              <a:ext cx="2503871" cy="716181"/>
            </a:xfrm>
            <a:prstGeom prst="rect">
              <a:avLst/>
            </a:prstGeom>
            <a:noFill/>
          </p:spPr>
          <p:txBody>
            <a:bodyPr wrap="square" lIns="0" tIns="0" rIns="0" bIns="0">
              <a:normAutofit fontScale="92500" lnSpcReduction="10000"/>
            </a:bodyPr>
            <a:lstStyle/>
            <a:p>
              <a:pPr>
                <a:lnSpc>
                  <a:spcPct val="120000"/>
                </a:lnSpc>
                <a:defRPr/>
              </a:pPr>
              <a:r>
                <a:rPr lang="zh-CN" altLang="en-US" sz="1100">
                  <a:solidFill>
                    <a:schemeClr val="bg1">
                      <a:lumMod val="50000"/>
                    </a:schemeClr>
                  </a:solidFill>
                  <a:latin typeface="+mj-ea"/>
                  <a:ea typeface="+mj-ea"/>
                </a:rPr>
                <a:t>此部分内容作为文字排版占位显示</a:t>
              </a:r>
              <a:br>
                <a:rPr lang="zh-CN" altLang="en-US" sz="1100">
                  <a:solidFill>
                    <a:schemeClr val="bg1">
                      <a:lumMod val="50000"/>
                    </a:schemeClr>
                  </a:solidFill>
                  <a:latin typeface="+mj-ea"/>
                  <a:ea typeface="+mj-ea"/>
                </a:rPr>
              </a:br>
              <a:r>
                <a:rPr lang="zh-CN" altLang="en-US" sz="1100">
                  <a:solidFill>
                    <a:schemeClr val="bg1">
                      <a:lumMod val="50000"/>
                    </a:schemeClr>
                  </a:solidFill>
                  <a:latin typeface="+mj-ea"/>
                  <a:ea typeface="+mj-ea"/>
                </a:rPr>
                <a:t>（建议使用主题字体）</a:t>
              </a:r>
              <a:endParaRPr lang="zh-CN" altLang="en-US" sz="1100">
                <a:solidFill>
                  <a:schemeClr val="bg1">
                    <a:lumMod val="50000"/>
                  </a:schemeClr>
                </a:solidFill>
                <a:latin typeface="+mj-ea"/>
                <a:ea typeface="+mj-ea"/>
              </a:endParaRPr>
            </a:p>
          </p:txBody>
        </p:sp>
        <p:sp>
          <p:nvSpPr>
            <p:cNvPr id="20" name="TextBox 61"/>
            <p:cNvSpPr txBox="1"/>
            <p:nvPr/>
          </p:nvSpPr>
          <p:spPr>
            <a:xfrm>
              <a:off x="8968992" y="3231878"/>
              <a:ext cx="1231106" cy="246221"/>
            </a:xfrm>
            <a:prstGeom prst="rect">
              <a:avLst/>
            </a:prstGeom>
            <a:noFill/>
          </p:spPr>
          <p:txBody>
            <a:bodyPr wrap="none" lIns="0" tIns="0" rIns="0" bIns="0">
              <a:normAutofit fontScale="92500" lnSpcReduction="20000"/>
            </a:bodyPr>
            <a:lstStyle/>
            <a:p>
              <a:r>
                <a:rPr lang="zh-CN" altLang="en-US" sz="1600" b="1">
                  <a:solidFill>
                    <a:schemeClr val="bg1">
                      <a:lumMod val="50000"/>
                    </a:schemeClr>
                  </a:solidFill>
                  <a:latin typeface="+mj-ea"/>
                  <a:ea typeface="+mj-ea"/>
                </a:rPr>
                <a:t>标题文本预设</a:t>
              </a:r>
              <a:endParaRPr lang="zh-CN" altLang="en-US" sz="1600" b="1">
                <a:solidFill>
                  <a:schemeClr val="bg1">
                    <a:lumMod val="50000"/>
                  </a:schemeClr>
                </a:solidFill>
                <a:latin typeface="+mj-ea"/>
                <a:ea typeface="+mj-ea"/>
              </a:endParaRPr>
            </a:p>
          </p:txBody>
        </p:sp>
        <p:sp>
          <p:nvSpPr>
            <p:cNvPr id="21" name="TextBox 63"/>
            <p:cNvSpPr txBox="1"/>
            <p:nvPr/>
          </p:nvSpPr>
          <p:spPr>
            <a:xfrm>
              <a:off x="8263015" y="5061182"/>
              <a:ext cx="3209848" cy="1055456"/>
            </a:xfrm>
            <a:prstGeom prst="rect">
              <a:avLst/>
            </a:prstGeom>
            <a:noFill/>
          </p:spPr>
          <p:txBody>
            <a:bodyPr wrap="square" lIns="0" tIns="0" rIns="0" bIns="0">
              <a:normAutofit/>
            </a:bodyPr>
            <a:lstStyle/>
            <a:p>
              <a:pPr>
                <a:lnSpc>
                  <a:spcPct val="120000"/>
                </a:lnSpc>
                <a:defRPr/>
              </a:pPr>
              <a:r>
                <a:rPr lang="zh-CN" altLang="en-US" sz="1100">
                  <a:solidFill>
                    <a:schemeClr val="bg1">
                      <a:lumMod val="50000"/>
                    </a:schemeClr>
                  </a:solidFill>
                  <a:latin typeface="+mj-ea"/>
                  <a:ea typeface="+mj-ea"/>
                </a:rPr>
                <a:t>此部分内容作为文字排版占位显示</a:t>
              </a:r>
              <a:br>
                <a:rPr lang="zh-CN" altLang="en-US" sz="1100">
                  <a:solidFill>
                    <a:schemeClr val="bg1">
                      <a:lumMod val="50000"/>
                    </a:schemeClr>
                  </a:solidFill>
                  <a:latin typeface="+mj-ea"/>
                  <a:ea typeface="+mj-ea"/>
                </a:rPr>
              </a:br>
              <a:r>
                <a:rPr lang="zh-CN" altLang="en-US" sz="1100">
                  <a:solidFill>
                    <a:schemeClr val="bg1">
                      <a:lumMod val="50000"/>
                    </a:schemeClr>
                  </a:solidFill>
                  <a:latin typeface="+mj-ea"/>
                  <a:ea typeface="+mj-ea"/>
                </a:rPr>
                <a:t>（建议使用主题字体）</a:t>
              </a:r>
              <a:endParaRPr lang="zh-CN" altLang="en-US" sz="1100">
                <a:solidFill>
                  <a:schemeClr val="bg1">
                    <a:lumMod val="50000"/>
                  </a:schemeClr>
                </a:solidFill>
                <a:latin typeface="+mj-ea"/>
                <a:ea typeface="+mj-ea"/>
              </a:endParaRPr>
            </a:p>
          </p:txBody>
        </p:sp>
        <p:sp>
          <p:nvSpPr>
            <p:cNvPr id="22" name="TextBox 64"/>
            <p:cNvSpPr txBox="1"/>
            <p:nvPr/>
          </p:nvSpPr>
          <p:spPr>
            <a:xfrm>
              <a:off x="8263015" y="4769337"/>
              <a:ext cx="1231106" cy="246221"/>
            </a:xfrm>
            <a:prstGeom prst="rect">
              <a:avLst/>
            </a:prstGeom>
            <a:noFill/>
          </p:spPr>
          <p:txBody>
            <a:bodyPr wrap="none" lIns="0" tIns="0" rIns="0" bIns="0">
              <a:normAutofit fontScale="92500" lnSpcReduction="20000"/>
            </a:bodyPr>
            <a:lstStyle/>
            <a:p>
              <a:r>
                <a:rPr lang="zh-CN" altLang="en-US" sz="1600" b="1">
                  <a:solidFill>
                    <a:schemeClr val="bg1">
                      <a:lumMod val="50000"/>
                    </a:schemeClr>
                  </a:solidFill>
                  <a:latin typeface="+mj-ea"/>
                  <a:ea typeface="+mj-ea"/>
                </a:rPr>
                <a:t>标题文本预设</a:t>
              </a:r>
              <a:endParaRPr lang="zh-CN" altLang="en-US" sz="1600" b="1">
                <a:solidFill>
                  <a:schemeClr val="bg1">
                    <a:lumMod val="50000"/>
                  </a:schemeClr>
                </a:solidFill>
                <a:latin typeface="+mj-ea"/>
                <a:ea typeface="+mj-ea"/>
              </a:endParaRPr>
            </a:p>
          </p:txBody>
        </p:sp>
        <p:sp>
          <p:nvSpPr>
            <p:cNvPr id="23" name="TextBox 66"/>
            <p:cNvSpPr txBox="1"/>
            <p:nvPr/>
          </p:nvSpPr>
          <p:spPr>
            <a:xfrm>
              <a:off x="711509" y="1920645"/>
              <a:ext cx="3229325" cy="778587"/>
            </a:xfrm>
            <a:prstGeom prst="rect">
              <a:avLst/>
            </a:prstGeom>
            <a:noFill/>
          </p:spPr>
          <p:txBody>
            <a:bodyPr wrap="square" lIns="0" tIns="0" rIns="0" bIns="0">
              <a:normAutofit/>
            </a:bodyPr>
            <a:lstStyle/>
            <a:p>
              <a:pPr algn="r">
                <a:lnSpc>
                  <a:spcPct val="120000"/>
                </a:lnSpc>
                <a:defRPr/>
              </a:pPr>
              <a:r>
                <a:rPr lang="zh-CN" altLang="en-US" sz="1100">
                  <a:solidFill>
                    <a:schemeClr val="bg1">
                      <a:lumMod val="50000"/>
                    </a:schemeClr>
                  </a:solidFill>
                  <a:latin typeface="+mj-ea"/>
                  <a:ea typeface="+mj-ea"/>
                </a:rPr>
                <a:t>此部分内容作为文字排版占位显示</a:t>
              </a:r>
              <a:br>
                <a:rPr lang="zh-CN" altLang="en-US" sz="1100">
                  <a:solidFill>
                    <a:schemeClr val="bg1">
                      <a:lumMod val="50000"/>
                    </a:schemeClr>
                  </a:solidFill>
                  <a:latin typeface="+mj-ea"/>
                  <a:ea typeface="+mj-ea"/>
                </a:rPr>
              </a:br>
              <a:r>
                <a:rPr lang="zh-CN" altLang="en-US" sz="1100">
                  <a:solidFill>
                    <a:schemeClr val="bg1">
                      <a:lumMod val="50000"/>
                    </a:schemeClr>
                  </a:solidFill>
                  <a:latin typeface="+mj-ea"/>
                  <a:ea typeface="+mj-ea"/>
                </a:rPr>
                <a:t>（建议使用主题字体）</a:t>
              </a:r>
              <a:endParaRPr lang="zh-CN" altLang="en-US" sz="1100">
                <a:solidFill>
                  <a:schemeClr val="bg1">
                    <a:lumMod val="50000"/>
                  </a:schemeClr>
                </a:solidFill>
                <a:latin typeface="+mj-ea"/>
                <a:ea typeface="+mj-ea"/>
              </a:endParaRPr>
            </a:p>
          </p:txBody>
        </p:sp>
        <p:sp>
          <p:nvSpPr>
            <p:cNvPr id="24" name="TextBox 67"/>
            <p:cNvSpPr txBox="1"/>
            <p:nvPr/>
          </p:nvSpPr>
          <p:spPr>
            <a:xfrm>
              <a:off x="2710224" y="1628801"/>
              <a:ext cx="1231106" cy="246221"/>
            </a:xfrm>
            <a:prstGeom prst="rect">
              <a:avLst/>
            </a:prstGeom>
            <a:noFill/>
          </p:spPr>
          <p:txBody>
            <a:bodyPr wrap="none" lIns="0" tIns="0" rIns="0" bIns="0">
              <a:normAutofit fontScale="92500" lnSpcReduction="20000"/>
            </a:bodyPr>
            <a:lstStyle/>
            <a:p>
              <a:pPr algn="r"/>
              <a:r>
                <a:rPr lang="zh-CN" altLang="en-US" sz="1600" b="1">
                  <a:solidFill>
                    <a:schemeClr val="bg1">
                      <a:lumMod val="50000"/>
                    </a:schemeClr>
                  </a:solidFill>
                  <a:latin typeface="+mj-ea"/>
                  <a:ea typeface="+mj-ea"/>
                </a:rPr>
                <a:t>标题文本预设</a:t>
              </a:r>
              <a:endParaRPr lang="zh-CN" altLang="en-US" sz="1600" b="1">
                <a:solidFill>
                  <a:schemeClr val="bg1">
                    <a:lumMod val="50000"/>
                  </a:schemeClr>
                </a:solidFill>
                <a:latin typeface="+mj-ea"/>
                <a:ea typeface="+mj-ea"/>
              </a:endParaRPr>
            </a:p>
          </p:txBody>
        </p:sp>
        <p:sp>
          <p:nvSpPr>
            <p:cNvPr id="25" name="TextBox 69"/>
            <p:cNvSpPr txBox="1"/>
            <p:nvPr/>
          </p:nvSpPr>
          <p:spPr>
            <a:xfrm>
              <a:off x="719667" y="3523722"/>
              <a:ext cx="2492001" cy="781800"/>
            </a:xfrm>
            <a:prstGeom prst="rect">
              <a:avLst/>
            </a:prstGeom>
            <a:noFill/>
          </p:spPr>
          <p:txBody>
            <a:bodyPr wrap="square" lIns="0" tIns="0" rIns="0" bIns="0">
              <a:normAutofit lnSpcReduction="10000"/>
            </a:bodyPr>
            <a:lstStyle/>
            <a:p>
              <a:pPr algn="r">
                <a:lnSpc>
                  <a:spcPct val="120000"/>
                </a:lnSpc>
                <a:defRPr/>
              </a:pPr>
              <a:r>
                <a:rPr lang="zh-CN" altLang="en-US" sz="1100">
                  <a:solidFill>
                    <a:schemeClr val="bg1">
                      <a:lumMod val="50000"/>
                    </a:schemeClr>
                  </a:solidFill>
                  <a:latin typeface="+mj-ea"/>
                  <a:ea typeface="+mj-ea"/>
                </a:rPr>
                <a:t>此部分内容作为文字排版占位显示</a:t>
              </a:r>
              <a:br>
                <a:rPr lang="zh-CN" altLang="en-US" sz="1100">
                  <a:solidFill>
                    <a:schemeClr val="bg1">
                      <a:lumMod val="50000"/>
                    </a:schemeClr>
                  </a:solidFill>
                  <a:latin typeface="+mj-ea"/>
                  <a:ea typeface="+mj-ea"/>
                </a:rPr>
              </a:br>
              <a:r>
                <a:rPr lang="zh-CN" altLang="en-US" sz="1100">
                  <a:solidFill>
                    <a:schemeClr val="bg1">
                      <a:lumMod val="50000"/>
                    </a:schemeClr>
                  </a:solidFill>
                  <a:latin typeface="+mj-ea"/>
                  <a:ea typeface="+mj-ea"/>
                </a:rPr>
                <a:t>（建议使用主题字体）</a:t>
              </a:r>
              <a:endParaRPr lang="zh-CN" altLang="en-US" sz="1100">
                <a:solidFill>
                  <a:schemeClr val="bg1">
                    <a:lumMod val="50000"/>
                  </a:schemeClr>
                </a:solidFill>
                <a:latin typeface="+mj-ea"/>
                <a:ea typeface="+mj-ea"/>
              </a:endParaRPr>
            </a:p>
          </p:txBody>
        </p:sp>
        <p:sp>
          <p:nvSpPr>
            <p:cNvPr id="26" name="TextBox 70"/>
            <p:cNvSpPr txBox="1"/>
            <p:nvPr/>
          </p:nvSpPr>
          <p:spPr>
            <a:xfrm>
              <a:off x="719667" y="3231878"/>
              <a:ext cx="2492368" cy="283452"/>
            </a:xfrm>
            <a:prstGeom prst="rect">
              <a:avLst/>
            </a:prstGeom>
            <a:noFill/>
          </p:spPr>
          <p:txBody>
            <a:bodyPr wrap="none" lIns="0" tIns="0" rIns="0" bIns="0">
              <a:normAutofit fontScale="92500" lnSpcReduction="10000"/>
            </a:bodyPr>
            <a:lstStyle/>
            <a:p>
              <a:pPr algn="r"/>
              <a:r>
                <a:rPr lang="zh-CN" altLang="en-US" sz="1600" b="1">
                  <a:solidFill>
                    <a:schemeClr val="bg1">
                      <a:lumMod val="50000"/>
                    </a:schemeClr>
                  </a:solidFill>
                  <a:latin typeface="+mj-ea"/>
                  <a:ea typeface="+mj-ea"/>
                </a:rPr>
                <a:t>标题文本预设</a:t>
              </a:r>
              <a:endParaRPr lang="zh-CN" altLang="en-US" sz="1600" b="1">
                <a:solidFill>
                  <a:schemeClr val="bg1">
                    <a:lumMod val="50000"/>
                  </a:schemeClr>
                </a:solidFill>
                <a:latin typeface="+mj-ea"/>
                <a:ea typeface="+mj-ea"/>
              </a:endParaRPr>
            </a:p>
          </p:txBody>
        </p:sp>
        <p:sp>
          <p:nvSpPr>
            <p:cNvPr id="27" name="TextBox 72"/>
            <p:cNvSpPr txBox="1"/>
            <p:nvPr/>
          </p:nvSpPr>
          <p:spPr>
            <a:xfrm>
              <a:off x="719667" y="5061182"/>
              <a:ext cx="3221296" cy="1055456"/>
            </a:xfrm>
            <a:prstGeom prst="rect">
              <a:avLst/>
            </a:prstGeom>
            <a:noFill/>
          </p:spPr>
          <p:txBody>
            <a:bodyPr wrap="square" lIns="0" tIns="0" rIns="0" bIns="0">
              <a:normAutofit/>
            </a:bodyPr>
            <a:lstStyle/>
            <a:p>
              <a:pPr algn="r">
                <a:lnSpc>
                  <a:spcPct val="120000"/>
                </a:lnSpc>
                <a:defRPr/>
              </a:pPr>
              <a:r>
                <a:rPr lang="zh-CN" altLang="en-US" sz="1100">
                  <a:solidFill>
                    <a:schemeClr val="bg1">
                      <a:lumMod val="50000"/>
                    </a:schemeClr>
                  </a:solidFill>
                  <a:latin typeface="+mj-ea"/>
                  <a:ea typeface="+mj-ea"/>
                </a:rPr>
                <a:t>此部分内容作为文字排版占位显示</a:t>
              </a:r>
              <a:br>
                <a:rPr lang="zh-CN" altLang="en-US" sz="1100">
                  <a:solidFill>
                    <a:schemeClr val="bg1">
                      <a:lumMod val="50000"/>
                    </a:schemeClr>
                  </a:solidFill>
                  <a:latin typeface="+mj-ea"/>
                  <a:ea typeface="+mj-ea"/>
                </a:rPr>
              </a:br>
              <a:r>
                <a:rPr lang="zh-CN" altLang="en-US" sz="1100">
                  <a:solidFill>
                    <a:schemeClr val="bg1">
                      <a:lumMod val="50000"/>
                    </a:schemeClr>
                  </a:solidFill>
                  <a:latin typeface="+mj-ea"/>
                  <a:ea typeface="+mj-ea"/>
                </a:rPr>
                <a:t>（建议使用主题字体）</a:t>
              </a:r>
              <a:endParaRPr lang="zh-CN" altLang="en-US" sz="1100">
                <a:solidFill>
                  <a:schemeClr val="bg1">
                    <a:lumMod val="50000"/>
                  </a:schemeClr>
                </a:solidFill>
                <a:latin typeface="+mj-ea"/>
                <a:ea typeface="+mj-ea"/>
              </a:endParaRPr>
            </a:p>
          </p:txBody>
        </p:sp>
        <p:sp>
          <p:nvSpPr>
            <p:cNvPr id="28" name="TextBox 73"/>
            <p:cNvSpPr txBox="1"/>
            <p:nvPr/>
          </p:nvSpPr>
          <p:spPr>
            <a:xfrm>
              <a:off x="2710224" y="4769337"/>
              <a:ext cx="1231106" cy="246221"/>
            </a:xfrm>
            <a:prstGeom prst="rect">
              <a:avLst/>
            </a:prstGeom>
            <a:noFill/>
          </p:spPr>
          <p:txBody>
            <a:bodyPr wrap="none" lIns="0" tIns="0" rIns="0" bIns="0">
              <a:normAutofit fontScale="92500" lnSpcReduction="20000"/>
            </a:bodyPr>
            <a:lstStyle/>
            <a:p>
              <a:pPr algn="r"/>
              <a:r>
                <a:rPr lang="zh-CN" altLang="en-US" sz="1600" b="1">
                  <a:solidFill>
                    <a:schemeClr val="bg1">
                      <a:lumMod val="50000"/>
                    </a:schemeClr>
                  </a:solidFill>
                  <a:latin typeface="+mj-ea"/>
                  <a:ea typeface="+mj-ea"/>
                </a:rPr>
                <a:t>标题文本预设</a:t>
              </a:r>
              <a:endParaRPr lang="zh-CN" altLang="en-US" sz="1600" b="1">
                <a:solidFill>
                  <a:schemeClr val="bg1">
                    <a:lumMod val="50000"/>
                  </a:schemeClr>
                </a:solidFill>
                <a:latin typeface="+mj-ea"/>
                <a:ea typeface="+mj-ea"/>
              </a:endParaRPr>
            </a:p>
          </p:txBody>
        </p:sp>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pSp>
        <p:nvGrpSpPr>
          <p:cNvPr id="2" name="Group 4"/>
          <p:cNvGrpSpPr/>
          <p:nvPr/>
        </p:nvGrpSpPr>
        <p:grpSpPr>
          <a:xfrm>
            <a:off x="2698266" y="1484255"/>
            <a:ext cx="3295439" cy="2738187"/>
            <a:chOff x="4200186" y="2320894"/>
            <a:chExt cx="3791627" cy="3651116"/>
          </a:xfrm>
        </p:grpSpPr>
        <p:sp>
          <p:nvSpPr>
            <p:cNvPr id="7" name="Rounded Rectangle 6"/>
            <p:cNvSpPr/>
            <p:nvPr/>
          </p:nvSpPr>
          <p:spPr>
            <a:xfrm flipH="1">
              <a:off x="4214254" y="4850056"/>
              <a:ext cx="3777559" cy="9144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70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 name="Rounded Rectangle 5"/>
            <p:cNvSpPr/>
            <p:nvPr/>
          </p:nvSpPr>
          <p:spPr>
            <a:xfrm rot="3492391" flipH="1">
              <a:off x="4991307" y="3689252"/>
              <a:ext cx="3651116" cy="91440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70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 name="Rounded Rectangle 3"/>
            <p:cNvSpPr/>
            <p:nvPr/>
          </p:nvSpPr>
          <p:spPr>
            <a:xfrm rot="18107608">
              <a:off x="3556490" y="3689252"/>
              <a:ext cx="3651116" cy="9144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70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Rounded Rectangle 9"/>
            <p:cNvSpPr/>
            <p:nvPr/>
          </p:nvSpPr>
          <p:spPr>
            <a:xfrm flipH="1">
              <a:off x="4200186" y="4850056"/>
              <a:ext cx="1948760" cy="9144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70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Oval 13"/>
            <p:cNvSpPr/>
            <p:nvPr/>
          </p:nvSpPr>
          <p:spPr>
            <a:xfrm>
              <a:off x="5725181" y="2613073"/>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70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 name="Oval 14"/>
            <p:cNvSpPr/>
            <p:nvPr/>
          </p:nvSpPr>
          <p:spPr>
            <a:xfrm>
              <a:off x="4297730" y="4929404"/>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70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 name="Oval 15"/>
            <p:cNvSpPr/>
            <p:nvPr/>
          </p:nvSpPr>
          <p:spPr>
            <a:xfrm>
              <a:off x="7164059" y="4930934"/>
              <a:ext cx="755703" cy="75570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70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Freeform 17"/>
            <p:cNvSpPr>
              <a:spLocks noEditPoints="1"/>
            </p:cNvSpPr>
            <p:nvPr/>
          </p:nvSpPr>
          <p:spPr bwMode="auto">
            <a:xfrm>
              <a:off x="5950368" y="2791506"/>
              <a:ext cx="305327" cy="398835"/>
            </a:xfrm>
            <a:custGeom>
              <a:gdLst>
                <a:gd name="T0" fmla="*/ 60 w 74"/>
                <a:gd name="T1" fmla="*/ 0 h 97"/>
                <a:gd name="T2" fmla="*/ 72 w 74"/>
                <a:gd name="T3" fmla="*/ 11 h 97"/>
                <a:gd name="T4" fmla="*/ 70 w 74"/>
                <a:gd name="T5" fmla="*/ 52 h 97"/>
                <a:gd name="T6" fmla="*/ 63 w 74"/>
                <a:gd name="T7" fmla="*/ 11 h 97"/>
                <a:gd name="T8" fmla="*/ 60 w 74"/>
                <a:gd name="T9" fmla="*/ 8 h 97"/>
                <a:gd name="T10" fmla="*/ 26 w 74"/>
                <a:gd name="T11" fmla="*/ 11 h 97"/>
                <a:gd name="T12" fmla="*/ 26 w 74"/>
                <a:gd name="T13" fmla="*/ 18 h 97"/>
                <a:gd name="T14" fmla="*/ 19 w 74"/>
                <a:gd name="T15" fmla="*/ 24 h 97"/>
                <a:gd name="T16" fmla="*/ 12 w 74"/>
                <a:gd name="T17" fmla="*/ 24 h 97"/>
                <a:gd name="T18" fmla="*/ 8 w 74"/>
                <a:gd name="T19" fmla="*/ 79 h 97"/>
                <a:gd name="T20" fmla="*/ 9 w 74"/>
                <a:gd name="T21" fmla="*/ 81 h 97"/>
                <a:gd name="T22" fmla="*/ 28 w 74"/>
                <a:gd name="T23" fmla="*/ 82 h 97"/>
                <a:gd name="T24" fmla="*/ 37 w 74"/>
                <a:gd name="T25" fmla="*/ 90 h 97"/>
                <a:gd name="T26" fmla="*/ 3 w 74"/>
                <a:gd name="T27" fmla="*/ 87 h 97"/>
                <a:gd name="T28" fmla="*/ 3 w 74"/>
                <a:gd name="T29" fmla="*/ 87 h 97"/>
                <a:gd name="T30" fmla="*/ 0 w 74"/>
                <a:gd name="T31" fmla="*/ 20 h 97"/>
                <a:gd name="T32" fmla="*/ 1 w 74"/>
                <a:gd name="T33" fmla="*/ 17 h 97"/>
                <a:gd name="T34" fmla="*/ 19 w 74"/>
                <a:gd name="T35" fmla="*/ 0 h 97"/>
                <a:gd name="T36" fmla="*/ 17 w 74"/>
                <a:gd name="T37" fmla="*/ 52 h 97"/>
                <a:gd name="T38" fmla="*/ 27 w 74"/>
                <a:gd name="T39" fmla="*/ 56 h 97"/>
                <a:gd name="T40" fmla="*/ 17 w 74"/>
                <a:gd name="T41" fmla="*/ 52 h 97"/>
                <a:gd name="T42" fmla="*/ 17 w 74"/>
                <a:gd name="T43" fmla="*/ 44 h 97"/>
                <a:gd name="T44" fmla="*/ 56 w 74"/>
                <a:gd name="T45" fmla="*/ 40 h 97"/>
                <a:gd name="T46" fmla="*/ 17 w 74"/>
                <a:gd name="T47" fmla="*/ 28 h 97"/>
                <a:gd name="T48" fmla="*/ 56 w 74"/>
                <a:gd name="T49" fmla="*/ 33 h 97"/>
                <a:gd name="T50" fmla="*/ 17 w 74"/>
                <a:gd name="T51" fmla="*/ 28 h 97"/>
                <a:gd name="T52" fmla="*/ 34 w 74"/>
                <a:gd name="T53" fmla="*/ 22 h 97"/>
                <a:gd name="T54" fmla="*/ 56 w 74"/>
                <a:gd name="T55" fmla="*/ 17 h 97"/>
                <a:gd name="T56" fmla="*/ 41 w 74"/>
                <a:gd name="T57" fmla="*/ 69 h 97"/>
                <a:gd name="T58" fmla="*/ 41 w 74"/>
                <a:gd name="T59" fmla="*/ 69 h 97"/>
                <a:gd name="T60" fmla="*/ 31 w 74"/>
                <a:gd name="T61" fmla="*/ 66 h 97"/>
                <a:gd name="T62" fmla="*/ 47 w 74"/>
                <a:gd name="T63" fmla="*/ 86 h 97"/>
                <a:gd name="T64" fmla="*/ 59 w 74"/>
                <a:gd name="T65" fmla="*/ 87 h 97"/>
                <a:gd name="T66" fmla="*/ 71 w 74"/>
                <a:gd name="T67" fmla="*/ 96 h 97"/>
                <a:gd name="T68" fmla="*/ 72 w 74"/>
                <a:gd name="T69" fmla="*/ 90 h 97"/>
                <a:gd name="T70" fmla="*/ 63 w 74"/>
                <a:gd name="T71" fmla="*/ 80 h 97"/>
                <a:gd name="T72" fmla="*/ 64 w 74"/>
                <a:gd name="T73" fmla="*/ 57 h 97"/>
                <a:gd name="T74" fmla="*/ 38 w 74"/>
                <a:gd name="T75" fmla="*/ 54 h 97"/>
                <a:gd name="T76" fmla="*/ 42 w 74"/>
                <a:gd name="T77" fmla="*/ 58 h 97"/>
                <a:gd name="T78" fmla="*/ 40 w 74"/>
                <a:gd name="T79" fmla="*/ 76 h 97"/>
                <a:gd name="T80" fmla="*/ 57 w 74"/>
                <a:gd name="T81" fmla="*/ 78 h 97"/>
                <a:gd name="T82" fmla="*/ 59 w 74"/>
                <a:gd name="T83" fmla="*/ 61 h 97"/>
                <a:gd name="T84" fmla="*/ 21 w 74"/>
                <a:gd name="T85" fmla="*/ 9 h 97"/>
                <a:gd name="T86" fmla="*/ 13 w 74"/>
                <a:gd name="T87" fmla="*/ 19 h 97"/>
                <a:gd name="T88" fmla="*/ 17 w 74"/>
                <a:gd name="T89" fmla="*/ 20 h 97"/>
                <a:gd name="T90" fmla="*/ 18 w 74"/>
                <a:gd name="T91" fmla="*/ 20 h 97"/>
                <a:gd name="T92" fmla="*/ 22 w 74"/>
                <a:gd name="T93" fmla="*/ 17 h 97"/>
                <a:gd name="T94" fmla="*/ 22 w 74"/>
                <a:gd name="T95" fmla="*/ 15 h 97"/>
                <a:gd name="T96" fmla="*/ 21 w 74"/>
                <a:gd name="T97" fmla="*/ 11 h 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4" h="97">
                  <a:moveTo>
                    <a:pt x="21" y="0"/>
                  </a:moveTo>
                  <a:cubicBezTo>
                    <a:pt x="60" y="0"/>
                    <a:pt x="60" y="0"/>
                    <a:pt x="60" y="0"/>
                  </a:cubicBezTo>
                  <a:cubicBezTo>
                    <a:pt x="64" y="0"/>
                    <a:pt x="66" y="1"/>
                    <a:pt x="68" y="3"/>
                  </a:cubicBezTo>
                  <a:cubicBezTo>
                    <a:pt x="70" y="5"/>
                    <a:pt x="72" y="8"/>
                    <a:pt x="72" y="11"/>
                  </a:cubicBezTo>
                  <a:cubicBezTo>
                    <a:pt x="72" y="56"/>
                    <a:pt x="72" y="56"/>
                    <a:pt x="72" y="56"/>
                  </a:cubicBezTo>
                  <a:cubicBezTo>
                    <a:pt x="71" y="55"/>
                    <a:pt x="70" y="53"/>
                    <a:pt x="70" y="52"/>
                  </a:cubicBezTo>
                  <a:cubicBezTo>
                    <a:pt x="68" y="50"/>
                    <a:pt x="66" y="48"/>
                    <a:pt x="63" y="47"/>
                  </a:cubicBezTo>
                  <a:cubicBezTo>
                    <a:pt x="63" y="11"/>
                    <a:pt x="63" y="11"/>
                    <a:pt x="63" y="11"/>
                  </a:cubicBezTo>
                  <a:cubicBezTo>
                    <a:pt x="63" y="10"/>
                    <a:pt x="63" y="9"/>
                    <a:pt x="62" y="9"/>
                  </a:cubicBezTo>
                  <a:cubicBezTo>
                    <a:pt x="62" y="8"/>
                    <a:pt x="61" y="8"/>
                    <a:pt x="60" y="8"/>
                  </a:cubicBezTo>
                  <a:cubicBezTo>
                    <a:pt x="25" y="8"/>
                    <a:pt x="25" y="8"/>
                    <a:pt x="25" y="8"/>
                  </a:cubicBezTo>
                  <a:cubicBezTo>
                    <a:pt x="26" y="11"/>
                    <a:pt x="26" y="11"/>
                    <a:pt x="26" y="11"/>
                  </a:cubicBezTo>
                  <a:cubicBezTo>
                    <a:pt x="26" y="14"/>
                    <a:pt x="26" y="14"/>
                    <a:pt x="26" y="14"/>
                  </a:cubicBezTo>
                  <a:cubicBezTo>
                    <a:pt x="26" y="16"/>
                    <a:pt x="26" y="17"/>
                    <a:pt x="26" y="18"/>
                  </a:cubicBezTo>
                  <a:cubicBezTo>
                    <a:pt x="26" y="19"/>
                    <a:pt x="25" y="21"/>
                    <a:pt x="23" y="22"/>
                  </a:cubicBezTo>
                  <a:cubicBezTo>
                    <a:pt x="22" y="23"/>
                    <a:pt x="21" y="24"/>
                    <a:pt x="19" y="24"/>
                  </a:cubicBezTo>
                  <a:cubicBezTo>
                    <a:pt x="18" y="24"/>
                    <a:pt x="17" y="24"/>
                    <a:pt x="16" y="24"/>
                  </a:cubicBezTo>
                  <a:cubicBezTo>
                    <a:pt x="12" y="24"/>
                    <a:pt x="12" y="24"/>
                    <a:pt x="12" y="24"/>
                  </a:cubicBezTo>
                  <a:cubicBezTo>
                    <a:pt x="8" y="23"/>
                    <a:pt x="8" y="23"/>
                    <a:pt x="8" y="23"/>
                  </a:cubicBezTo>
                  <a:cubicBezTo>
                    <a:pt x="8" y="79"/>
                    <a:pt x="8" y="79"/>
                    <a:pt x="8" y="79"/>
                  </a:cubicBezTo>
                  <a:cubicBezTo>
                    <a:pt x="8" y="80"/>
                    <a:pt x="9" y="80"/>
                    <a:pt x="9" y="81"/>
                  </a:cubicBezTo>
                  <a:cubicBezTo>
                    <a:pt x="9" y="81"/>
                    <a:pt x="9" y="81"/>
                    <a:pt x="9" y="81"/>
                  </a:cubicBezTo>
                  <a:cubicBezTo>
                    <a:pt x="10" y="81"/>
                    <a:pt x="10" y="82"/>
                    <a:pt x="11" y="82"/>
                  </a:cubicBezTo>
                  <a:cubicBezTo>
                    <a:pt x="28" y="82"/>
                    <a:pt x="28" y="82"/>
                    <a:pt x="28" y="82"/>
                  </a:cubicBezTo>
                  <a:cubicBezTo>
                    <a:pt x="28" y="82"/>
                    <a:pt x="29" y="83"/>
                    <a:pt x="29" y="84"/>
                  </a:cubicBezTo>
                  <a:cubicBezTo>
                    <a:pt x="31" y="86"/>
                    <a:pt x="34" y="88"/>
                    <a:pt x="37" y="90"/>
                  </a:cubicBezTo>
                  <a:cubicBezTo>
                    <a:pt x="11" y="90"/>
                    <a:pt x="11" y="90"/>
                    <a:pt x="11" y="90"/>
                  </a:cubicBezTo>
                  <a:cubicBezTo>
                    <a:pt x="8" y="90"/>
                    <a:pt x="5" y="89"/>
                    <a:pt x="3" y="87"/>
                  </a:cubicBezTo>
                  <a:cubicBezTo>
                    <a:pt x="3" y="87"/>
                    <a:pt x="3" y="87"/>
                    <a:pt x="3" y="87"/>
                  </a:cubicBezTo>
                  <a:cubicBezTo>
                    <a:pt x="3" y="87"/>
                    <a:pt x="3" y="87"/>
                    <a:pt x="3" y="87"/>
                  </a:cubicBezTo>
                  <a:cubicBezTo>
                    <a:pt x="1" y="85"/>
                    <a:pt x="0" y="82"/>
                    <a:pt x="0" y="79"/>
                  </a:cubicBezTo>
                  <a:cubicBezTo>
                    <a:pt x="0" y="20"/>
                    <a:pt x="0" y="20"/>
                    <a:pt x="0" y="20"/>
                  </a:cubicBezTo>
                  <a:cubicBezTo>
                    <a:pt x="0" y="18"/>
                    <a:pt x="0" y="18"/>
                    <a:pt x="0" y="18"/>
                  </a:cubicBezTo>
                  <a:cubicBezTo>
                    <a:pt x="1" y="17"/>
                    <a:pt x="1" y="17"/>
                    <a:pt x="1" y="17"/>
                  </a:cubicBezTo>
                  <a:cubicBezTo>
                    <a:pt x="18" y="1"/>
                    <a:pt x="18" y="1"/>
                    <a:pt x="18" y="1"/>
                  </a:cubicBezTo>
                  <a:cubicBezTo>
                    <a:pt x="19" y="0"/>
                    <a:pt x="19" y="0"/>
                    <a:pt x="19" y="0"/>
                  </a:cubicBezTo>
                  <a:cubicBezTo>
                    <a:pt x="21" y="0"/>
                    <a:pt x="21" y="0"/>
                    <a:pt x="21" y="0"/>
                  </a:cubicBezTo>
                  <a:close/>
                  <a:moveTo>
                    <a:pt x="17" y="52"/>
                  </a:moveTo>
                  <a:cubicBezTo>
                    <a:pt x="17" y="56"/>
                    <a:pt x="17" y="56"/>
                    <a:pt x="17" y="56"/>
                  </a:cubicBezTo>
                  <a:cubicBezTo>
                    <a:pt x="27" y="56"/>
                    <a:pt x="27" y="56"/>
                    <a:pt x="27" y="56"/>
                  </a:cubicBezTo>
                  <a:cubicBezTo>
                    <a:pt x="27" y="52"/>
                    <a:pt x="27" y="52"/>
                    <a:pt x="27" y="52"/>
                  </a:cubicBezTo>
                  <a:cubicBezTo>
                    <a:pt x="17" y="52"/>
                    <a:pt x="17" y="52"/>
                    <a:pt x="17" y="52"/>
                  </a:cubicBezTo>
                  <a:close/>
                  <a:moveTo>
                    <a:pt x="17" y="40"/>
                  </a:moveTo>
                  <a:cubicBezTo>
                    <a:pt x="17" y="44"/>
                    <a:pt x="17" y="44"/>
                    <a:pt x="17" y="44"/>
                  </a:cubicBezTo>
                  <a:cubicBezTo>
                    <a:pt x="56" y="44"/>
                    <a:pt x="56" y="44"/>
                    <a:pt x="56" y="44"/>
                  </a:cubicBezTo>
                  <a:cubicBezTo>
                    <a:pt x="56" y="40"/>
                    <a:pt x="56" y="40"/>
                    <a:pt x="56" y="40"/>
                  </a:cubicBezTo>
                  <a:cubicBezTo>
                    <a:pt x="17" y="40"/>
                    <a:pt x="17" y="40"/>
                    <a:pt x="17" y="40"/>
                  </a:cubicBezTo>
                  <a:close/>
                  <a:moveTo>
                    <a:pt x="17" y="28"/>
                  </a:moveTo>
                  <a:cubicBezTo>
                    <a:pt x="17" y="33"/>
                    <a:pt x="17" y="33"/>
                    <a:pt x="17" y="33"/>
                  </a:cubicBezTo>
                  <a:cubicBezTo>
                    <a:pt x="56" y="33"/>
                    <a:pt x="56" y="33"/>
                    <a:pt x="56" y="33"/>
                  </a:cubicBezTo>
                  <a:cubicBezTo>
                    <a:pt x="56" y="28"/>
                    <a:pt x="56" y="28"/>
                    <a:pt x="56" y="28"/>
                  </a:cubicBezTo>
                  <a:cubicBezTo>
                    <a:pt x="17" y="28"/>
                    <a:pt x="17" y="28"/>
                    <a:pt x="17" y="28"/>
                  </a:cubicBezTo>
                  <a:close/>
                  <a:moveTo>
                    <a:pt x="34" y="17"/>
                  </a:moveTo>
                  <a:cubicBezTo>
                    <a:pt x="34" y="22"/>
                    <a:pt x="34" y="22"/>
                    <a:pt x="34" y="22"/>
                  </a:cubicBezTo>
                  <a:cubicBezTo>
                    <a:pt x="56" y="22"/>
                    <a:pt x="56" y="22"/>
                    <a:pt x="56" y="22"/>
                  </a:cubicBezTo>
                  <a:cubicBezTo>
                    <a:pt x="56" y="17"/>
                    <a:pt x="56" y="17"/>
                    <a:pt x="56" y="17"/>
                  </a:cubicBezTo>
                  <a:cubicBezTo>
                    <a:pt x="34" y="17"/>
                    <a:pt x="34" y="17"/>
                    <a:pt x="34" y="17"/>
                  </a:cubicBezTo>
                  <a:close/>
                  <a:moveTo>
                    <a:pt x="41" y="69"/>
                  </a:moveTo>
                  <a:cubicBezTo>
                    <a:pt x="43" y="64"/>
                    <a:pt x="48" y="61"/>
                    <a:pt x="55" y="60"/>
                  </a:cubicBezTo>
                  <a:cubicBezTo>
                    <a:pt x="48" y="56"/>
                    <a:pt x="39" y="62"/>
                    <a:pt x="41" y="69"/>
                  </a:cubicBezTo>
                  <a:close/>
                  <a:moveTo>
                    <a:pt x="38" y="54"/>
                  </a:moveTo>
                  <a:cubicBezTo>
                    <a:pt x="34" y="57"/>
                    <a:pt x="32" y="61"/>
                    <a:pt x="31" y="66"/>
                  </a:cubicBezTo>
                  <a:cubicBezTo>
                    <a:pt x="31" y="70"/>
                    <a:pt x="32" y="75"/>
                    <a:pt x="35" y="79"/>
                  </a:cubicBezTo>
                  <a:cubicBezTo>
                    <a:pt x="38" y="83"/>
                    <a:pt x="43" y="86"/>
                    <a:pt x="47" y="86"/>
                  </a:cubicBezTo>
                  <a:cubicBezTo>
                    <a:pt x="51" y="87"/>
                    <a:pt x="55" y="86"/>
                    <a:pt x="58" y="84"/>
                  </a:cubicBezTo>
                  <a:cubicBezTo>
                    <a:pt x="58" y="85"/>
                    <a:pt x="58" y="86"/>
                    <a:pt x="59" y="87"/>
                  </a:cubicBezTo>
                  <a:cubicBezTo>
                    <a:pt x="65" y="95"/>
                    <a:pt x="65" y="95"/>
                    <a:pt x="65" y="95"/>
                  </a:cubicBezTo>
                  <a:cubicBezTo>
                    <a:pt x="67" y="97"/>
                    <a:pt x="69" y="97"/>
                    <a:pt x="71" y="96"/>
                  </a:cubicBezTo>
                  <a:cubicBezTo>
                    <a:pt x="71" y="96"/>
                    <a:pt x="71" y="96"/>
                    <a:pt x="71" y="96"/>
                  </a:cubicBezTo>
                  <a:cubicBezTo>
                    <a:pt x="73" y="94"/>
                    <a:pt x="74" y="91"/>
                    <a:pt x="72" y="90"/>
                  </a:cubicBezTo>
                  <a:cubicBezTo>
                    <a:pt x="66" y="82"/>
                    <a:pt x="66" y="82"/>
                    <a:pt x="66" y="82"/>
                  </a:cubicBezTo>
                  <a:cubicBezTo>
                    <a:pt x="65" y="81"/>
                    <a:pt x="64" y="80"/>
                    <a:pt x="63" y="80"/>
                  </a:cubicBezTo>
                  <a:cubicBezTo>
                    <a:pt x="66" y="77"/>
                    <a:pt x="67" y="74"/>
                    <a:pt x="68" y="70"/>
                  </a:cubicBezTo>
                  <a:cubicBezTo>
                    <a:pt x="68" y="66"/>
                    <a:pt x="67" y="61"/>
                    <a:pt x="64" y="57"/>
                  </a:cubicBezTo>
                  <a:cubicBezTo>
                    <a:pt x="61" y="53"/>
                    <a:pt x="56" y="50"/>
                    <a:pt x="52" y="50"/>
                  </a:cubicBezTo>
                  <a:cubicBezTo>
                    <a:pt x="47" y="49"/>
                    <a:pt x="42" y="50"/>
                    <a:pt x="38" y="54"/>
                  </a:cubicBezTo>
                  <a:close/>
                  <a:moveTo>
                    <a:pt x="51" y="56"/>
                  </a:moveTo>
                  <a:cubicBezTo>
                    <a:pt x="48" y="56"/>
                    <a:pt x="45" y="56"/>
                    <a:pt x="42" y="58"/>
                  </a:cubicBezTo>
                  <a:cubicBezTo>
                    <a:pt x="39" y="61"/>
                    <a:pt x="38" y="63"/>
                    <a:pt x="37" y="67"/>
                  </a:cubicBezTo>
                  <a:cubicBezTo>
                    <a:pt x="37" y="70"/>
                    <a:pt x="38" y="73"/>
                    <a:pt x="40" y="76"/>
                  </a:cubicBezTo>
                  <a:cubicBezTo>
                    <a:pt x="42" y="78"/>
                    <a:pt x="45" y="80"/>
                    <a:pt x="48" y="80"/>
                  </a:cubicBezTo>
                  <a:cubicBezTo>
                    <a:pt x="51" y="80"/>
                    <a:pt x="54" y="80"/>
                    <a:pt x="57" y="78"/>
                  </a:cubicBezTo>
                  <a:cubicBezTo>
                    <a:pt x="60" y="76"/>
                    <a:pt x="61" y="73"/>
                    <a:pt x="61" y="69"/>
                  </a:cubicBezTo>
                  <a:cubicBezTo>
                    <a:pt x="62" y="66"/>
                    <a:pt x="61" y="63"/>
                    <a:pt x="59" y="61"/>
                  </a:cubicBezTo>
                  <a:cubicBezTo>
                    <a:pt x="57" y="58"/>
                    <a:pt x="54" y="56"/>
                    <a:pt x="51" y="56"/>
                  </a:cubicBezTo>
                  <a:close/>
                  <a:moveTo>
                    <a:pt x="21" y="9"/>
                  </a:moveTo>
                  <a:cubicBezTo>
                    <a:pt x="11" y="19"/>
                    <a:pt x="11" y="19"/>
                    <a:pt x="11" y="19"/>
                  </a:cubicBezTo>
                  <a:cubicBezTo>
                    <a:pt x="13" y="19"/>
                    <a:pt x="13" y="19"/>
                    <a:pt x="13" y="19"/>
                  </a:cubicBezTo>
                  <a:cubicBezTo>
                    <a:pt x="17" y="20"/>
                    <a:pt x="17" y="20"/>
                    <a:pt x="17" y="20"/>
                  </a:cubicBezTo>
                  <a:cubicBezTo>
                    <a:pt x="17" y="20"/>
                    <a:pt x="17" y="20"/>
                    <a:pt x="17" y="20"/>
                  </a:cubicBezTo>
                  <a:cubicBezTo>
                    <a:pt x="17" y="20"/>
                    <a:pt x="17" y="20"/>
                    <a:pt x="17" y="20"/>
                  </a:cubicBezTo>
                  <a:cubicBezTo>
                    <a:pt x="17" y="20"/>
                    <a:pt x="18" y="20"/>
                    <a:pt x="18" y="20"/>
                  </a:cubicBezTo>
                  <a:cubicBezTo>
                    <a:pt x="19" y="20"/>
                    <a:pt x="20" y="19"/>
                    <a:pt x="21" y="19"/>
                  </a:cubicBezTo>
                  <a:cubicBezTo>
                    <a:pt x="21" y="18"/>
                    <a:pt x="22" y="17"/>
                    <a:pt x="22" y="17"/>
                  </a:cubicBezTo>
                  <a:cubicBezTo>
                    <a:pt x="22" y="16"/>
                    <a:pt x="22" y="16"/>
                    <a:pt x="22" y="15"/>
                  </a:cubicBezTo>
                  <a:cubicBezTo>
                    <a:pt x="22" y="15"/>
                    <a:pt x="22" y="15"/>
                    <a:pt x="22" y="15"/>
                  </a:cubicBezTo>
                  <a:cubicBezTo>
                    <a:pt x="22" y="15"/>
                    <a:pt x="22" y="15"/>
                    <a:pt x="22" y="15"/>
                  </a:cubicBezTo>
                  <a:cubicBezTo>
                    <a:pt x="21" y="11"/>
                    <a:pt x="21" y="11"/>
                    <a:pt x="21" y="11"/>
                  </a:cubicBezTo>
                  <a:lnTo>
                    <a:pt x="21" y="9"/>
                  </a:lnTo>
                  <a:close/>
                </a:path>
              </a:pathLst>
            </a:custGeom>
            <a:solidFill>
              <a:schemeClr val="accent1"/>
            </a:solidFill>
            <a:ln>
              <a:noFill/>
            </a:ln>
          </p:spPr>
          <p:txBody>
            <a:bodyPr vert="horz" wrap="square" lIns="96430" tIns="48216" rIns="96430" bIns="48216"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zh-CN" altLang="en-US" sz="70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9" name="Freeform 18"/>
            <p:cNvSpPr>
              <a:spLocks noEditPoints="1"/>
            </p:cNvSpPr>
            <p:nvPr/>
          </p:nvSpPr>
          <p:spPr bwMode="auto">
            <a:xfrm>
              <a:off x="4537230" y="5088755"/>
              <a:ext cx="276702" cy="437000"/>
            </a:xfrm>
            <a:custGeom>
              <a:gdLst>
                <a:gd name="T0" fmla="*/ 57 w 67"/>
                <a:gd name="T1" fmla="*/ 10 h 106"/>
                <a:gd name="T2" fmla="*/ 62 w 67"/>
                <a:gd name="T3" fmla="*/ 51 h 106"/>
                <a:gd name="T4" fmla="*/ 51 w 67"/>
                <a:gd name="T5" fmla="*/ 66 h 106"/>
                <a:gd name="T6" fmla="*/ 55 w 67"/>
                <a:gd name="T7" fmla="*/ 65 h 106"/>
                <a:gd name="T8" fmla="*/ 57 w 67"/>
                <a:gd name="T9" fmla="*/ 73 h 106"/>
                <a:gd name="T10" fmla="*/ 56 w 67"/>
                <a:gd name="T11" fmla="*/ 80 h 106"/>
                <a:gd name="T12" fmla="*/ 57 w 67"/>
                <a:gd name="T13" fmla="*/ 86 h 106"/>
                <a:gd name="T14" fmla="*/ 55 w 67"/>
                <a:gd name="T15" fmla="*/ 93 h 106"/>
                <a:gd name="T16" fmla="*/ 15 w 67"/>
                <a:gd name="T17" fmla="*/ 97 h 106"/>
                <a:gd name="T18" fmla="*/ 12 w 67"/>
                <a:gd name="T19" fmla="*/ 95 h 106"/>
                <a:gd name="T20" fmla="*/ 12 w 67"/>
                <a:gd name="T21" fmla="*/ 83 h 106"/>
                <a:gd name="T22" fmla="*/ 12 w 67"/>
                <a:gd name="T23" fmla="*/ 82 h 106"/>
                <a:gd name="T24" fmla="*/ 12 w 67"/>
                <a:gd name="T25" fmla="*/ 71 h 106"/>
                <a:gd name="T26" fmla="*/ 15 w 67"/>
                <a:gd name="T27" fmla="*/ 69 h 106"/>
                <a:gd name="T28" fmla="*/ 16 w 67"/>
                <a:gd name="T29" fmla="*/ 63 h 106"/>
                <a:gd name="T30" fmla="*/ 0 w 67"/>
                <a:gd name="T31" fmla="*/ 34 h 106"/>
                <a:gd name="T32" fmla="*/ 33 w 67"/>
                <a:gd name="T33" fmla="*/ 0 h 106"/>
                <a:gd name="T34" fmla="*/ 28 w 67"/>
                <a:gd name="T35" fmla="*/ 41 h 106"/>
                <a:gd name="T36" fmla="*/ 30 w 67"/>
                <a:gd name="T37" fmla="*/ 39 h 106"/>
                <a:gd name="T38" fmla="*/ 33 w 67"/>
                <a:gd name="T39" fmla="*/ 41 h 106"/>
                <a:gd name="T40" fmla="*/ 36 w 67"/>
                <a:gd name="T41" fmla="*/ 39 h 106"/>
                <a:gd name="T42" fmla="*/ 39 w 67"/>
                <a:gd name="T43" fmla="*/ 41 h 106"/>
                <a:gd name="T44" fmla="*/ 43 w 67"/>
                <a:gd name="T45" fmla="*/ 38 h 106"/>
                <a:gd name="T46" fmla="*/ 39 w 67"/>
                <a:gd name="T47" fmla="*/ 52 h 106"/>
                <a:gd name="T48" fmla="*/ 44 w 67"/>
                <a:gd name="T49" fmla="*/ 66 h 106"/>
                <a:gd name="T50" fmla="*/ 44 w 67"/>
                <a:gd name="T51" fmla="*/ 58 h 106"/>
                <a:gd name="T52" fmla="*/ 56 w 67"/>
                <a:gd name="T53" fmla="*/ 47 h 106"/>
                <a:gd name="T54" fmla="*/ 52 w 67"/>
                <a:gd name="T55" fmla="*/ 15 h 106"/>
                <a:gd name="T56" fmla="*/ 15 w 67"/>
                <a:gd name="T57" fmla="*/ 15 h 106"/>
                <a:gd name="T58" fmla="*/ 11 w 67"/>
                <a:gd name="T59" fmla="*/ 48 h 106"/>
                <a:gd name="T60" fmla="*/ 23 w 67"/>
                <a:gd name="T61" fmla="*/ 59 h 106"/>
                <a:gd name="T62" fmla="*/ 23 w 67"/>
                <a:gd name="T63" fmla="*/ 67 h 106"/>
                <a:gd name="T64" fmla="*/ 29 w 67"/>
                <a:gd name="T65" fmla="*/ 52 h 106"/>
                <a:gd name="T66" fmla="*/ 25 w 67"/>
                <a:gd name="T67" fmla="*/ 38 h 106"/>
                <a:gd name="T68" fmla="*/ 40 w 67"/>
                <a:gd name="T69" fmla="*/ 43 h 106"/>
                <a:gd name="T70" fmla="*/ 36 w 67"/>
                <a:gd name="T71" fmla="*/ 42 h 106"/>
                <a:gd name="T72" fmla="*/ 30 w 67"/>
                <a:gd name="T73" fmla="*/ 42 h 106"/>
                <a:gd name="T74" fmla="*/ 27 w 67"/>
                <a:gd name="T75" fmla="*/ 42 h 106"/>
                <a:gd name="T76" fmla="*/ 32 w 67"/>
                <a:gd name="T77" fmla="*/ 51 h 106"/>
                <a:gd name="T78" fmla="*/ 32 w 67"/>
                <a:gd name="T79" fmla="*/ 67 h 106"/>
                <a:gd name="T80" fmla="*/ 35 w 67"/>
                <a:gd name="T81" fmla="*/ 51 h 106"/>
                <a:gd name="T82" fmla="*/ 35 w 67"/>
                <a:gd name="T83" fmla="*/ 50 h 106"/>
                <a:gd name="T84" fmla="*/ 43 w 67"/>
                <a:gd name="T85" fmla="*/ 96 h 106"/>
                <a:gd name="T86" fmla="*/ 34 w 67"/>
                <a:gd name="T87" fmla="*/ 106 h 106"/>
                <a:gd name="T88" fmla="*/ 43 w 67"/>
                <a:gd name="T89" fmla="*/ 96 h 106"/>
                <a:gd name="T90" fmla="*/ 17 w 67"/>
                <a:gd name="T91" fmla="*/ 88 h 106"/>
                <a:gd name="T92" fmla="*/ 17 w 67"/>
                <a:gd name="T93" fmla="*/ 90 h 106"/>
                <a:gd name="T94" fmla="*/ 50 w 67"/>
                <a:gd name="T95" fmla="*/ 86 h 106"/>
                <a:gd name="T96" fmla="*/ 50 w 67"/>
                <a:gd name="T97" fmla="*/ 73 h 106"/>
                <a:gd name="T98" fmla="*/ 17 w 67"/>
                <a:gd name="T99" fmla="*/ 77 h 106"/>
                <a:gd name="T100" fmla="*/ 50 w 67"/>
                <a:gd name="T101" fmla="*/ 74 h 106"/>
                <a:gd name="T102" fmla="*/ 50 w 67"/>
                <a:gd name="T103" fmla="*/ 73 h 10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05">
                  <a:moveTo>
                    <a:pt x="33" y="0"/>
                  </a:moveTo>
                  <a:cubicBezTo>
                    <a:pt x="43" y="0"/>
                    <a:pt x="51" y="4"/>
                    <a:pt x="57" y="10"/>
                  </a:cubicBezTo>
                  <a:cubicBezTo>
                    <a:pt x="63" y="16"/>
                    <a:pt x="67" y="25"/>
                    <a:pt x="67" y="34"/>
                  </a:cubicBezTo>
                  <a:cubicBezTo>
                    <a:pt x="67" y="40"/>
                    <a:pt x="65" y="46"/>
                    <a:pt x="62" y="51"/>
                  </a:cubicBezTo>
                  <a:cubicBezTo>
                    <a:pt x="59" y="56"/>
                    <a:pt x="56" y="59"/>
                    <a:pt x="51" y="62"/>
                  </a:cubicBezTo>
                  <a:cubicBezTo>
                    <a:pt x="51" y="66"/>
                    <a:pt x="51" y="66"/>
                    <a:pt x="51" y="66"/>
                  </a:cubicBezTo>
                  <a:cubicBezTo>
                    <a:pt x="53" y="66"/>
                    <a:pt x="53" y="66"/>
                    <a:pt x="53" y="66"/>
                  </a:cubicBezTo>
                  <a:cubicBezTo>
                    <a:pt x="55" y="65"/>
                    <a:pt x="55" y="65"/>
                    <a:pt x="55" y="65"/>
                  </a:cubicBezTo>
                  <a:cubicBezTo>
                    <a:pt x="56" y="68"/>
                    <a:pt x="56" y="68"/>
                    <a:pt x="56" y="68"/>
                  </a:cubicBezTo>
                  <a:cubicBezTo>
                    <a:pt x="57" y="70"/>
                    <a:pt x="57" y="72"/>
                    <a:pt x="57" y="73"/>
                  </a:cubicBezTo>
                  <a:cubicBezTo>
                    <a:pt x="57" y="75"/>
                    <a:pt x="57" y="77"/>
                    <a:pt x="56" y="79"/>
                  </a:cubicBezTo>
                  <a:cubicBezTo>
                    <a:pt x="56" y="80"/>
                    <a:pt x="56" y="80"/>
                    <a:pt x="56" y="80"/>
                  </a:cubicBezTo>
                  <a:cubicBezTo>
                    <a:pt x="56" y="80"/>
                    <a:pt x="56" y="80"/>
                    <a:pt x="56" y="80"/>
                  </a:cubicBezTo>
                  <a:cubicBezTo>
                    <a:pt x="57" y="82"/>
                    <a:pt x="57" y="84"/>
                    <a:pt x="57" y="86"/>
                  </a:cubicBezTo>
                  <a:cubicBezTo>
                    <a:pt x="57" y="88"/>
                    <a:pt x="57" y="90"/>
                    <a:pt x="56" y="92"/>
                  </a:cubicBezTo>
                  <a:cubicBezTo>
                    <a:pt x="55" y="93"/>
                    <a:pt x="55" y="93"/>
                    <a:pt x="55" y="93"/>
                  </a:cubicBezTo>
                  <a:cubicBezTo>
                    <a:pt x="53" y="94"/>
                    <a:pt x="53" y="94"/>
                    <a:pt x="53" y="94"/>
                  </a:cubicBezTo>
                  <a:cubicBezTo>
                    <a:pt x="15" y="97"/>
                    <a:pt x="15" y="97"/>
                    <a:pt x="15" y="97"/>
                  </a:cubicBezTo>
                  <a:cubicBezTo>
                    <a:pt x="13" y="97"/>
                    <a:pt x="13" y="97"/>
                    <a:pt x="13" y="97"/>
                  </a:cubicBezTo>
                  <a:cubicBezTo>
                    <a:pt x="12" y="95"/>
                    <a:pt x="12" y="95"/>
                    <a:pt x="12" y="95"/>
                  </a:cubicBezTo>
                  <a:cubicBezTo>
                    <a:pt x="11" y="93"/>
                    <a:pt x="11" y="91"/>
                    <a:pt x="10" y="90"/>
                  </a:cubicBezTo>
                  <a:cubicBezTo>
                    <a:pt x="10" y="88"/>
                    <a:pt x="11" y="86"/>
                    <a:pt x="12" y="83"/>
                  </a:cubicBezTo>
                  <a:cubicBezTo>
                    <a:pt x="12" y="83"/>
                    <a:pt x="12" y="83"/>
                    <a:pt x="12" y="83"/>
                  </a:cubicBezTo>
                  <a:cubicBezTo>
                    <a:pt x="12" y="82"/>
                    <a:pt x="12" y="82"/>
                    <a:pt x="12" y="82"/>
                  </a:cubicBezTo>
                  <a:cubicBezTo>
                    <a:pt x="11" y="81"/>
                    <a:pt x="11" y="79"/>
                    <a:pt x="10" y="77"/>
                  </a:cubicBezTo>
                  <a:cubicBezTo>
                    <a:pt x="10" y="75"/>
                    <a:pt x="11" y="73"/>
                    <a:pt x="12" y="71"/>
                  </a:cubicBezTo>
                  <a:cubicBezTo>
                    <a:pt x="13" y="69"/>
                    <a:pt x="13" y="69"/>
                    <a:pt x="13" y="69"/>
                  </a:cubicBezTo>
                  <a:cubicBezTo>
                    <a:pt x="15" y="69"/>
                    <a:pt x="15" y="69"/>
                    <a:pt x="15" y="69"/>
                  </a:cubicBezTo>
                  <a:cubicBezTo>
                    <a:pt x="16" y="69"/>
                    <a:pt x="16" y="69"/>
                    <a:pt x="16" y="69"/>
                  </a:cubicBezTo>
                  <a:cubicBezTo>
                    <a:pt x="16" y="63"/>
                    <a:pt x="16" y="63"/>
                    <a:pt x="16" y="63"/>
                  </a:cubicBezTo>
                  <a:cubicBezTo>
                    <a:pt x="11" y="60"/>
                    <a:pt x="7" y="56"/>
                    <a:pt x="5" y="51"/>
                  </a:cubicBezTo>
                  <a:cubicBezTo>
                    <a:pt x="2" y="46"/>
                    <a:pt x="0" y="40"/>
                    <a:pt x="0" y="34"/>
                  </a:cubicBezTo>
                  <a:cubicBezTo>
                    <a:pt x="0" y="25"/>
                    <a:pt x="4" y="16"/>
                    <a:pt x="10" y="10"/>
                  </a:cubicBezTo>
                  <a:cubicBezTo>
                    <a:pt x="16" y="4"/>
                    <a:pt x="24" y="0"/>
                    <a:pt x="33" y="0"/>
                  </a:cubicBezTo>
                  <a:close/>
                  <a:moveTo>
                    <a:pt x="26" y="40"/>
                  </a:moveTo>
                  <a:cubicBezTo>
                    <a:pt x="27" y="41"/>
                    <a:pt x="27" y="41"/>
                    <a:pt x="28" y="41"/>
                  </a:cubicBezTo>
                  <a:cubicBezTo>
                    <a:pt x="28" y="41"/>
                    <a:pt x="29" y="41"/>
                    <a:pt x="30" y="40"/>
                  </a:cubicBezTo>
                  <a:cubicBezTo>
                    <a:pt x="30" y="39"/>
                    <a:pt x="30" y="39"/>
                    <a:pt x="30" y="39"/>
                  </a:cubicBezTo>
                  <a:cubicBezTo>
                    <a:pt x="31" y="40"/>
                    <a:pt x="31" y="40"/>
                    <a:pt x="31" y="40"/>
                  </a:cubicBezTo>
                  <a:cubicBezTo>
                    <a:pt x="32" y="41"/>
                    <a:pt x="32" y="41"/>
                    <a:pt x="33" y="41"/>
                  </a:cubicBezTo>
                  <a:cubicBezTo>
                    <a:pt x="34" y="41"/>
                    <a:pt x="35" y="41"/>
                    <a:pt x="35" y="40"/>
                  </a:cubicBezTo>
                  <a:cubicBezTo>
                    <a:pt x="36" y="39"/>
                    <a:pt x="36" y="39"/>
                    <a:pt x="36" y="39"/>
                  </a:cubicBezTo>
                  <a:cubicBezTo>
                    <a:pt x="36" y="40"/>
                    <a:pt x="36" y="40"/>
                    <a:pt x="36" y="40"/>
                  </a:cubicBezTo>
                  <a:cubicBezTo>
                    <a:pt x="37" y="41"/>
                    <a:pt x="38" y="41"/>
                    <a:pt x="39" y="41"/>
                  </a:cubicBezTo>
                  <a:cubicBezTo>
                    <a:pt x="40" y="41"/>
                    <a:pt x="41" y="41"/>
                    <a:pt x="42" y="40"/>
                  </a:cubicBezTo>
                  <a:cubicBezTo>
                    <a:pt x="43" y="38"/>
                    <a:pt x="43" y="38"/>
                    <a:pt x="43" y="38"/>
                  </a:cubicBezTo>
                  <a:cubicBezTo>
                    <a:pt x="46" y="40"/>
                    <a:pt x="46" y="40"/>
                    <a:pt x="46" y="40"/>
                  </a:cubicBezTo>
                  <a:cubicBezTo>
                    <a:pt x="39" y="52"/>
                    <a:pt x="39" y="52"/>
                    <a:pt x="39" y="52"/>
                  </a:cubicBezTo>
                  <a:cubicBezTo>
                    <a:pt x="39" y="67"/>
                    <a:pt x="39" y="67"/>
                    <a:pt x="39" y="67"/>
                  </a:cubicBezTo>
                  <a:cubicBezTo>
                    <a:pt x="44" y="66"/>
                    <a:pt x="44" y="66"/>
                    <a:pt x="44" y="66"/>
                  </a:cubicBezTo>
                  <a:cubicBezTo>
                    <a:pt x="44" y="60"/>
                    <a:pt x="44" y="60"/>
                    <a:pt x="44" y="60"/>
                  </a:cubicBezTo>
                  <a:cubicBezTo>
                    <a:pt x="44" y="58"/>
                    <a:pt x="44" y="58"/>
                    <a:pt x="44" y="58"/>
                  </a:cubicBezTo>
                  <a:cubicBezTo>
                    <a:pt x="46" y="57"/>
                    <a:pt x="46" y="57"/>
                    <a:pt x="46" y="57"/>
                  </a:cubicBezTo>
                  <a:cubicBezTo>
                    <a:pt x="50" y="55"/>
                    <a:pt x="54" y="52"/>
                    <a:pt x="56" y="47"/>
                  </a:cubicBezTo>
                  <a:cubicBezTo>
                    <a:pt x="59" y="44"/>
                    <a:pt x="60" y="39"/>
                    <a:pt x="60" y="34"/>
                  </a:cubicBezTo>
                  <a:cubicBezTo>
                    <a:pt x="60" y="27"/>
                    <a:pt x="57" y="20"/>
                    <a:pt x="52" y="15"/>
                  </a:cubicBezTo>
                  <a:cubicBezTo>
                    <a:pt x="47" y="10"/>
                    <a:pt x="41" y="7"/>
                    <a:pt x="33" y="7"/>
                  </a:cubicBezTo>
                  <a:cubicBezTo>
                    <a:pt x="26" y="7"/>
                    <a:pt x="19" y="10"/>
                    <a:pt x="15" y="15"/>
                  </a:cubicBezTo>
                  <a:cubicBezTo>
                    <a:pt x="10" y="20"/>
                    <a:pt x="7" y="27"/>
                    <a:pt x="7" y="34"/>
                  </a:cubicBezTo>
                  <a:cubicBezTo>
                    <a:pt x="7" y="39"/>
                    <a:pt x="8" y="44"/>
                    <a:pt x="11" y="48"/>
                  </a:cubicBezTo>
                  <a:cubicBezTo>
                    <a:pt x="13" y="52"/>
                    <a:pt x="17" y="55"/>
                    <a:pt x="21" y="58"/>
                  </a:cubicBezTo>
                  <a:cubicBezTo>
                    <a:pt x="23" y="59"/>
                    <a:pt x="23" y="59"/>
                    <a:pt x="23" y="59"/>
                  </a:cubicBezTo>
                  <a:cubicBezTo>
                    <a:pt x="23" y="61"/>
                    <a:pt x="23" y="61"/>
                    <a:pt x="23" y="61"/>
                  </a:cubicBezTo>
                  <a:cubicBezTo>
                    <a:pt x="23" y="67"/>
                    <a:pt x="23" y="67"/>
                    <a:pt x="23" y="67"/>
                  </a:cubicBezTo>
                  <a:cubicBezTo>
                    <a:pt x="29" y="67"/>
                    <a:pt x="29" y="67"/>
                    <a:pt x="29" y="67"/>
                  </a:cubicBezTo>
                  <a:cubicBezTo>
                    <a:pt x="29" y="52"/>
                    <a:pt x="29" y="52"/>
                    <a:pt x="29" y="52"/>
                  </a:cubicBezTo>
                  <a:cubicBezTo>
                    <a:pt x="22" y="40"/>
                    <a:pt x="22" y="40"/>
                    <a:pt x="22" y="40"/>
                  </a:cubicBezTo>
                  <a:cubicBezTo>
                    <a:pt x="25" y="38"/>
                    <a:pt x="25" y="38"/>
                    <a:pt x="25" y="38"/>
                  </a:cubicBezTo>
                  <a:cubicBezTo>
                    <a:pt x="26" y="40"/>
                    <a:pt x="26" y="40"/>
                    <a:pt x="26" y="40"/>
                  </a:cubicBezTo>
                  <a:close/>
                  <a:moveTo>
                    <a:pt x="40" y="43"/>
                  </a:moveTo>
                  <a:cubicBezTo>
                    <a:pt x="40" y="43"/>
                    <a:pt x="40" y="43"/>
                    <a:pt x="39" y="43"/>
                  </a:cubicBezTo>
                  <a:cubicBezTo>
                    <a:pt x="38" y="43"/>
                    <a:pt x="37" y="43"/>
                    <a:pt x="36" y="42"/>
                  </a:cubicBezTo>
                  <a:cubicBezTo>
                    <a:pt x="35" y="42"/>
                    <a:pt x="34" y="43"/>
                    <a:pt x="33" y="43"/>
                  </a:cubicBezTo>
                  <a:cubicBezTo>
                    <a:pt x="32" y="43"/>
                    <a:pt x="31" y="42"/>
                    <a:pt x="30" y="42"/>
                  </a:cubicBezTo>
                  <a:cubicBezTo>
                    <a:pt x="29" y="42"/>
                    <a:pt x="28" y="43"/>
                    <a:pt x="28" y="43"/>
                  </a:cubicBezTo>
                  <a:cubicBezTo>
                    <a:pt x="27" y="43"/>
                    <a:pt x="27" y="43"/>
                    <a:pt x="27" y="42"/>
                  </a:cubicBezTo>
                  <a:cubicBezTo>
                    <a:pt x="32" y="50"/>
                    <a:pt x="32" y="50"/>
                    <a:pt x="32" y="50"/>
                  </a:cubicBezTo>
                  <a:cubicBezTo>
                    <a:pt x="32" y="51"/>
                    <a:pt x="32" y="51"/>
                    <a:pt x="32" y="51"/>
                  </a:cubicBezTo>
                  <a:cubicBezTo>
                    <a:pt x="32" y="51"/>
                    <a:pt x="32" y="51"/>
                    <a:pt x="32" y="51"/>
                  </a:cubicBezTo>
                  <a:cubicBezTo>
                    <a:pt x="32" y="67"/>
                    <a:pt x="32" y="67"/>
                    <a:pt x="32" y="67"/>
                  </a:cubicBezTo>
                  <a:cubicBezTo>
                    <a:pt x="35" y="67"/>
                    <a:pt x="35" y="67"/>
                    <a:pt x="35" y="67"/>
                  </a:cubicBezTo>
                  <a:cubicBezTo>
                    <a:pt x="35" y="51"/>
                    <a:pt x="35" y="51"/>
                    <a:pt x="35" y="51"/>
                  </a:cubicBezTo>
                  <a:cubicBezTo>
                    <a:pt x="35" y="51"/>
                    <a:pt x="35" y="51"/>
                    <a:pt x="35" y="51"/>
                  </a:cubicBezTo>
                  <a:cubicBezTo>
                    <a:pt x="35" y="50"/>
                    <a:pt x="35" y="50"/>
                    <a:pt x="35" y="50"/>
                  </a:cubicBezTo>
                  <a:cubicBezTo>
                    <a:pt x="40" y="43"/>
                    <a:pt x="40" y="43"/>
                    <a:pt x="40" y="43"/>
                  </a:cubicBezTo>
                  <a:close/>
                  <a:moveTo>
                    <a:pt x="43" y="96"/>
                  </a:moveTo>
                  <a:cubicBezTo>
                    <a:pt x="24" y="98"/>
                    <a:pt x="24" y="98"/>
                    <a:pt x="24" y="98"/>
                  </a:cubicBezTo>
                  <a:cubicBezTo>
                    <a:pt x="25" y="103"/>
                    <a:pt x="29" y="106"/>
                    <a:pt x="34" y="106"/>
                  </a:cubicBezTo>
                  <a:cubicBezTo>
                    <a:pt x="39" y="106"/>
                    <a:pt x="43" y="102"/>
                    <a:pt x="43" y="97"/>
                  </a:cubicBezTo>
                  <a:cubicBezTo>
                    <a:pt x="43" y="97"/>
                    <a:pt x="43" y="97"/>
                    <a:pt x="43" y="96"/>
                  </a:cubicBezTo>
                  <a:close/>
                  <a:moveTo>
                    <a:pt x="50" y="85"/>
                  </a:moveTo>
                  <a:cubicBezTo>
                    <a:pt x="17" y="88"/>
                    <a:pt x="17" y="88"/>
                    <a:pt x="17" y="88"/>
                  </a:cubicBezTo>
                  <a:cubicBezTo>
                    <a:pt x="17" y="89"/>
                    <a:pt x="17" y="89"/>
                    <a:pt x="17" y="89"/>
                  </a:cubicBezTo>
                  <a:cubicBezTo>
                    <a:pt x="17" y="89"/>
                    <a:pt x="17" y="90"/>
                    <a:pt x="17" y="90"/>
                  </a:cubicBezTo>
                  <a:cubicBezTo>
                    <a:pt x="50" y="87"/>
                    <a:pt x="50" y="87"/>
                    <a:pt x="50" y="87"/>
                  </a:cubicBezTo>
                  <a:cubicBezTo>
                    <a:pt x="50" y="87"/>
                    <a:pt x="50" y="86"/>
                    <a:pt x="50" y="86"/>
                  </a:cubicBezTo>
                  <a:cubicBezTo>
                    <a:pt x="50" y="86"/>
                    <a:pt x="50" y="86"/>
                    <a:pt x="50" y="85"/>
                  </a:cubicBezTo>
                  <a:close/>
                  <a:moveTo>
                    <a:pt x="50" y="73"/>
                  </a:moveTo>
                  <a:cubicBezTo>
                    <a:pt x="17" y="76"/>
                    <a:pt x="17" y="76"/>
                    <a:pt x="17" y="76"/>
                  </a:cubicBezTo>
                  <a:cubicBezTo>
                    <a:pt x="17" y="76"/>
                    <a:pt x="17" y="76"/>
                    <a:pt x="17" y="77"/>
                  </a:cubicBezTo>
                  <a:cubicBezTo>
                    <a:pt x="17" y="77"/>
                    <a:pt x="17" y="77"/>
                    <a:pt x="17" y="77"/>
                  </a:cubicBezTo>
                  <a:cubicBezTo>
                    <a:pt x="50" y="74"/>
                    <a:pt x="50" y="74"/>
                    <a:pt x="50" y="74"/>
                  </a:cubicBezTo>
                  <a:cubicBezTo>
                    <a:pt x="50" y="74"/>
                    <a:pt x="50" y="74"/>
                    <a:pt x="50" y="73"/>
                  </a:cubicBezTo>
                  <a:cubicBezTo>
                    <a:pt x="50" y="73"/>
                    <a:pt x="50" y="73"/>
                    <a:pt x="50" y="73"/>
                  </a:cubicBezTo>
                  <a:close/>
                </a:path>
              </a:pathLst>
            </a:custGeom>
            <a:solidFill>
              <a:schemeClr val="accent3"/>
            </a:solidFill>
            <a:ln>
              <a:noFill/>
            </a:ln>
          </p:spPr>
          <p:txBody>
            <a:bodyPr vert="horz" wrap="square" lIns="96430" tIns="48216" rIns="96430" bIns="48216"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zh-CN" altLang="en-US" sz="70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 name="Freeform 19"/>
            <p:cNvSpPr>
              <a:spLocks noEditPoints="1"/>
            </p:cNvSpPr>
            <p:nvPr/>
          </p:nvSpPr>
          <p:spPr bwMode="auto">
            <a:xfrm>
              <a:off x="7348218" y="5147991"/>
              <a:ext cx="387383" cy="332044"/>
            </a:xfrm>
            <a:custGeom>
              <a:gdLst>
                <a:gd name="T0" fmla="*/ 4 w 94"/>
                <a:gd name="T1" fmla="*/ 19 h 81"/>
                <a:gd name="T2" fmla="*/ 46 w 94"/>
                <a:gd name="T3" fmla="*/ 19 h 81"/>
                <a:gd name="T4" fmla="*/ 50 w 94"/>
                <a:gd name="T5" fmla="*/ 16 h 81"/>
                <a:gd name="T6" fmla="*/ 73 w 94"/>
                <a:gd name="T7" fmla="*/ 0 h 81"/>
                <a:gd name="T8" fmla="*/ 73 w 94"/>
                <a:gd name="T9" fmla="*/ 33 h 81"/>
                <a:gd name="T10" fmla="*/ 73 w 94"/>
                <a:gd name="T11" fmla="*/ 66 h 81"/>
                <a:gd name="T12" fmla="*/ 50 w 94"/>
                <a:gd name="T13" fmla="*/ 49 h 81"/>
                <a:gd name="T14" fmla="*/ 46 w 94"/>
                <a:gd name="T15" fmla="*/ 47 h 81"/>
                <a:gd name="T16" fmla="*/ 33 w 94"/>
                <a:gd name="T17" fmla="*/ 47 h 81"/>
                <a:gd name="T18" fmla="*/ 40 w 94"/>
                <a:gd name="T19" fmla="*/ 70 h 81"/>
                <a:gd name="T20" fmla="*/ 45 w 94"/>
                <a:gd name="T21" fmla="*/ 70 h 81"/>
                <a:gd name="T22" fmla="*/ 45 w 94"/>
                <a:gd name="T23" fmla="*/ 81 h 81"/>
                <a:gd name="T24" fmla="*/ 43 w 94"/>
                <a:gd name="T25" fmla="*/ 81 h 81"/>
                <a:gd name="T26" fmla="*/ 21 w 94"/>
                <a:gd name="T27" fmla="*/ 81 h 81"/>
                <a:gd name="T28" fmla="*/ 11 w 94"/>
                <a:gd name="T29" fmla="*/ 47 h 81"/>
                <a:gd name="T30" fmla="*/ 4 w 94"/>
                <a:gd name="T31" fmla="*/ 47 h 81"/>
                <a:gd name="T32" fmla="*/ 4 w 94"/>
                <a:gd name="T33" fmla="*/ 19 h 81"/>
                <a:gd name="T34" fmla="*/ 87 w 94"/>
                <a:gd name="T35" fmla="*/ 23 h 81"/>
                <a:gd name="T36" fmla="*/ 94 w 94"/>
                <a:gd name="T37" fmla="*/ 33 h 81"/>
                <a:gd name="T38" fmla="*/ 87 w 94"/>
                <a:gd name="T39" fmla="*/ 43 h 81"/>
                <a:gd name="T40" fmla="*/ 87 w 94"/>
                <a:gd name="T41" fmla="*/ 66 h 81"/>
                <a:gd name="T42" fmla="*/ 78 w 94"/>
                <a:gd name="T43" fmla="*/ 66 h 81"/>
                <a:gd name="T44" fmla="*/ 78 w 94"/>
                <a:gd name="T45" fmla="*/ 0 h 81"/>
                <a:gd name="T46" fmla="*/ 87 w 94"/>
                <a:gd name="T47" fmla="*/ 0 h 81"/>
                <a:gd name="T48" fmla="*/ 87 w 94"/>
                <a:gd name="T49" fmla="*/ 23 h 81"/>
                <a:gd name="T50" fmla="*/ 46 w 94"/>
                <a:gd name="T51" fmla="*/ 49 h 81"/>
                <a:gd name="T52" fmla="*/ 37 w 94"/>
                <a:gd name="T53" fmla="*/ 49 h 81"/>
                <a:gd name="T54" fmla="*/ 40 w 94"/>
                <a:gd name="T55" fmla="*/ 61 h 81"/>
                <a:gd name="T56" fmla="*/ 43 w 94"/>
                <a:gd name="T57" fmla="*/ 61 h 81"/>
                <a:gd name="T58" fmla="*/ 43 w 94"/>
                <a:gd name="T59" fmla="*/ 57 h 81"/>
                <a:gd name="T60" fmla="*/ 46 w 94"/>
                <a:gd name="T61" fmla="*/ 49 h 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4" h="81">
                  <a:moveTo>
                    <a:pt x="4" y="19"/>
                  </a:moveTo>
                  <a:cubicBezTo>
                    <a:pt x="46" y="19"/>
                    <a:pt x="46" y="19"/>
                    <a:pt x="46" y="19"/>
                  </a:cubicBezTo>
                  <a:cubicBezTo>
                    <a:pt x="50" y="16"/>
                    <a:pt x="50" y="16"/>
                    <a:pt x="50" y="16"/>
                  </a:cubicBezTo>
                  <a:cubicBezTo>
                    <a:pt x="73" y="0"/>
                    <a:pt x="73" y="0"/>
                    <a:pt x="73" y="0"/>
                  </a:cubicBezTo>
                  <a:cubicBezTo>
                    <a:pt x="73" y="33"/>
                    <a:pt x="73" y="33"/>
                    <a:pt x="73" y="33"/>
                  </a:cubicBezTo>
                  <a:cubicBezTo>
                    <a:pt x="73" y="66"/>
                    <a:pt x="73" y="66"/>
                    <a:pt x="73" y="66"/>
                  </a:cubicBezTo>
                  <a:cubicBezTo>
                    <a:pt x="50" y="49"/>
                    <a:pt x="50" y="49"/>
                    <a:pt x="50" y="49"/>
                  </a:cubicBezTo>
                  <a:cubicBezTo>
                    <a:pt x="46" y="47"/>
                    <a:pt x="46" y="47"/>
                    <a:pt x="46" y="47"/>
                  </a:cubicBezTo>
                  <a:cubicBezTo>
                    <a:pt x="33" y="47"/>
                    <a:pt x="33" y="47"/>
                    <a:pt x="33" y="47"/>
                  </a:cubicBezTo>
                  <a:cubicBezTo>
                    <a:pt x="40" y="70"/>
                    <a:pt x="40" y="70"/>
                    <a:pt x="40" y="70"/>
                  </a:cubicBezTo>
                  <a:cubicBezTo>
                    <a:pt x="45" y="70"/>
                    <a:pt x="45" y="70"/>
                    <a:pt x="45" y="70"/>
                  </a:cubicBezTo>
                  <a:cubicBezTo>
                    <a:pt x="45" y="81"/>
                    <a:pt x="45" y="81"/>
                    <a:pt x="45" y="81"/>
                  </a:cubicBezTo>
                  <a:cubicBezTo>
                    <a:pt x="43" y="81"/>
                    <a:pt x="43" y="81"/>
                    <a:pt x="43" y="81"/>
                  </a:cubicBezTo>
                  <a:cubicBezTo>
                    <a:pt x="21" y="81"/>
                    <a:pt x="21" y="81"/>
                    <a:pt x="21" y="81"/>
                  </a:cubicBezTo>
                  <a:cubicBezTo>
                    <a:pt x="11" y="47"/>
                    <a:pt x="11" y="47"/>
                    <a:pt x="11" y="47"/>
                  </a:cubicBezTo>
                  <a:cubicBezTo>
                    <a:pt x="4" y="47"/>
                    <a:pt x="4" y="47"/>
                    <a:pt x="4" y="47"/>
                  </a:cubicBezTo>
                  <a:cubicBezTo>
                    <a:pt x="0" y="37"/>
                    <a:pt x="0" y="28"/>
                    <a:pt x="4" y="19"/>
                  </a:cubicBezTo>
                  <a:close/>
                  <a:moveTo>
                    <a:pt x="87" y="23"/>
                  </a:moveTo>
                  <a:cubicBezTo>
                    <a:pt x="91" y="24"/>
                    <a:pt x="94" y="28"/>
                    <a:pt x="94" y="33"/>
                  </a:cubicBezTo>
                  <a:cubicBezTo>
                    <a:pt x="94" y="38"/>
                    <a:pt x="91" y="42"/>
                    <a:pt x="87" y="43"/>
                  </a:cubicBezTo>
                  <a:cubicBezTo>
                    <a:pt x="87" y="66"/>
                    <a:pt x="87" y="66"/>
                    <a:pt x="87" y="66"/>
                  </a:cubicBezTo>
                  <a:cubicBezTo>
                    <a:pt x="78" y="66"/>
                    <a:pt x="78" y="66"/>
                    <a:pt x="78" y="66"/>
                  </a:cubicBezTo>
                  <a:cubicBezTo>
                    <a:pt x="78" y="0"/>
                    <a:pt x="78" y="0"/>
                    <a:pt x="78" y="0"/>
                  </a:cubicBezTo>
                  <a:cubicBezTo>
                    <a:pt x="87" y="0"/>
                    <a:pt x="87" y="0"/>
                    <a:pt x="87" y="0"/>
                  </a:cubicBezTo>
                  <a:cubicBezTo>
                    <a:pt x="87" y="23"/>
                    <a:pt x="87" y="23"/>
                    <a:pt x="87" y="23"/>
                  </a:cubicBezTo>
                  <a:close/>
                  <a:moveTo>
                    <a:pt x="46" y="49"/>
                  </a:moveTo>
                  <a:cubicBezTo>
                    <a:pt x="37" y="49"/>
                    <a:pt x="37" y="49"/>
                    <a:pt x="37" y="49"/>
                  </a:cubicBezTo>
                  <a:cubicBezTo>
                    <a:pt x="40" y="61"/>
                    <a:pt x="40" y="61"/>
                    <a:pt x="40" y="61"/>
                  </a:cubicBezTo>
                  <a:cubicBezTo>
                    <a:pt x="43" y="61"/>
                    <a:pt x="43" y="61"/>
                    <a:pt x="43" y="61"/>
                  </a:cubicBezTo>
                  <a:cubicBezTo>
                    <a:pt x="43" y="57"/>
                    <a:pt x="43" y="57"/>
                    <a:pt x="43" y="57"/>
                  </a:cubicBezTo>
                  <a:lnTo>
                    <a:pt x="46" y="49"/>
                  </a:lnTo>
                  <a:close/>
                </a:path>
              </a:pathLst>
            </a:custGeom>
            <a:solidFill>
              <a:schemeClr val="accent2"/>
            </a:solidFill>
            <a:ln>
              <a:noFill/>
            </a:ln>
          </p:spPr>
          <p:txBody>
            <a:bodyPr vert="horz" wrap="square" lIns="96430" tIns="48216" rIns="96430" bIns="48216"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20000"/>
                </a:lnSpc>
              </a:pPr>
              <a:endParaRPr lang="zh-CN" altLang="en-US" sz="700">
                <a:solidFill>
                  <a:prstClr val="black"/>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 name="Group 23"/>
          <p:cNvGrpSpPr/>
          <p:nvPr/>
        </p:nvGrpSpPr>
        <p:grpSpPr>
          <a:xfrm>
            <a:off x="6150939" y="3298305"/>
            <a:ext cx="2021461" cy="652722"/>
            <a:chOff x="8512415" y="2327890"/>
            <a:chExt cx="3256083" cy="870343"/>
          </a:xfrm>
        </p:grpSpPr>
        <p:sp>
          <p:nvSpPr>
            <p:cNvPr id="25" name="TextBox 24"/>
            <p:cNvSpPr txBox="1"/>
            <p:nvPr/>
          </p:nvSpPr>
          <p:spPr>
            <a:xfrm>
              <a:off x="8512415" y="2327890"/>
              <a:ext cx="1951008" cy="615586"/>
            </a:xfrm>
            <a:prstGeom prst="rect">
              <a:avLst/>
            </a:prstGeom>
            <a:noFill/>
          </p:spPr>
          <p:txBody>
            <a:bodyPr wrap="square" rtlCol="0">
              <a:spAutoFit/>
            </a:bodyPr>
            <a:lstStyle/>
            <a:p>
              <a:pPr>
                <a:lnSpc>
                  <a:spcPct val="120000"/>
                </a:lnSpc>
              </a:pPr>
              <a:r>
                <a:rPr lang="zh-CN" altLang="en-US" sz="10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rPr>
                <a:t>请替换文字内容</a:t>
              </a:r>
              <a:endParaRPr lang="en-GB" sz="10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Rectangle 25"/>
            <p:cNvSpPr/>
            <p:nvPr/>
          </p:nvSpPr>
          <p:spPr>
            <a:xfrm>
              <a:off x="8512415" y="2631893"/>
              <a:ext cx="3256083" cy="566340"/>
            </a:xfrm>
            <a:prstGeom prst="rect">
              <a:avLst/>
            </a:prstGeom>
          </p:spPr>
          <p:txBody>
            <a:bodyPr wrap="square">
              <a:spAutoFit/>
            </a:bodyPr>
            <a:lstStyle/>
            <a:p>
              <a:pPr algn="just">
                <a:lnSpc>
                  <a:spcPct val="120000"/>
                </a:lnSpc>
              </a:pPr>
              <a:r>
                <a:rPr lang="en-US" altLang="zh-CN" sz="6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GB" altLang="zh-CN" sz="6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5" name="Group 26"/>
          <p:cNvGrpSpPr/>
          <p:nvPr/>
        </p:nvGrpSpPr>
        <p:grpSpPr>
          <a:xfrm flipH="1">
            <a:off x="1979711" y="1419622"/>
            <a:ext cx="1949935" cy="652721"/>
            <a:chOff x="8512415" y="2327889"/>
            <a:chExt cx="3256083" cy="870342"/>
          </a:xfrm>
        </p:grpSpPr>
        <p:sp>
          <p:nvSpPr>
            <p:cNvPr id="28" name="TextBox 27"/>
            <p:cNvSpPr txBox="1"/>
            <p:nvPr/>
          </p:nvSpPr>
          <p:spPr>
            <a:xfrm>
              <a:off x="8519746" y="2327889"/>
              <a:ext cx="2035173" cy="615587"/>
            </a:xfrm>
            <a:prstGeom prst="rect">
              <a:avLst/>
            </a:prstGeom>
            <a:noFill/>
          </p:spPr>
          <p:txBody>
            <a:bodyPr wrap="square" rtlCol="0">
              <a:spAutoFit/>
            </a:bodyPr>
            <a:lstStyle/>
            <a:p>
              <a:pPr algn="r">
                <a:lnSpc>
                  <a:spcPct val="120000"/>
                </a:lnSpc>
              </a:pPr>
              <a:r>
                <a:rPr lang="zh-CN" altLang="en-US" sz="10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rPr>
                <a:t>请替换文字内容</a:t>
              </a:r>
              <a:endParaRPr lang="en-GB" sz="10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9" name="Rectangle 28"/>
            <p:cNvSpPr/>
            <p:nvPr/>
          </p:nvSpPr>
          <p:spPr>
            <a:xfrm>
              <a:off x="8512415" y="2631891"/>
              <a:ext cx="3256083" cy="566340"/>
            </a:xfrm>
            <a:prstGeom prst="rect">
              <a:avLst/>
            </a:prstGeom>
          </p:spPr>
          <p:txBody>
            <a:bodyPr wrap="square">
              <a:spAutoFit/>
            </a:bodyPr>
            <a:lstStyle/>
            <a:p>
              <a:pPr algn="r">
                <a:lnSpc>
                  <a:spcPct val="120000"/>
                </a:lnSpc>
              </a:pPr>
              <a:r>
                <a:rPr lang="en-US" altLang="zh-CN" sz="6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GB" altLang="zh-CN" sz="6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8" name="Group 30"/>
          <p:cNvGrpSpPr/>
          <p:nvPr/>
        </p:nvGrpSpPr>
        <p:grpSpPr>
          <a:xfrm flipH="1">
            <a:off x="1078066" y="3417668"/>
            <a:ext cx="1949935" cy="652721"/>
            <a:chOff x="8512415" y="2327889"/>
            <a:chExt cx="3256083" cy="870342"/>
          </a:xfrm>
        </p:grpSpPr>
        <p:sp>
          <p:nvSpPr>
            <p:cNvPr id="32" name="TextBox 31"/>
            <p:cNvSpPr txBox="1"/>
            <p:nvPr/>
          </p:nvSpPr>
          <p:spPr>
            <a:xfrm>
              <a:off x="8519742" y="2327889"/>
              <a:ext cx="2256792" cy="369352"/>
            </a:xfrm>
            <a:prstGeom prst="rect">
              <a:avLst/>
            </a:prstGeom>
            <a:noFill/>
          </p:spPr>
          <p:txBody>
            <a:bodyPr wrap="square" rtlCol="0">
              <a:spAutoFit/>
            </a:bodyPr>
            <a:lstStyle/>
            <a:p>
              <a:pPr algn="r">
                <a:lnSpc>
                  <a:spcPct val="120000"/>
                </a:lnSpc>
              </a:pPr>
              <a:r>
                <a:rPr lang="zh-CN" altLang="en-US" sz="10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rPr>
                <a:t>请替换文字内容</a:t>
              </a:r>
              <a:endParaRPr lang="en-GB" sz="10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3" name="Rectangle 32"/>
            <p:cNvSpPr/>
            <p:nvPr/>
          </p:nvSpPr>
          <p:spPr>
            <a:xfrm>
              <a:off x="8512415" y="2631891"/>
              <a:ext cx="3256083" cy="566340"/>
            </a:xfrm>
            <a:prstGeom prst="rect">
              <a:avLst/>
            </a:prstGeom>
          </p:spPr>
          <p:txBody>
            <a:bodyPr wrap="square">
              <a:spAutoFit/>
            </a:bodyPr>
            <a:lstStyle/>
            <a:p>
              <a:pPr algn="r">
                <a:lnSpc>
                  <a:spcPct val="120000"/>
                </a:lnSpc>
              </a:pPr>
              <a:r>
                <a:rPr lang="en-US" altLang="zh-CN" sz="6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rPr>
                <a:t>Please replace text, click add relevant headline, modify the text content, also can copy your content to this directly.</a:t>
              </a:r>
              <a:endParaRPr lang="en-GB" altLang="zh-CN" sz="600">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10"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nodeType="afterGroup">
                            <p:stCondLst>
                              <p:cond delay="1500"/>
                            </p:stCondLst>
                            <p:childTnLst>
                              <p:par>
                                <p:cTn id="15" presetID="10" presetClass="entr" presetSubtype="0"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par>
                          <p:cTn id="18" fill="hold" nodeType="afterGroup">
                            <p:stCondLst>
                              <p:cond delay="2000"/>
                            </p:stCondLst>
                            <p:childTnLst>
                              <p:par>
                                <p:cTn id="19" presetID="10" presetClass="entr" presetSubtype="0"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1" name="矩形 10"/>
          <p:cNvSpPr>
            <a:spLocks noChangeArrowheads="1"/>
          </p:cNvSpPr>
          <p:nvPr/>
        </p:nvSpPr>
        <p:spPr bwMode="auto">
          <a:xfrm>
            <a:off x="571574" y="1210585"/>
            <a:ext cx="3349665" cy="1623637"/>
          </a:xfrm>
          <a:prstGeom prst="rect">
            <a:avLst/>
          </a:prstGeom>
          <a:blipFill dpi="0" rotWithShape="1">
            <a:blip r:embed="rId3">
              <a:extLst>
                <a:ext uri="{28A0092B-C50C-407E-A947-70E740481C1C}">
                  <a14:useLocalDpi xmlns:a14="http://schemas.microsoft.com/office/drawing/2010/main" val="0"/>
                </a:ext>
              </a:extLst>
            </a:blip>
            <a:stretch>
              <a:fillRect/>
            </a:stretch>
          </a:blip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sp>
        <p:nvSpPr>
          <p:cNvPr id="12" name="矩形 11"/>
          <p:cNvSpPr>
            <a:spLocks noChangeArrowheads="1"/>
          </p:cNvSpPr>
          <p:nvPr/>
        </p:nvSpPr>
        <p:spPr bwMode="auto">
          <a:xfrm>
            <a:off x="571575" y="2927070"/>
            <a:ext cx="1394404" cy="1624827"/>
          </a:xfrm>
          <a:prstGeom prst="rect">
            <a:avLst/>
          </a:prstGeom>
          <a:blipFill dpi="0" rotWithShape="1">
            <a:blip r:embed="rId4">
              <a:extLst>
                <a:ext uri="{28A0092B-C50C-407E-A947-70E740481C1C}">
                  <a14:useLocalDpi xmlns:a14="http://schemas.microsoft.com/office/drawing/2010/main" val="0"/>
                </a:ext>
              </a:extLst>
            </a:blip>
            <a:stretch>
              <a:fillRect/>
            </a:stretch>
          </a:blip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sp>
        <p:nvSpPr>
          <p:cNvPr id="13" name="矩形 12"/>
          <p:cNvSpPr>
            <a:spLocks noChangeArrowheads="1"/>
          </p:cNvSpPr>
          <p:nvPr/>
        </p:nvSpPr>
        <p:spPr bwMode="auto">
          <a:xfrm>
            <a:off x="2067194" y="2927070"/>
            <a:ext cx="1854045" cy="1624827"/>
          </a:xfrm>
          <a:prstGeom prst="rect">
            <a:avLst/>
          </a:prstGeom>
          <a:blipFill dpi="0" rotWithShape="1">
            <a:blip r:embed="rId5">
              <a:extLst>
                <a:ext uri="{28A0092B-C50C-407E-A947-70E740481C1C}">
                  <a14:useLocalDpi xmlns:a14="http://schemas.microsoft.com/office/drawing/2010/main" val="0"/>
                </a:ext>
              </a:extLst>
            </a:blip>
            <a:stretch>
              <a:fillRect/>
            </a:stretch>
          </a:blip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sp>
        <p:nvSpPr>
          <p:cNvPr id="14" name="矩形 13"/>
          <p:cNvSpPr>
            <a:spLocks noChangeArrowheads="1"/>
          </p:cNvSpPr>
          <p:nvPr/>
        </p:nvSpPr>
        <p:spPr bwMode="auto">
          <a:xfrm>
            <a:off x="4597602" y="1132023"/>
            <a:ext cx="737092" cy="736826"/>
          </a:xfrm>
          <a:prstGeom prst="rect">
            <a:avLst/>
          </a:prstGeom>
          <a:solidFill>
            <a:schemeClr val="accent1"/>
          </a:solid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sp>
        <p:nvSpPr>
          <p:cNvPr id="15" name="矩形 14"/>
          <p:cNvSpPr>
            <a:spLocks noChangeArrowheads="1"/>
          </p:cNvSpPr>
          <p:nvPr/>
        </p:nvSpPr>
        <p:spPr bwMode="auto">
          <a:xfrm>
            <a:off x="4597602" y="2048592"/>
            <a:ext cx="737092" cy="736826"/>
          </a:xfrm>
          <a:prstGeom prst="rect">
            <a:avLst/>
          </a:prstGeom>
          <a:solidFill>
            <a:schemeClr val="accent2"/>
          </a:solid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sp>
        <p:nvSpPr>
          <p:cNvPr id="16" name="矩形 15"/>
          <p:cNvSpPr>
            <a:spLocks noChangeArrowheads="1"/>
          </p:cNvSpPr>
          <p:nvPr/>
        </p:nvSpPr>
        <p:spPr bwMode="auto">
          <a:xfrm>
            <a:off x="4597602" y="2965161"/>
            <a:ext cx="737092" cy="736826"/>
          </a:xfrm>
          <a:prstGeom prst="rect">
            <a:avLst/>
          </a:prstGeom>
          <a:solidFill>
            <a:schemeClr val="accent3"/>
          </a:solid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sp>
        <p:nvSpPr>
          <p:cNvPr id="17" name="矩形 16"/>
          <p:cNvSpPr>
            <a:spLocks noChangeArrowheads="1"/>
          </p:cNvSpPr>
          <p:nvPr/>
        </p:nvSpPr>
        <p:spPr bwMode="auto">
          <a:xfrm>
            <a:off x="4597602" y="3880539"/>
            <a:ext cx="737092" cy="736827"/>
          </a:xfrm>
          <a:prstGeom prst="rect">
            <a:avLst/>
          </a:prstGeom>
          <a:solidFill>
            <a:schemeClr val="accent4"/>
          </a:solid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sp>
        <p:nvSpPr>
          <p:cNvPr id="18" name="矩形 17"/>
          <p:cNvSpPr>
            <a:spLocks noChangeArrowheads="1"/>
          </p:cNvSpPr>
          <p:nvPr/>
        </p:nvSpPr>
        <p:spPr bwMode="auto">
          <a:xfrm>
            <a:off x="5538318" y="1132023"/>
            <a:ext cx="3124607" cy="736826"/>
          </a:xfrm>
          <a:prstGeom prst="rect">
            <a:avLst/>
          </a:prstGeom>
          <a:solidFill>
            <a:schemeClr val="accent1"/>
          </a:solid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sp>
        <p:nvSpPr>
          <p:cNvPr id="19" name="矩形 18"/>
          <p:cNvSpPr>
            <a:spLocks noChangeArrowheads="1"/>
          </p:cNvSpPr>
          <p:nvPr/>
        </p:nvSpPr>
        <p:spPr bwMode="auto">
          <a:xfrm>
            <a:off x="5544272" y="2048592"/>
            <a:ext cx="3124607" cy="736826"/>
          </a:xfrm>
          <a:prstGeom prst="rect">
            <a:avLst/>
          </a:prstGeom>
          <a:solidFill>
            <a:schemeClr val="accent2"/>
          </a:solid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sp>
        <p:nvSpPr>
          <p:cNvPr id="20" name="矩形 19"/>
          <p:cNvSpPr>
            <a:spLocks noChangeArrowheads="1"/>
          </p:cNvSpPr>
          <p:nvPr/>
        </p:nvSpPr>
        <p:spPr bwMode="auto">
          <a:xfrm>
            <a:off x="5544272" y="2965161"/>
            <a:ext cx="3124607" cy="736826"/>
          </a:xfrm>
          <a:prstGeom prst="rect">
            <a:avLst/>
          </a:prstGeom>
          <a:solidFill>
            <a:schemeClr val="accent3"/>
          </a:solid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sp>
        <p:nvSpPr>
          <p:cNvPr id="21" name="矩形 20"/>
          <p:cNvSpPr>
            <a:spLocks noChangeArrowheads="1"/>
          </p:cNvSpPr>
          <p:nvPr/>
        </p:nvSpPr>
        <p:spPr bwMode="auto">
          <a:xfrm>
            <a:off x="5544272" y="3880539"/>
            <a:ext cx="3124607" cy="736827"/>
          </a:xfrm>
          <a:prstGeom prst="rect">
            <a:avLst/>
          </a:prstGeom>
          <a:solidFill>
            <a:schemeClr val="accent4"/>
          </a:solidFill>
          <a:ln>
            <a:noFill/>
          </a:ln>
        </p:spPr>
        <p:txBody>
          <a:bodyPr lIns="68571" tIns="34285" rIns="68571" bIns="34285" anchor="ctr"/>
          <a:lstStyle/>
          <a:p>
            <a:pPr algn="ctr" eaLnBrk="1" hangingPunct="1">
              <a:buFont typeface="Arial" panose="020b0604020202020204" pitchFamily="34" charset="0"/>
              <a:buNone/>
            </a:pPr>
            <a:endParaRPr lang="zh-CN" altLang="en-US">
              <a:solidFill>
                <a:srgbClr val="FFFFFF"/>
              </a:solidFill>
              <a:latin typeface="宋体" panose="02010600030101010101" pitchFamily="2" charset="-122"/>
              <a:sym typeface="宋体" panose="02010600030101010101" pitchFamily="2" charset="-122"/>
            </a:endParaRPr>
          </a:p>
        </p:txBody>
      </p:sp>
      <p:pic>
        <p:nvPicPr>
          <p:cNvPr id="22" name="图片 21"/>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791699" y="1258200"/>
            <a:ext cx="364379" cy="455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图片 2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732160" y="2175958"/>
            <a:ext cx="467977" cy="467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图片 23"/>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4745259" y="3144903"/>
            <a:ext cx="440589" cy="316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图片 24"/>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4798844" y="4061473"/>
            <a:ext cx="383431" cy="374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文本框 25"/>
          <p:cNvSpPr>
            <a:spLocks noChangeArrowheads="1"/>
          </p:cNvSpPr>
          <p:nvPr/>
        </p:nvSpPr>
        <p:spPr bwMode="auto">
          <a:xfrm flipH="1">
            <a:off x="5796718" y="1221299"/>
            <a:ext cx="2601848" cy="530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1" tIns="34285" rIns="68571" bIns="34285">
            <a:spAutoFit/>
          </a:bodyPr>
          <a:lstStyle/>
          <a:p>
            <a:pPr eaLnBrk="1" hangingPunct="1">
              <a:buFont typeface="Arial" panose="020b0604020202020204" pitchFamily="34" charset="0"/>
              <a:buNone/>
            </a:pPr>
            <a:r>
              <a:rPr lang="en-US" altLang="zh-CN" sz="1500">
                <a:solidFill>
                  <a:schemeClr val="bg1"/>
                </a:solidFill>
                <a:latin typeface="Calibri" panose="020f0502020204030204" pitchFamily="34" charset="0"/>
                <a:sym typeface="Calibri" panose="020f0502020204030204" pitchFamily="34" charset="0"/>
              </a:rPr>
              <a:t>Click here to add  you to the</a:t>
            </a:r>
            <a:endParaRPr lang="zh-CN" altLang="en-US" sz="1500">
              <a:solidFill>
                <a:schemeClr val="bg1"/>
              </a:solidFill>
              <a:latin typeface="Calibri" panose="020f0502020204030204" pitchFamily="34" charset="0"/>
              <a:sym typeface="Calibri" panose="020f0502020204030204" pitchFamily="34" charset="0"/>
            </a:endParaRPr>
          </a:p>
          <a:p>
            <a:pPr eaLnBrk="1" hangingPunct="1">
              <a:buFont typeface="Arial" panose="020b0604020202020204" pitchFamily="34" charset="0"/>
              <a:buNone/>
            </a:pPr>
            <a:r>
              <a:rPr lang="en-US" altLang="zh-CN" sz="1500">
                <a:solidFill>
                  <a:schemeClr val="bg1"/>
                </a:solidFill>
                <a:latin typeface="Calibri" panose="020f0502020204030204" pitchFamily="34" charset="0"/>
                <a:sym typeface="Calibri" panose="020f0502020204030204" pitchFamily="34" charset="0"/>
              </a:rPr>
              <a:t> center of the narrative thought</a:t>
            </a:r>
            <a:endParaRPr lang="en-US" altLang="zh-CN" sz="150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7" name="文本框 26"/>
          <p:cNvSpPr>
            <a:spLocks noChangeArrowheads="1"/>
          </p:cNvSpPr>
          <p:nvPr/>
        </p:nvSpPr>
        <p:spPr bwMode="auto">
          <a:xfrm flipH="1">
            <a:off x="5796718" y="2112871"/>
            <a:ext cx="2601848" cy="530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1" tIns="34285" rIns="68571" bIns="34285">
            <a:spAutoFit/>
          </a:bodyPr>
          <a:lstStyle/>
          <a:p>
            <a:pPr eaLnBrk="1" hangingPunct="1">
              <a:buFont typeface="Arial" panose="020b0604020202020204" pitchFamily="34" charset="0"/>
              <a:buNone/>
            </a:pPr>
            <a:r>
              <a:rPr lang="en-US" altLang="zh-CN" sz="1500">
                <a:solidFill>
                  <a:schemeClr val="bg1"/>
                </a:solidFill>
                <a:latin typeface="Calibri" panose="020f0502020204030204" pitchFamily="34" charset="0"/>
                <a:sym typeface="Calibri" panose="020f0502020204030204" pitchFamily="34" charset="0"/>
              </a:rPr>
              <a:t>Click here to add  you to the</a:t>
            </a:r>
            <a:endParaRPr lang="zh-CN" altLang="en-US" sz="1500">
              <a:solidFill>
                <a:schemeClr val="bg1"/>
              </a:solidFill>
              <a:latin typeface="Calibri" panose="020f0502020204030204" pitchFamily="34" charset="0"/>
              <a:sym typeface="Calibri" panose="020f0502020204030204" pitchFamily="34" charset="0"/>
            </a:endParaRPr>
          </a:p>
          <a:p>
            <a:pPr eaLnBrk="1" hangingPunct="1">
              <a:buFont typeface="Arial" panose="020b0604020202020204" pitchFamily="34" charset="0"/>
              <a:buNone/>
            </a:pPr>
            <a:r>
              <a:rPr lang="en-US" altLang="zh-CN" sz="1500">
                <a:solidFill>
                  <a:schemeClr val="bg1"/>
                </a:solidFill>
                <a:latin typeface="Calibri" panose="020f0502020204030204" pitchFamily="34" charset="0"/>
                <a:sym typeface="Calibri" panose="020f0502020204030204" pitchFamily="34" charset="0"/>
              </a:rPr>
              <a:t> center of the narrative thought</a:t>
            </a:r>
            <a:endParaRPr lang="en-US" altLang="zh-CN" sz="150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8" name="文本框 27"/>
          <p:cNvSpPr>
            <a:spLocks noChangeArrowheads="1"/>
          </p:cNvSpPr>
          <p:nvPr/>
        </p:nvSpPr>
        <p:spPr bwMode="auto">
          <a:xfrm flipH="1">
            <a:off x="5796718" y="3067531"/>
            <a:ext cx="2601848" cy="530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1" tIns="34285" rIns="68571" bIns="34285">
            <a:spAutoFit/>
          </a:bodyPr>
          <a:lstStyle/>
          <a:p>
            <a:pPr eaLnBrk="1" hangingPunct="1">
              <a:buFont typeface="Arial" panose="020b0604020202020204" pitchFamily="34" charset="0"/>
              <a:buNone/>
            </a:pPr>
            <a:r>
              <a:rPr lang="en-US" altLang="zh-CN" sz="1500">
                <a:solidFill>
                  <a:schemeClr val="bg1"/>
                </a:solidFill>
                <a:latin typeface="Calibri" panose="020f0502020204030204" pitchFamily="34" charset="0"/>
                <a:sym typeface="Calibri" panose="020f0502020204030204" pitchFamily="34" charset="0"/>
              </a:rPr>
              <a:t>Click here to add  you to the</a:t>
            </a:r>
            <a:endParaRPr lang="zh-CN" altLang="en-US" sz="1500">
              <a:solidFill>
                <a:schemeClr val="bg1"/>
              </a:solidFill>
              <a:latin typeface="Calibri" panose="020f0502020204030204" pitchFamily="34" charset="0"/>
              <a:sym typeface="Calibri" panose="020f0502020204030204" pitchFamily="34" charset="0"/>
            </a:endParaRPr>
          </a:p>
          <a:p>
            <a:pPr eaLnBrk="1" hangingPunct="1">
              <a:buFont typeface="Arial" panose="020b0604020202020204" pitchFamily="34" charset="0"/>
              <a:buNone/>
            </a:pPr>
            <a:r>
              <a:rPr lang="en-US" altLang="zh-CN" sz="1500">
                <a:solidFill>
                  <a:schemeClr val="bg1"/>
                </a:solidFill>
                <a:latin typeface="Calibri" panose="020f0502020204030204" pitchFamily="34" charset="0"/>
                <a:sym typeface="Calibri" panose="020f0502020204030204" pitchFamily="34" charset="0"/>
              </a:rPr>
              <a:t> center of the narrative thought</a:t>
            </a:r>
            <a:endParaRPr lang="en-US" altLang="zh-CN" sz="150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9" name="文本框 28"/>
          <p:cNvSpPr>
            <a:spLocks noChangeArrowheads="1"/>
          </p:cNvSpPr>
          <p:nvPr/>
        </p:nvSpPr>
        <p:spPr bwMode="auto">
          <a:xfrm flipH="1">
            <a:off x="5802672" y="3984100"/>
            <a:ext cx="2601848" cy="530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1" tIns="34285" rIns="68571" bIns="34285">
            <a:spAutoFit/>
          </a:bodyPr>
          <a:lstStyle/>
          <a:p>
            <a:pPr eaLnBrk="1" hangingPunct="1">
              <a:buFont typeface="Arial" panose="020b0604020202020204" pitchFamily="34" charset="0"/>
              <a:buNone/>
            </a:pPr>
            <a:r>
              <a:rPr lang="en-US" altLang="zh-CN" sz="1500">
                <a:solidFill>
                  <a:schemeClr val="bg1"/>
                </a:solidFill>
                <a:latin typeface="Calibri" panose="020f0502020204030204" pitchFamily="34" charset="0"/>
                <a:sym typeface="Calibri" panose="020f0502020204030204" pitchFamily="34" charset="0"/>
              </a:rPr>
              <a:t>Click here to add  you to the</a:t>
            </a:r>
            <a:endParaRPr lang="zh-CN" altLang="en-US" sz="1500">
              <a:solidFill>
                <a:schemeClr val="bg1"/>
              </a:solidFill>
              <a:latin typeface="Calibri" panose="020f0502020204030204" pitchFamily="34" charset="0"/>
              <a:sym typeface="Calibri" panose="020f0502020204030204" pitchFamily="34" charset="0"/>
            </a:endParaRPr>
          </a:p>
          <a:p>
            <a:pPr eaLnBrk="1" hangingPunct="1">
              <a:buFont typeface="Arial" panose="020b0604020202020204" pitchFamily="34" charset="0"/>
              <a:buNone/>
            </a:pPr>
            <a:r>
              <a:rPr lang="en-US" altLang="zh-CN" sz="1500">
                <a:solidFill>
                  <a:schemeClr val="bg1"/>
                </a:solidFill>
                <a:latin typeface="Calibri" panose="020f0502020204030204" pitchFamily="34" charset="0"/>
                <a:sym typeface="Calibri" panose="020f0502020204030204" pitchFamily="34" charset="0"/>
              </a:rPr>
              <a:t> center of the narrative thought</a:t>
            </a:r>
            <a:endParaRPr lang="en-US" altLang="zh-CN" sz="150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anim calcmode="lin" valueType="num">
                                      <p:cBhvr>
                                        <p:cTn id="8" dur="250" fill="hold"/>
                                        <p:tgtEl>
                                          <p:spTgt spid="11"/>
                                        </p:tgtEl>
                                        <p:attrNameLst>
                                          <p:attrName>ppt_x</p:attrName>
                                        </p:attrNameLst>
                                      </p:cBhvr>
                                      <p:tavLst>
                                        <p:tav tm="0">
                                          <p:val>
                                            <p:strVal val="#ppt_x"/>
                                          </p:val>
                                        </p:tav>
                                        <p:tav tm="100000">
                                          <p:val>
                                            <p:strVal val="#ppt_x"/>
                                          </p:val>
                                        </p:tav>
                                      </p:tavLst>
                                    </p:anim>
                                    <p:anim calcmode="lin" valueType="num">
                                      <p:cBhvr>
                                        <p:cTn id="9" dur="250" fill="hold"/>
                                        <p:tgtEl>
                                          <p:spTgt spid="11"/>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250"/>
                            </p:stCondLst>
                            <p:childTnLst>
                              <p:par>
                                <p:cTn id="11" presetID="42" presetClass="entr" presetSubtype="0" fill="hold" grpId="0"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250"/>
                                        <p:tgtEl>
                                          <p:spTgt spid="12"/>
                                        </p:tgtEl>
                                      </p:cBhvr>
                                    </p:animEffect>
                                    <p:anim calcmode="lin" valueType="num">
                                      <p:cBhvr>
                                        <p:cTn id="14" dur="250" fill="hold"/>
                                        <p:tgtEl>
                                          <p:spTgt spid="12"/>
                                        </p:tgtEl>
                                        <p:attrNameLst>
                                          <p:attrName>ppt_x</p:attrName>
                                        </p:attrNameLst>
                                      </p:cBhvr>
                                      <p:tavLst>
                                        <p:tav tm="0">
                                          <p:val>
                                            <p:strVal val="#ppt_x"/>
                                          </p:val>
                                        </p:tav>
                                        <p:tav tm="100000">
                                          <p:val>
                                            <p:strVal val="#ppt_x"/>
                                          </p:val>
                                        </p:tav>
                                      </p:tavLst>
                                    </p:anim>
                                    <p:anim calcmode="lin" valueType="num">
                                      <p:cBhvr>
                                        <p:cTn id="15" dur="250" fill="hold"/>
                                        <p:tgtEl>
                                          <p:spTgt spid="12"/>
                                        </p:tgtEl>
                                        <p:attrNameLst>
                                          <p:attrName>ppt_y</p:attrName>
                                        </p:attrNameLst>
                                      </p:cBhvr>
                                      <p:tavLst>
                                        <p:tav tm="0">
                                          <p:val>
                                            <p:strVal val="#ppt_y+.1"/>
                                          </p:val>
                                        </p:tav>
                                        <p:tav tm="100000">
                                          <p:val>
                                            <p:strVal val="#ppt_y"/>
                                          </p:val>
                                        </p:tav>
                                      </p:tavLst>
                                    </p:anim>
                                  </p:childTnLst>
                                </p:cTn>
                              </p:par>
                            </p:childTnLst>
                          </p:cTn>
                        </p:par>
                        <p:par>
                          <p:cTn id="16" fill="hold" nodeType="afterGroup">
                            <p:stCondLst>
                              <p:cond delay="500"/>
                            </p:stCondLst>
                            <p:childTnLst>
                              <p:par>
                                <p:cTn id="17" presetID="42" presetClass="entr" presetSubtype="0"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250"/>
                                        <p:tgtEl>
                                          <p:spTgt spid="13"/>
                                        </p:tgtEl>
                                      </p:cBhvr>
                                    </p:animEffect>
                                    <p:anim calcmode="lin" valueType="num">
                                      <p:cBhvr>
                                        <p:cTn id="20" dur="250" fill="hold"/>
                                        <p:tgtEl>
                                          <p:spTgt spid="13"/>
                                        </p:tgtEl>
                                        <p:attrNameLst>
                                          <p:attrName>ppt_x</p:attrName>
                                        </p:attrNameLst>
                                      </p:cBhvr>
                                      <p:tavLst>
                                        <p:tav tm="0">
                                          <p:val>
                                            <p:strVal val="#ppt_x"/>
                                          </p:val>
                                        </p:tav>
                                        <p:tav tm="100000">
                                          <p:val>
                                            <p:strVal val="#ppt_x"/>
                                          </p:val>
                                        </p:tav>
                                      </p:tavLst>
                                    </p:anim>
                                    <p:anim calcmode="lin" valueType="num">
                                      <p:cBhvr>
                                        <p:cTn id="21" dur="250" fill="hold"/>
                                        <p:tgtEl>
                                          <p:spTgt spid="13"/>
                                        </p:tgtEl>
                                        <p:attrNameLst>
                                          <p:attrName>ppt_y</p:attrName>
                                        </p:attrNameLst>
                                      </p:cBhvr>
                                      <p:tavLst>
                                        <p:tav tm="0">
                                          <p:val>
                                            <p:strVal val="#ppt_y+.1"/>
                                          </p:val>
                                        </p:tav>
                                        <p:tav tm="100000">
                                          <p:val>
                                            <p:strVal val="#ppt_y"/>
                                          </p:val>
                                        </p:tav>
                                      </p:tavLst>
                                    </p:anim>
                                  </p:childTnLst>
                                </p:cTn>
                              </p:par>
                            </p:childTnLst>
                          </p:cTn>
                        </p:par>
                        <p:par>
                          <p:cTn id="22" fill="hold" nodeType="afterGroup">
                            <p:stCondLst>
                              <p:cond delay="750"/>
                            </p:stCondLst>
                            <p:childTnLst>
                              <p:par>
                                <p:cTn id="23" presetID="42" presetClass="entr" presetSubtype="0"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250"/>
                                        <p:tgtEl>
                                          <p:spTgt spid="14"/>
                                        </p:tgtEl>
                                      </p:cBhvr>
                                    </p:animEffect>
                                    <p:anim calcmode="lin" valueType="num">
                                      <p:cBhvr>
                                        <p:cTn id="26" dur="250" fill="hold"/>
                                        <p:tgtEl>
                                          <p:spTgt spid="14"/>
                                        </p:tgtEl>
                                        <p:attrNameLst>
                                          <p:attrName>ppt_x</p:attrName>
                                        </p:attrNameLst>
                                      </p:cBhvr>
                                      <p:tavLst>
                                        <p:tav tm="0">
                                          <p:val>
                                            <p:strVal val="#ppt_x"/>
                                          </p:val>
                                        </p:tav>
                                        <p:tav tm="100000">
                                          <p:val>
                                            <p:strVal val="#ppt_x"/>
                                          </p:val>
                                        </p:tav>
                                      </p:tavLst>
                                    </p:anim>
                                    <p:anim calcmode="lin" valueType="num">
                                      <p:cBhvr>
                                        <p:cTn id="27" dur="250" fill="hold"/>
                                        <p:tgtEl>
                                          <p:spTgt spid="14"/>
                                        </p:tgtEl>
                                        <p:attrNameLst>
                                          <p:attrName>ppt_y</p:attrName>
                                        </p:attrNameLst>
                                      </p:cBhvr>
                                      <p:tavLst>
                                        <p:tav tm="0">
                                          <p:val>
                                            <p:strVal val="#ppt_y+.1"/>
                                          </p:val>
                                        </p:tav>
                                        <p:tav tm="100000">
                                          <p:val>
                                            <p:strVal val="#ppt_y"/>
                                          </p:val>
                                        </p:tav>
                                      </p:tavLst>
                                    </p:anim>
                                  </p:childTnLst>
                                </p:cTn>
                              </p:par>
                            </p:childTnLst>
                          </p:cTn>
                        </p:par>
                        <p:par>
                          <p:cTn id="28" fill="hold" nodeType="afterGroup">
                            <p:stCondLst>
                              <p:cond delay="1000"/>
                            </p:stCondLst>
                            <p:childTnLst>
                              <p:par>
                                <p:cTn id="29" presetID="42" presetClass="entr" presetSubtype="0" fill="hold" grpId="0"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250"/>
                                        <p:tgtEl>
                                          <p:spTgt spid="15"/>
                                        </p:tgtEl>
                                      </p:cBhvr>
                                    </p:animEffect>
                                    <p:anim calcmode="lin" valueType="num">
                                      <p:cBhvr>
                                        <p:cTn id="32" dur="250" fill="hold"/>
                                        <p:tgtEl>
                                          <p:spTgt spid="15"/>
                                        </p:tgtEl>
                                        <p:attrNameLst>
                                          <p:attrName>ppt_x</p:attrName>
                                        </p:attrNameLst>
                                      </p:cBhvr>
                                      <p:tavLst>
                                        <p:tav tm="0">
                                          <p:val>
                                            <p:strVal val="#ppt_x"/>
                                          </p:val>
                                        </p:tav>
                                        <p:tav tm="100000">
                                          <p:val>
                                            <p:strVal val="#ppt_x"/>
                                          </p:val>
                                        </p:tav>
                                      </p:tavLst>
                                    </p:anim>
                                    <p:anim calcmode="lin" valueType="num">
                                      <p:cBhvr>
                                        <p:cTn id="33" dur="250" fill="hold"/>
                                        <p:tgtEl>
                                          <p:spTgt spid="15"/>
                                        </p:tgtEl>
                                        <p:attrNameLst>
                                          <p:attrName>ppt_y</p:attrName>
                                        </p:attrNameLst>
                                      </p:cBhvr>
                                      <p:tavLst>
                                        <p:tav tm="0">
                                          <p:val>
                                            <p:strVal val="#ppt_y+.1"/>
                                          </p:val>
                                        </p:tav>
                                        <p:tav tm="100000">
                                          <p:val>
                                            <p:strVal val="#ppt_y"/>
                                          </p:val>
                                        </p:tav>
                                      </p:tavLst>
                                    </p:anim>
                                  </p:childTnLst>
                                </p:cTn>
                              </p:par>
                            </p:childTnLst>
                          </p:cTn>
                        </p:par>
                        <p:par>
                          <p:cTn id="34" fill="hold" nodeType="afterGroup">
                            <p:stCondLst>
                              <p:cond delay="1250"/>
                            </p:stCondLst>
                            <p:childTnLst>
                              <p:par>
                                <p:cTn id="35" presetID="42" presetClass="entr" presetSubtype="0" fill="hold" grpId="0"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250"/>
                                        <p:tgtEl>
                                          <p:spTgt spid="16"/>
                                        </p:tgtEl>
                                      </p:cBhvr>
                                    </p:animEffect>
                                    <p:anim calcmode="lin" valueType="num">
                                      <p:cBhvr>
                                        <p:cTn id="38" dur="250" fill="hold"/>
                                        <p:tgtEl>
                                          <p:spTgt spid="16"/>
                                        </p:tgtEl>
                                        <p:attrNameLst>
                                          <p:attrName>ppt_x</p:attrName>
                                        </p:attrNameLst>
                                      </p:cBhvr>
                                      <p:tavLst>
                                        <p:tav tm="0">
                                          <p:val>
                                            <p:strVal val="#ppt_x"/>
                                          </p:val>
                                        </p:tav>
                                        <p:tav tm="100000">
                                          <p:val>
                                            <p:strVal val="#ppt_x"/>
                                          </p:val>
                                        </p:tav>
                                      </p:tavLst>
                                    </p:anim>
                                    <p:anim calcmode="lin" valueType="num">
                                      <p:cBhvr>
                                        <p:cTn id="39" dur="250" fill="hold"/>
                                        <p:tgtEl>
                                          <p:spTgt spid="16"/>
                                        </p:tgtEl>
                                        <p:attrNameLst>
                                          <p:attrName>ppt_y</p:attrName>
                                        </p:attrNameLst>
                                      </p:cBhvr>
                                      <p:tavLst>
                                        <p:tav tm="0">
                                          <p:val>
                                            <p:strVal val="#ppt_y+.1"/>
                                          </p:val>
                                        </p:tav>
                                        <p:tav tm="100000">
                                          <p:val>
                                            <p:strVal val="#ppt_y"/>
                                          </p:val>
                                        </p:tav>
                                      </p:tavLst>
                                    </p:anim>
                                  </p:childTnLst>
                                </p:cTn>
                              </p:par>
                            </p:childTnLst>
                          </p:cTn>
                        </p:par>
                        <p:par>
                          <p:cTn id="40" fill="hold" nodeType="afterGroup">
                            <p:stCondLst>
                              <p:cond delay="1500"/>
                            </p:stCondLst>
                            <p:childTnLst>
                              <p:par>
                                <p:cTn id="41" presetID="42"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250"/>
                                        <p:tgtEl>
                                          <p:spTgt spid="17"/>
                                        </p:tgtEl>
                                      </p:cBhvr>
                                    </p:animEffect>
                                    <p:anim calcmode="lin" valueType="num">
                                      <p:cBhvr>
                                        <p:cTn id="44" dur="250" fill="hold"/>
                                        <p:tgtEl>
                                          <p:spTgt spid="17"/>
                                        </p:tgtEl>
                                        <p:attrNameLst>
                                          <p:attrName>ppt_x</p:attrName>
                                        </p:attrNameLst>
                                      </p:cBhvr>
                                      <p:tavLst>
                                        <p:tav tm="0">
                                          <p:val>
                                            <p:strVal val="#ppt_x"/>
                                          </p:val>
                                        </p:tav>
                                        <p:tav tm="100000">
                                          <p:val>
                                            <p:strVal val="#ppt_x"/>
                                          </p:val>
                                        </p:tav>
                                      </p:tavLst>
                                    </p:anim>
                                    <p:anim calcmode="lin" valueType="num">
                                      <p:cBhvr>
                                        <p:cTn id="45" dur="250" fill="hold"/>
                                        <p:tgtEl>
                                          <p:spTgt spid="17"/>
                                        </p:tgtEl>
                                        <p:attrNameLst>
                                          <p:attrName>ppt_y</p:attrName>
                                        </p:attrNameLst>
                                      </p:cBhvr>
                                      <p:tavLst>
                                        <p:tav tm="0">
                                          <p:val>
                                            <p:strVal val="#ppt_y+.1"/>
                                          </p:val>
                                        </p:tav>
                                        <p:tav tm="100000">
                                          <p:val>
                                            <p:strVal val="#ppt_y"/>
                                          </p:val>
                                        </p:tav>
                                      </p:tavLst>
                                    </p:anim>
                                  </p:childTnLst>
                                </p:cTn>
                              </p:par>
                            </p:childTnLst>
                          </p:cTn>
                        </p:par>
                        <p:par>
                          <p:cTn id="46" fill="hold" nodeType="afterGroup">
                            <p:stCondLst>
                              <p:cond delay="1750"/>
                            </p:stCondLst>
                            <p:childTnLst>
                              <p:par>
                                <p:cTn id="47" presetID="42" presetClass="entr" presetSubtype="0" fill="hold" grpId="0" nodeType="after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250"/>
                                        <p:tgtEl>
                                          <p:spTgt spid="18"/>
                                        </p:tgtEl>
                                      </p:cBhvr>
                                    </p:animEffect>
                                    <p:anim calcmode="lin" valueType="num">
                                      <p:cBhvr>
                                        <p:cTn id="50" dur="250" fill="hold"/>
                                        <p:tgtEl>
                                          <p:spTgt spid="18"/>
                                        </p:tgtEl>
                                        <p:attrNameLst>
                                          <p:attrName>ppt_x</p:attrName>
                                        </p:attrNameLst>
                                      </p:cBhvr>
                                      <p:tavLst>
                                        <p:tav tm="0">
                                          <p:val>
                                            <p:strVal val="#ppt_x"/>
                                          </p:val>
                                        </p:tav>
                                        <p:tav tm="100000">
                                          <p:val>
                                            <p:strVal val="#ppt_x"/>
                                          </p:val>
                                        </p:tav>
                                      </p:tavLst>
                                    </p:anim>
                                    <p:anim calcmode="lin" valueType="num">
                                      <p:cBhvr>
                                        <p:cTn id="51" dur="250" fill="hold"/>
                                        <p:tgtEl>
                                          <p:spTgt spid="18"/>
                                        </p:tgtEl>
                                        <p:attrNameLst>
                                          <p:attrName>ppt_y</p:attrName>
                                        </p:attrNameLst>
                                      </p:cBhvr>
                                      <p:tavLst>
                                        <p:tav tm="0">
                                          <p:val>
                                            <p:strVal val="#ppt_y+.1"/>
                                          </p:val>
                                        </p:tav>
                                        <p:tav tm="100000">
                                          <p:val>
                                            <p:strVal val="#ppt_y"/>
                                          </p:val>
                                        </p:tav>
                                      </p:tavLst>
                                    </p:anim>
                                  </p:childTnLst>
                                </p:cTn>
                              </p:par>
                            </p:childTnLst>
                          </p:cTn>
                        </p:par>
                        <p:par>
                          <p:cTn id="52" fill="hold" nodeType="afterGroup">
                            <p:stCondLst>
                              <p:cond delay="2000"/>
                            </p:stCondLst>
                            <p:childTnLst>
                              <p:par>
                                <p:cTn id="53" presetID="42" presetClass="entr" presetSubtype="0" fill="hold" grpId="0" nodeType="after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250"/>
                                        <p:tgtEl>
                                          <p:spTgt spid="19"/>
                                        </p:tgtEl>
                                      </p:cBhvr>
                                    </p:animEffect>
                                    <p:anim calcmode="lin" valueType="num">
                                      <p:cBhvr>
                                        <p:cTn id="56" dur="250" fill="hold"/>
                                        <p:tgtEl>
                                          <p:spTgt spid="19"/>
                                        </p:tgtEl>
                                        <p:attrNameLst>
                                          <p:attrName>ppt_x</p:attrName>
                                        </p:attrNameLst>
                                      </p:cBhvr>
                                      <p:tavLst>
                                        <p:tav tm="0">
                                          <p:val>
                                            <p:strVal val="#ppt_x"/>
                                          </p:val>
                                        </p:tav>
                                        <p:tav tm="100000">
                                          <p:val>
                                            <p:strVal val="#ppt_x"/>
                                          </p:val>
                                        </p:tav>
                                      </p:tavLst>
                                    </p:anim>
                                    <p:anim calcmode="lin" valueType="num">
                                      <p:cBhvr>
                                        <p:cTn id="57" dur="250" fill="hold"/>
                                        <p:tgtEl>
                                          <p:spTgt spid="19"/>
                                        </p:tgtEl>
                                        <p:attrNameLst>
                                          <p:attrName>ppt_y</p:attrName>
                                        </p:attrNameLst>
                                      </p:cBhvr>
                                      <p:tavLst>
                                        <p:tav tm="0">
                                          <p:val>
                                            <p:strVal val="#ppt_y+.1"/>
                                          </p:val>
                                        </p:tav>
                                        <p:tav tm="100000">
                                          <p:val>
                                            <p:strVal val="#ppt_y"/>
                                          </p:val>
                                        </p:tav>
                                      </p:tavLst>
                                    </p:anim>
                                  </p:childTnLst>
                                </p:cTn>
                              </p:par>
                            </p:childTnLst>
                          </p:cTn>
                        </p:par>
                        <p:par>
                          <p:cTn id="58" fill="hold" nodeType="afterGroup">
                            <p:stCondLst>
                              <p:cond delay="2250"/>
                            </p:stCondLst>
                            <p:childTnLst>
                              <p:par>
                                <p:cTn id="59" presetID="42" presetClass="entr" presetSubtype="0" fill="hold" grpId="0" nodeType="afterEffect">
                                  <p:stCondLst>
                                    <p:cond delay="0"/>
                                  </p:stCondLst>
                                  <p:childTnLst>
                                    <p:set>
                                      <p:cBhvr>
                                        <p:cTn id="60" dur="1" fill="hold">
                                          <p:stCondLst>
                                            <p:cond delay="0"/>
                                          </p:stCondLst>
                                        </p:cTn>
                                        <p:tgtEl>
                                          <p:spTgt spid="20"/>
                                        </p:tgtEl>
                                        <p:attrNameLst>
                                          <p:attrName>style.visibility</p:attrName>
                                        </p:attrNameLst>
                                      </p:cBhvr>
                                      <p:to>
                                        <p:strVal val="visible"/>
                                      </p:to>
                                    </p:set>
                                    <p:animEffect transition="in" filter="fade">
                                      <p:cBhvr>
                                        <p:cTn id="61" dur="250"/>
                                        <p:tgtEl>
                                          <p:spTgt spid="20"/>
                                        </p:tgtEl>
                                      </p:cBhvr>
                                    </p:animEffect>
                                    <p:anim calcmode="lin" valueType="num">
                                      <p:cBhvr>
                                        <p:cTn id="62" dur="250" fill="hold"/>
                                        <p:tgtEl>
                                          <p:spTgt spid="20"/>
                                        </p:tgtEl>
                                        <p:attrNameLst>
                                          <p:attrName>ppt_x</p:attrName>
                                        </p:attrNameLst>
                                      </p:cBhvr>
                                      <p:tavLst>
                                        <p:tav tm="0">
                                          <p:val>
                                            <p:strVal val="#ppt_x"/>
                                          </p:val>
                                        </p:tav>
                                        <p:tav tm="100000">
                                          <p:val>
                                            <p:strVal val="#ppt_x"/>
                                          </p:val>
                                        </p:tav>
                                      </p:tavLst>
                                    </p:anim>
                                    <p:anim calcmode="lin" valueType="num">
                                      <p:cBhvr>
                                        <p:cTn id="63" dur="250" fill="hold"/>
                                        <p:tgtEl>
                                          <p:spTgt spid="20"/>
                                        </p:tgtEl>
                                        <p:attrNameLst>
                                          <p:attrName>ppt_y</p:attrName>
                                        </p:attrNameLst>
                                      </p:cBhvr>
                                      <p:tavLst>
                                        <p:tav tm="0">
                                          <p:val>
                                            <p:strVal val="#ppt_y+.1"/>
                                          </p:val>
                                        </p:tav>
                                        <p:tav tm="100000">
                                          <p:val>
                                            <p:strVal val="#ppt_y"/>
                                          </p:val>
                                        </p:tav>
                                      </p:tavLst>
                                    </p:anim>
                                  </p:childTnLst>
                                </p:cTn>
                              </p:par>
                            </p:childTnLst>
                          </p:cTn>
                        </p:par>
                        <p:par>
                          <p:cTn id="64" fill="hold" nodeType="afterGroup">
                            <p:stCondLst>
                              <p:cond delay="2500"/>
                            </p:stCondLst>
                            <p:childTnLst>
                              <p:par>
                                <p:cTn id="65" presetID="42" presetClass="entr" presetSubtype="0" fill="hold" grpId="0" nodeType="after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250"/>
                                        <p:tgtEl>
                                          <p:spTgt spid="21"/>
                                        </p:tgtEl>
                                      </p:cBhvr>
                                    </p:animEffect>
                                    <p:anim calcmode="lin" valueType="num">
                                      <p:cBhvr>
                                        <p:cTn id="68" dur="250" fill="hold"/>
                                        <p:tgtEl>
                                          <p:spTgt spid="21"/>
                                        </p:tgtEl>
                                        <p:attrNameLst>
                                          <p:attrName>ppt_x</p:attrName>
                                        </p:attrNameLst>
                                      </p:cBhvr>
                                      <p:tavLst>
                                        <p:tav tm="0">
                                          <p:val>
                                            <p:strVal val="#ppt_x"/>
                                          </p:val>
                                        </p:tav>
                                        <p:tav tm="100000">
                                          <p:val>
                                            <p:strVal val="#ppt_x"/>
                                          </p:val>
                                        </p:tav>
                                      </p:tavLst>
                                    </p:anim>
                                    <p:anim calcmode="lin" valueType="num">
                                      <p:cBhvr>
                                        <p:cTn id="69" dur="250" fill="hold"/>
                                        <p:tgtEl>
                                          <p:spTgt spid="21"/>
                                        </p:tgtEl>
                                        <p:attrNameLst>
                                          <p:attrName>ppt_y</p:attrName>
                                        </p:attrNameLst>
                                      </p:cBhvr>
                                      <p:tavLst>
                                        <p:tav tm="0">
                                          <p:val>
                                            <p:strVal val="#ppt_y+.1"/>
                                          </p:val>
                                        </p:tav>
                                        <p:tav tm="100000">
                                          <p:val>
                                            <p:strVal val="#ppt_y"/>
                                          </p:val>
                                        </p:tav>
                                      </p:tavLst>
                                    </p:anim>
                                  </p:childTnLst>
                                </p:cTn>
                              </p:par>
                            </p:childTnLst>
                          </p:cTn>
                        </p:par>
                        <p:par>
                          <p:cTn id="70" fill="hold" nodeType="afterGroup">
                            <p:stCondLst>
                              <p:cond delay="2750"/>
                            </p:stCondLst>
                            <p:childTnLst>
                              <p:par>
                                <p:cTn id="71" presetID="42" presetClass="entr" presetSubtype="0" fill="hold"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250"/>
                                        <p:tgtEl>
                                          <p:spTgt spid="22"/>
                                        </p:tgtEl>
                                      </p:cBhvr>
                                    </p:animEffect>
                                    <p:anim calcmode="lin" valueType="num">
                                      <p:cBhvr>
                                        <p:cTn id="74" dur="250" fill="hold"/>
                                        <p:tgtEl>
                                          <p:spTgt spid="22"/>
                                        </p:tgtEl>
                                        <p:attrNameLst>
                                          <p:attrName>ppt_x</p:attrName>
                                        </p:attrNameLst>
                                      </p:cBhvr>
                                      <p:tavLst>
                                        <p:tav tm="0">
                                          <p:val>
                                            <p:strVal val="#ppt_x"/>
                                          </p:val>
                                        </p:tav>
                                        <p:tav tm="100000">
                                          <p:val>
                                            <p:strVal val="#ppt_x"/>
                                          </p:val>
                                        </p:tav>
                                      </p:tavLst>
                                    </p:anim>
                                    <p:anim calcmode="lin" valueType="num">
                                      <p:cBhvr>
                                        <p:cTn id="75" dur="250" fill="hold"/>
                                        <p:tgtEl>
                                          <p:spTgt spid="22"/>
                                        </p:tgtEl>
                                        <p:attrNameLst>
                                          <p:attrName>ppt_y</p:attrName>
                                        </p:attrNameLst>
                                      </p:cBhvr>
                                      <p:tavLst>
                                        <p:tav tm="0">
                                          <p:val>
                                            <p:strVal val="#ppt_y+.1"/>
                                          </p:val>
                                        </p:tav>
                                        <p:tav tm="100000">
                                          <p:val>
                                            <p:strVal val="#ppt_y"/>
                                          </p:val>
                                        </p:tav>
                                      </p:tavLst>
                                    </p:anim>
                                  </p:childTnLst>
                                </p:cTn>
                              </p:par>
                            </p:childTnLst>
                          </p:cTn>
                        </p:par>
                        <p:par>
                          <p:cTn id="76" fill="hold" nodeType="afterGroup">
                            <p:stCondLst>
                              <p:cond delay="3000"/>
                            </p:stCondLst>
                            <p:childTnLst>
                              <p:par>
                                <p:cTn id="77" presetID="42" presetClass="entr" presetSubtype="0" fill="hold"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250"/>
                                        <p:tgtEl>
                                          <p:spTgt spid="23"/>
                                        </p:tgtEl>
                                      </p:cBhvr>
                                    </p:animEffect>
                                    <p:anim calcmode="lin" valueType="num">
                                      <p:cBhvr>
                                        <p:cTn id="80" dur="250" fill="hold"/>
                                        <p:tgtEl>
                                          <p:spTgt spid="23"/>
                                        </p:tgtEl>
                                        <p:attrNameLst>
                                          <p:attrName>ppt_x</p:attrName>
                                        </p:attrNameLst>
                                      </p:cBhvr>
                                      <p:tavLst>
                                        <p:tav tm="0">
                                          <p:val>
                                            <p:strVal val="#ppt_x"/>
                                          </p:val>
                                        </p:tav>
                                        <p:tav tm="100000">
                                          <p:val>
                                            <p:strVal val="#ppt_x"/>
                                          </p:val>
                                        </p:tav>
                                      </p:tavLst>
                                    </p:anim>
                                    <p:anim calcmode="lin" valueType="num">
                                      <p:cBhvr>
                                        <p:cTn id="81" dur="250" fill="hold"/>
                                        <p:tgtEl>
                                          <p:spTgt spid="23"/>
                                        </p:tgtEl>
                                        <p:attrNameLst>
                                          <p:attrName>ppt_y</p:attrName>
                                        </p:attrNameLst>
                                      </p:cBhvr>
                                      <p:tavLst>
                                        <p:tav tm="0">
                                          <p:val>
                                            <p:strVal val="#ppt_y+.1"/>
                                          </p:val>
                                        </p:tav>
                                        <p:tav tm="100000">
                                          <p:val>
                                            <p:strVal val="#ppt_y"/>
                                          </p:val>
                                        </p:tav>
                                      </p:tavLst>
                                    </p:anim>
                                  </p:childTnLst>
                                </p:cTn>
                              </p:par>
                            </p:childTnLst>
                          </p:cTn>
                        </p:par>
                        <p:par>
                          <p:cTn id="82" fill="hold" nodeType="afterGroup">
                            <p:stCondLst>
                              <p:cond delay="3250"/>
                            </p:stCondLst>
                            <p:childTnLst>
                              <p:par>
                                <p:cTn id="83" presetID="42" presetClass="entr" presetSubtype="0" fill="hold" nodeType="afterEffect">
                                  <p:stCondLst>
                                    <p:cond delay="0"/>
                                  </p:stCondLst>
                                  <p:childTnLst>
                                    <p:set>
                                      <p:cBhvr>
                                        <p:cTn id="84" dur="1" fill="hold">
                                          <p:stCondLst>
                                            <p:cond delay="0"/>
                                          </p:stCondLst>
                                        </p:cTn>
                                        <p:tgtEl>
                                          <p:spTgt spid="24"/>
                                        </p:tgtEl>
                                        <p:attrNameLst>
                                          <p:attrName>style.visibility</p:attrName>
                                        </p:attrNameLst>
                                      </p:cBhvr>
                                      <p:to>
                                        <p:strVal val="visible"/>
                                      </p:to>
                                    </p:set>
                                    <p:animEffect transition="in" filter="fade">
                                      <p:cBhvr>
                                        <p:cTn id="85" dur="250"/>
                                        <p:tgtEl>
                                          <p:spTgt spid="24"/>
                                        </p:tgtEl>
                                      </p:cBhvr>
                                    </p:animEffect>
                                    <p:anim calcmode="lin" valueType="num">
                                      <p:cBhvr>
                                        <p:cTn id="86" dur="250" fill="hold"/>
                                        <p:tgtEl>
                                          <p:spTgt spid="24"/>
                                        </p:tgtEl>
                                        <p:attrNameLst>
                                          <p:attrName>ppt_x</p:attrName>
                                        </p:attrNameLst>
                                      </p:cBhvr>
                                      <p:tavLst>
                                        <p:tav tm="0">
                                          <p:val>
                                            <p:strVal val="#ppt_x"/>
                                          </p:val>
                                        </p:tav>
                                        <p:tav tm="100000">
                                          <p:val>
                                            <p:strVal val="#ppt_x"/>
                                          </p:val>
                                        </p:tav>
                                      </p:tavLst>
                                    </p:anim>
                                    <p:anim calcmode="lin" valueType="num">
                                      <p:cBhvr>
                                        <p:cTn id="87" dur="250" fill="hold"/>
                                        <p:tgtEl>
                                          <p:spTgt spid="24"/>
                                        </p:tgtEl>
                                        <p:attrNameLst>
                                          <p:attrName>ppt_y</p:attrName>
                                        </p:attrNameLst>
                                      </p:cBhvr>
                                      <p:tavLst>
                                        <p:tav tm="0">
                                          <p:val>
                                            <p:strVal val="#ppt_y+.1"/>
                                          </p:val>
                                        </p:tav>
                                        <p:tav tm="100000">
                                          <p:val>
                                            <p:strVal val="#ppt_y"/>
                                          </p:val>
                                        </p:tav>
                                      </p:tavLst>
                                    </p:anim>
                                  </p:childTnLst>
                                </p:cTn>
                              </p:par>
                            </p:childTnLst>
                          </p:cTn>
                        </p:par>
                        <p:par>
                          <p:cTn id="88" fill="hold" nodeType="afterGroup">
                            <p:stCondLst>
                              <p:cond delay="3500"/>
                            </p:stCondLst>
                            <p:childTnLst>
                              <p:par>
                                <p:cTn id="89" presetID="42" presetClass="entr" presetSubtype="0" fill="hold" nodeType="after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250"/>
                                        <p:tgtEl>
                                          <p:spTgt spid="25"/>
                                        </p:tgtEl>
                                      </p:cBhvr>
                                    </p:animEffect>
                                    <p:anim calcmode="lin" valueType="num">
                                      <p:cBhvr>
                                        <p:cTn id="92" dur="250" fill="hold"/>
                                        <p:tgtEl>
                                          <p:spTgt spid="25"/>
                                        </p:tgtEl>
                                        <p:attrNameLst>
                                          <p:attrName>ppt_x</p:attrName>
                                        </p:attrNameLst>
                                      </p:cBhvr>
                                      <p:tavLst>
                                        <p:tav tm="0">
                                          <p:val>
                                            <p:strVal val="#ppt_x"/>
                                          </p:val>
                                        </p:tav>
                                        <p:tav tm="100000">
                                          <p:val>
                                            <p:strVal val="#ppt_x"/>
                                          </p:val>
                                        </p:tav>
                                      </p:tavLst>
                                    </p:anim>
                                    <p:anim calcmode="lin" valueType="num">
                                      <p:cBhvr>
                                        <p:cTn id="93" dur="250" fill="hold"/>
                                        <p:tgtEl>
                                          <p:spTgt spid="25"/>
                                        </p:tgtEl>
                                        <p:attrNameLst>
                                          <p:attrName>ppt_y</p:attrName>
                                        </p:attrNameLst>
                                      </p:cBhvr>
                                      <p:tavLst>
                                        <p:tav tm="0">
                                          <p:val>
                                            <p:strVal val="#ppt_y+.1"/>
                                          </p:val>
                                        </p:tav>
                                        <p:tav tm="100000">
                                          <p:val>
                                            <p:strVal val="#ppt_y"/>
                                          </p:val>
                                        </p:tav>
                                      </p:tavLst>
                                    </p:anim>
                                  </p:childTnLst>
                                </p:cTn>
                              </p:par>
                            </p:childTnLst>
                          </p:cTn>
                        </p:par>
                        <p:par>
                          <p:cTn id="94" fill="hold" nodeType="afterGroup">
                            <p:stCondLst>
                              <p:cond delay="3750"/>
                            </p:stCondLst>
                            <p:childTnLst>
                              <p:par>
                                <p:cTn id="95" presetID="42" presetClass="entr" presetSubtype="0" fill="hold" grpId="0" nodeType="afterEffect">
                                  <p:stCondLst>
                                    <p:cond delay="0"/>
                                  </p:stCondLst>
                                  <p:childTnLst>
                                    <p:set>
                                      <p:cBhvr>
                                        <p:cTn id="96" dur="1" fill="hold">
                                          <p:stCondLst>
                                            <p:cond delay="0"/>
                                          </p:stCondLst>
                                        </p:cTn>
                                        <p:tgtEl>
                                          <p:spTgt spid="26"/>
                                        </p:tgtEl>
                                        <p:attrNameLst>
                                          <p:attrName>style.visibility</p:attrName>
                                        </p:attrNameLst>
                                      </p:cBhvr>
                                      <p:to>
                                        <p:strVal val="visible"/>
                                      </p:to>
                                    </p:set>
                                    <p:animEffect transition="in" filter="fade">
                                      <p:cBhvr>
                                        <p:cTn id="97" dur="250"/>
                                        <p:tgtEl>
                                          <p:spTgt spid="26"/>
                                        </p:tgtEl>
                                      </p:cBhvr>
                                    </p:animEffect>
                                    <p:anim calcmode="lin" valueType="num">
                                      <p:cBhvr>
                                        <p:cTn id="98" dur="250" fill="hold"/>
                                        <p:tgtEl>
                                          <p:spTgt spid="26"/>
                                        </p:tgtEl>
                                        <p:attrNameLst>
                                          <p:attrName>ppt_x</p:attrName>
                                        </p:attrNameLst>
                                      </p:cBhvr>
                                      <p:tavLst>
                                        <p:tav tm="0">
                                          <p:val>
                                            <p:strVal val="#ppt_x"/>
                                          </p:val>
                                        </p:tav>
                                        <p:tav tm="100000">
                                          <p:val>
                                            <p:strVal val="#ppt_x"/>
                                          </p:val>
                                        </p:tav>
                                      </p:tavLst>
                                    </p:anim>
                                    <p:anim calcmode="lin" valueType="num">
                                      <p:cBhvr>
                                        <p:cTn id="99" dur="250" fill="hold"/>
                                        <p:tgtEl>
                                          <p:spTgt spid="26"/>
                                        </p:tgtEl>
                                        <p:attrNameLst>
                                          <p:attrName>ppt_y</p:attrName>
                                        </p:attrNameLst>
                                      </p:cBhvr>
                                      <p:tavLst>
                                        <p:tav tm="0">
                                          <p:val>
                                            <p:strVal val="#ppt_y+.1"/>
                                          </p:val>
                                        </p:tav>
                                        <p:tav tm="100000">
                                          <p:val>
                                            <p:strVal val="#ppt_y"/>
                                          </p:val>
                                        </p:tav>
                                      </p:tavLst>
                                    </p:anim>
                                  </p:childTnLst>
                                </p:cTn>
                              </p:par>
                            </p:childTnLst>
                          </p:cTn>
                        </p:par>
                        <p:par>
                          <p:cTn id="100" fill="hold" nodeType="afterGroup">
                            <p:stCondLst>
                              <p:cond delay="4000"/>
                            </p:stCondLst>
                            <p:childTnLst>
                              <p:par>
                                <p:cTn id="101" presetID="42" presetClass="entr" presetSubtype="0" fill="hold" grpId="0" nodeType="afterEffect">
                                  <p:stCondLst>
                                    <p:cond delay="0"/>
                                  </p:stCondLst>
                                  <p:childTnLst>
                                    <p:set>
                                      <p:cBhvr>
                                        <p:cTn id="102" dur="1" fill="hold">
                                          <p:stCondLst>
                                            <p:cond delay="0"/>
                                          </p:stCondLst>
                                        </p:cTn>
                                        <p:tgtEl>
                                          <p:spTgt spid="27"/>
                                        </p:tgtEl>
                                        <p:attrNameLst>
                                          <p:attrName>style.visibility</p:attrName>
                                        </p:attrNameLst>
                                      </p:cBhvr>
                                      <p:to>
                                        <p:strVal val="visible"/>
                                      </p:to>
                                    </p:set>
                                    <p:animEffect transition="in" filter="fade">
                                      <p:cBhvr>
                                        <p:cTn id="103" dur="250"/>
                                        <p:tgtEl>
                                          <p:spTgt spid="27"/>
                                        </p:tgtEl>
                                      </p:cBhvr>
                                    </p:animEffect>
                                    <p:anim calcmode="lin" valueType="num">
                                      <p:cBhvr>
                                        <p:cTn id="104" dur="250" fill="hold"/>
                                        <p:tgtEl>
                                          <p:spTgt spid="27"/>
                                        </p:tgtEl>
                                        <p:attrNameLst>
                                          <p:attrName>ppt_x</p:attrName>
                                        </p:attrNameLst>
                                      </p:cBhvr>
                                      <p:tavLst>
                                        <p:tav tm="0">
                                          <p:val>
                                            <p:strVal val="#ppt_x"/>
                                          </p:val>
                                        </p:tav>
                                        <p:tav tm="100000">
                                          <p:val>
                                            <p:strVal val="#ppt_x"/>
                                          </p:val>
                                        </p:tav>
                                      </p:tavLst>
                                    </p:anim>
                                    <p:anim calcmode="lin" valueType="num">
                                      <p:cBhvr>
                                        <p:cTn id="105" dur="250" fill="hold"/>
                                        <p:tgtEl>
                                          <p:spTgt spid="27"/>
                                        </p:tgtEl>
                                        <p:attrNameLst>
                                          <p:attrName>ppt_y</p:attrName>
                                        </p:attrNameLst>
                                      </p:cBhvr>
                                      <p:tavLst>
                                        <p:tav tm="0">
                                          <p:val>
                                            <p:strVal val="#ppt_y+.1"/>
                                          </p:val>
                                        </p:tav>
                                        <p:tav tm="100000">
                                          <p:val>
                                            <p:strVal val="#ppt_y"/>
                                          </p:val>
                                        </p:tav>
                                      </p:tavLst>
                                    </p:anim>
                                  </p:childTnLst>
                                </p:cTn>
                              </p:par>
                            </p:childTnLst>
                          </p:cTn>
                        </p:par>
                        <p:par>
                          <p:cTn id="106" fill="hold" nodeType="afterGroup">
                            <p:stCondLst>
                              <p:cond delay="4250"/>
                            </p:stCondLst>
                            <p:childTnLst>
                              <p:par>
                                <p:cTn id="107" presetID="42" presetClass="entr" presetSubtype="0" fill="hold" grpId="0" nodeType="afterEffect">
                                  <p:stCondLst>
                                    <p:cond delay="0"/>
                                  </p:stCondLst>
                                  <p:childTnLst>
                                    <p:set>
                                      <p:cBhvr>
                                        <p:cTn id="108" dur="1" fill="hold">
                                          <p:stCondLst>
                                            <p:cond delay="0"/>
                                          </p:stCondLst>
                                        </p:cTn>
                                        <p:tgtEl>
                                          <p:spTgt spid="28"/>
                                        </p:tgtEl>
                                        <p:attrNameLst>
                                          <p:attrName>style.visibility</p:attrName>
                                        </p:attrNameLst>
                                      </p:cBhvr>
                                      <p:to>
                                        <p:strVal val="visible"/>
                                      </p:to>
                                    </p:set>
                                    <p:animEffect transition="in" filter="fade">
                                      <p:cBhvr>
                                        <p:cTn id="109" dur="250"/>
                                        <p:tgtEl>
                                          <p:spTgt spid="28"/>
                                        </p:tgtEl>
                                      </p:cBhvr>
                                    </p:animEffect>
                                    <p:anim calcmode="lin" valueType="num">
                                      <p:cBhvr>
                                        <p:cTn id="110" dur="250" fill="hold"/>
                                        <p:tgtEl>
                                          <p:spTgt spid="28"/>
                                        </p:tgtEl>
                                        <p:attrNameLst>
                                          <p:attrName>ppt_x</p:attrName>
                                        </p:attrNameLst>
                                      </p:cBhvr>
                                      <p:tavLst>
                                        <p:tav tm="0">
                                          <p:val>
                                            <p:strVal val="#ppt_x"/>
                                          </p:val>
                                        </p:tav>
                                        <p:tav tm="100000">
                                          <p:val>
                                            <p:strVal val="#ppt_x"/>
                                          </p:val>
                                        </p:tav>
                                      </p:tavLst>
                                    </p:anim>
                                    <p:anim calcmode="lin" valueType="num">
                                      <p:cBhvr>
                                        <p:cTn id="111" dur="250" fill="hold"/>
                                        <p:tgtEl>
                                          <p:spTgt spid="28"/>
                                        </p:tgtEl>
                                        <p:attrNameLst>
                                          <p:attrName>ppt_y</p:attrName>
                                        </p:attrNameLst>
                                      </p:cBhvr>
                                      <p:tavLst>
                                        <p:tav tm="0">
                                          <p:val>
                                            <p:strVal val="#ppt_y+.1"/>
                                          </p:val>
                                        </p:tav>
                                        <p:tav tm="100000">
                                          <p:val>
                                            <p:strVal val="#ppt_y"/>
                                          </p:val>
                                        </p:tav>
                                      </p:tavLst>
                                    </p:anim>
                                  </p:childTnLst>
                                </p:cTn>
                              </p:par>
                            </p:childTnLst>
                          </p:cTn>
                        </p:par>
                        <p:par>
                          <p:cTn id="112" fill="hold" nodeType="afterGroup">
                            <p:stCondLst>
                              <p:cond delay="4500"/>
                            </p:stCondLst>
                            <p:childTnLst>
                              <p:par>
                                <p:cTn id="113" presetID="42" presetClass="entr" presetSubtype="0" fill="hold" grpId="0" nodeType="afterEffect">
                                  <p:stCondLst>
                                    <p:cond delay="0"/>
                                  </p:stCondLst>
                                  <p:childTnLst>
                                    <p:set>
                                      <p:cBhvr>
                                        <p:cTn id="114" dur="1" fill="hold">
                                          <p:stCondLst>
                                            <p:cond delay="0"/>
                                          </p:stCondLst>
                                        </p:cTn>
                                        <p:tgtEl>
                                          <p:spTgt spid="29"/>
                                        </p:tgtEl>
                                        <p:attrNameLst>
                                          <p:attrName>style.visibility</p:attrName>
                                        </p:attrNameLst>
                                      </p:cBhvr>
                                      <p:to>
                                        <p:strVal val="visible"/>
                                      </p:to>
                                    </p:set>
                                    <p:animEffect transition="in" filter="fade">
                                      <p:cBhvr>
                                        <p:cTn id="115" dur="250"/>
                                        <p:tgtEl>
                                          <p:spTgt spid="29"/>
                                        </p:tgtEl>
                                      </p:cBhvr>
                                    </p:animEffect>
                                    <p:anim calcmode="lin" valueType="num">
                                      <p:cBhvr>
                                        <p:cTn id="116" dur="250" fill="hold"/>
                                        <p:tgtEl>
                                          <p:spTgt spid="29"/>
                                        </p:tgtEl>
                                        <p:attrNameLst>
                                          <p:attrName>ppt_x</p:attrName>
                                        </p:attrNameLst>
                                      </p:cBhvr>
                                      <p:tavLst>
                                        <p:tav tm="0">
                                          <p:val>
                                            <p:strVal val="#ppt_x"/>
                                          </p:val>
                                        </p:tav>
                                        <p:tav tm="100000">
                                          <p:val>
                                            <p:strVal val="#ppt_x"/>
                                          </p:val>
                                        </p:tav>
                                      </p:tavLst>
                                    </p:anim>
                                    <p:anim calcmode="lin" valueType="num">
                                      <p:cBhvr>
                                        <p:cTn id="117" dur="25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6" grpId="0"/>
      <p:bldP spid="27" grpId="0"/>
      <p:bldP spid="28" grpId="0"/>
      <p:bldP spid="29" grpId="0"/>
    </p:bldLst>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椭圆 7"/>
          <p:cNvSpPr/>
          <p:nvPr/>
        </p:nvSpPr>
        <p:spPr>
          <a:xfrm>
            <a:off x="395536" y="1545730"/>
            <a:ext cx="1012073" cy="1012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3100">
                <a:solidFill>
                  <a:schemeClr val="bg1"/>
                </a:solidFill>
                <a:latin typeface="Arial" panose="020b0604020202020204" pitchFamily="34" charset="0"/>
                <a:ea typeface="微软雅黑" panose="020b0503020204020204" pitchFamily="34" charset="-122"/>
                <a:sym typeface="Arial" panose="020b0604020202020204" pitchFamily="34" charset="0"/>
              </a:rPr>
              <a:t>03</a:t>
            </a:r>
            <a:endParaRPr lang="zh-CN" altLang="en-US" sz="3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9" name="MH_Entry_1"/>
          <p:cNvSpPr/>
          <p:nvPr>
            <p:custDataLst>
              <p:tags r:id="rId3"/>
            </p:custDataLst>
          </p:nvPr>
        </p:nvSpPr>
        <p:spPr>
          <a:xfrm>
            <a:off x="1668657" y="1419622"/>
            <a:ext cx="2939470" cy="615553"/>
          </a:xfrm>
          <a:custGeom>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3175" cap="sq">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spAutoFit/>
          </a:bodyPr>
          <a:lstStyle/>
          <a:p>
            <a:r>
              <a:rPr lang="zh-CN" altLang="en-US" sz="2800" b="1">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rPr>
              <a:t>单击输入标题</a:t>
            </a:r>
            <a:endParaRPr lang="en-US" altLang="zh-CN" sz="2800" b="1">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a:p>
            <a:r>
              <a:rPr lang="en-US" altLang="zh-CN" sz="12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rPr>
              <a:t>ANNUAL WORK SUMMARY</a:t>
            </a:r>
            <a:endParaRPr lang="zh-CN" altLang="en-US" sz="12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11"/>
          <p:cNvSpPr txBox="1"/>
          <p:nvPr/>
        </p:nvSpPr>
        <p:spPr>
          <a:xfrm>
            <a:off x="3131840" y="215968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TextBox 11"/>
          <p:cNvSpPr txBox="1"/>
          <p:nvPr/>
        </p:nvSpPr>
        <p:spPr>
          <a:xfrm>
            <a:off x="1668657" y="215968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TextBox 11"/>
          <p:cNvSpPr txBox="1"/>
          <p:nvPr/>
        </p:nvSpPr>
        <p:spPr>
          <a:xfrm>
            <a:off x="3131840" y="236582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TextBox 12"/>
          <p:cNvSpPr txBox="1"/>
          <p:nvPr/>
        </p:nvSpPr>
        <p:spPr>
          <a:xfrm>
            <a:off x="1668657" y="236582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Freeform 6"/>
          <p:cNvSpPr/>
          <p:nvPr/>
        </p:nvSpPr>
        <p:spPr bwMode="auto">
          <a:xfrm>
            <a:off x="252" y="3838725"/>
            <a:ext cx="9143498" cy="1304775"/>
          </a:xfrm>
          <a:custGeom>
            <a:gdLst>
              <a:gd name="T0" fmla="*/ 1115 w 5702"/>
              <a:gd name="T1" fmla="*/ 0 h 1219"/>
              <a:gd name="T2" fmla="*/ 1277 w 5702"/>
              <a:gd name="T3" fmla="*/ 0 h 1219"/>
              <a:gd name="T4" fmla="*/ 1428 w 5702"/>
              <a:gd name="T5" fmla="*/ 2 h 1219"/>
              <a:gd name="T6" fmla="*/ 1569 w 5702"/>
              <a:gd name="T7" fmla="*/ 2 h 1219"/>
              <a:gd name="T8" fmla="*/ 1698 w 5702"/>
              <a:gd name="T9" fmla="*/ 4 h 1219"/>
              <a:gd name="T10" fmla="*/ 1816 w 5702"/>
              <a:gd name="T11" fmla="*/ 6 h 1219"/>
              <a:gd name="T12" fmla="*/ 1922 w 5702"/>
              <a:gd name="T13" fmla="*/ 7 h 1219"/>
              <a:gd name="T14" fmla="*/ 2018 w 5702"/>
              <a:gd name="T15" fmla="*/ 11 h 1219"/>
              <a:gd name="T16" fmla="*/ 2102 w 5702"/>
              <a:gd name="T17" fmla="*/ 14 h 1219"/>
              <a:gd name="T18" fmla="*/ 2201 w 5702"/>
              <a:gd name="T19" fmla="*/ 20 h 1219"/>
              <a:gd name="T20" fmla="*/ 2293 w 5702"/>
              <a:gd name="T21" fmla="*/ 32 h 1219"/>
              <a:gd name="T22" fmla="*/ 2375 w 5702"/>
              <a:gd name="T23" fmla="*/ 46 h 1219"/>
              <a:gd name="T24" fmla="*/ 2452 w 5702"/>
              <a:gd name="T25" fmla="*/ 63 h 1219"/>
              <a:gd name="T26" fmla="*/ 2518 w 5702"/>
              <a:gd name="T27" fmla="*/ 84 h 1219"/>
              <a:gd name="T28" fmla="*/ 2579 w 5702"/>
              <a:gd name="T29" fmla="*/ 107 h 1219"/>
              <a:gd name="T30" fmla="*/ 2633 w 5702"/>
              <a:gd name="T31" fmla="*/ 131 h 1219"/>
              <a:gd name="T32" fmla="*/ 2680 w 5702"/>
              <a:gd name="T33" fmla="*/ 157 h 1219"/>
              <a:gd name="T34" fmla="*/ 2722 w 5702"/>
              <a:gd name="T35" fmla="*/ 185 h 1219"/>
              <a:gd name="T36" fmla="*/ 2756 w 5702"/>
              <a:gd name="T37" fmla="*/ 213 h 1219"/>
              <a:gd name="T38" fmla="*/ 2788 w 5702"/>
              <a:gd name="T39" fmla="*/ 241 h 1219"/>
              <a:gd name="T40" fmla="*/ 2812 w 5702"/>
              <a:gd name="T41" fmla="*/ 269 h 1219"/>
              <a:gd name="T42" fmla="*/ 2835 w 5702"/>
              <a:gd name="T43" fmla="*/ 295 h 1219"/>
              <a:gd name="T44" fmla="*/ 2852 w 5702"/>
              <a:gd name="T45" fmla="*/ 319 h 1219"/>
              <a:gd name="T46" fmla="*/ 2868 w 5702"/>
              <a:gd name="T47" fmla="*/ 295 h 1219"/>
              <a:gd name="T48" fmla="*/ 2891 w 5702"/>
              <a:gd name="T49" fmla="*/ 269 h 1219"/>
              <a:gd name="T50" fmla="*/ 2915 w 5702"/>
              <a:gd name="T51" fmla="*/ 241 h 1219"/>
              <a:gd name="T52" fmla="*/ 2946 w 5702"/>
              <a:gd name="T53" fmla="*/ 213 h 1219"/>
              <a:gd name="T54" fmla="*/ 2981 w 5702"/>
              <a:gd name="T55" fmla="*/ 185 h 1219"/>
              <a:gd name="T56" fmla="*/ 3023 w 5702"/>
              <a:gd name="T57" fmla="*/ 157 h 1219"/>
              <a:gd name="T58" fmla="*/ 3070 w 5702"/>
              <a:gd name="T59" fmla="*/ 131 h 1219"/>
              <a:gd name="T60" fmla="*/ 3124 w 5702"/>
              <a:gd name="T61" fmla="*/ 107 h 1219"/>
              <a:gd name="T62" fmla="*/ 3185 w 5702"/>
              <a:gd name="T63" fmla="*/ 84 h 1219"/>
              <a:gd name="T64" fmla="*/ 3253 w 5702"/>
              <a:gd name="T65" fmla="*/ 63 h 1219"/>
              <a:gd name="T66" fmla="*/ 3328 w 5702"/>
              <a:gd name="T67" fmla="*/ 46 h 1219"/>
              <a:gd name="T68" fmla="*/ 3409 w 5702"/>
              <a:gd name="T69" fmla="*/ 32 h 1219"/>
              <a:gd name="T70" fmla="*/ 3502 w 5702"/>
              <a:gd name="T71" fmla="*/ 20 h 1219"/>
              <a:gd name="T72" fmla="*/ 3601 w 5702"/>
              <a:gd name="T73" fmla="*/ 14 h 1219"/>
              <a:gd name="T74" fmla="*/ 3684 w 5702"/>
              <a:gd name="T75" fmla="*/ 11 h 1219"/>
              <a:gd name="T76" fmla="*/ 3780 w 5702"/>
              <a:gd name="T77" fmla="*/ 7 h 1219"/>
              <a:gd name="T78" fmla="*/ 3886 w 5702"/>
              <a:gd name="T79" fmla="*/ 6 h 1219"/>
              <a:gd name="T80" fmla="*/ 4005 w 5702"/>
              <a:gd name="T81" fmla="*/ 4 h 1219"/>
              <a:gd name="T82" fmla="*/ 4134 w 5702"/>
              <a:gd name="T83" fmla="*/ 2 h 1219"/>
              <a:gd name="T84" fmla="*/ 4275 w 5702"/>
              <a:gd name="T85" fmla="*/ 2 h 1219"/>
              <a:gd name="T86" fmla="*/ 4426 w 5702"/>
              <a:gd name="T87" fmla="*/ 0 h 1219"/>
              <a:gd name="T88" fmla="*/ 4588 w 5702"/>
              <a:gd name="T89" fmla="*/ 0 h 1219"/>
              <a:gd name="T90" fmla="*/ 4799 w 5702"/>
              <a:gd name="T91" fmla="*/ 0 h 1219"/>
              <a:gd name="T92" fmla="*/ 4999 w 5702"/>
              <a:gd name="T93" fmla="*/ 2 h 1219"/>
              <a:gd name="T94" fmla="*/ 5189 w 5702"/>
              <a:gd name="T95" fmla="*/ 4 h 1219"/>
              <a:gd name="T96" fmla="*/ 5368 w 5702"/>
              <a:gd name="T97" fmla="*/ 6 h 1219"/>
              <a:gd name="T98" fmla="*/ 5541 w 5702"/>
              <a:gd name="T99" fmla="*/ 7 h 1219"/>
              <a:gd name="T100" fmla="*/ 5702 w 5702"/>
              <a:gd name="T101" fmla="*/ 9 h 1219"/>
              <a:gd name="T102" fmla="*/ 5702 w 5702"/>
              <a:gd name="T103" fmla="*/ 1219 h 1219"/>
              <a:gd name="T104" fmla="*/ 0 w 5702"/>
              <a:gd name="T105" fmla="*/ 1219 h 1219"/>
              <a:gd name="T106" fmla="*/ 0 w 5702"/>
              <a:gd name="T107" fmla="*/ 9 h 1219"/>
              <a:gd name="T108" fmla="*/ 164 w 5702"/>
              <a:gd name="T109" fmla="*/ 7 h 1219"/>
              <a:gd name="T110" fmla="*/ 335 w 5702"/>
              <a:gd name="T111" fmla="*/ 6 h 1219"/>
              <a:gd name="T112" fmla="*/ 514 w 5702"/>
              <a:gd name="T113" fmla="*/ 4 h 1219"/>
              <a:gd name="T114" fmla="*/ 704 w 5702"/>
              <a:gd name="T115" fmla="*/ 2 h 1219"/>
              <a:gd name="T116" fmla="*/ 904 w 5702"/>
              <a:gd name="T117" fmla="*/ 0 h 1219"/>
              <a:gd name="T118" fmla="*/ 1115 w 5702"/>
              <a:gd name="T119" fmla="*/ 0 h 12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2" h="1219">
                <a:moveTo>
                  <a:pt x="1115" y="0"/>
                </a:moveTo>
                <a:lnTo>
                  <a:pt x="1277" y="0"/>
                </a:lnTo>
                <a:lnTo>
                  <a:pt x="1428" y="2"/>
                </a:lnTo>
                <a:lnTo>
                  <a:pt x="1569" y="2"/>
                </a:lnTo>
                <a:lnTo>
                  <a:pt x="1698" y="4"/>
                </a:lnTo>
                <a:lnTo>
                  <a:pt x="1816" y="6"/>
                </a:lnTo>
                <a:lnTo>
                  <a:pt x="1922" y="7"/>
                </a:lnTo>
                <a:lnTo>
                  <a:pt x="2018" y="11"/>
                </a:lnTo>
                <a:lnTo>
                  <a:pt x="2102" y="14"/>
                </a:lnTo>
                <a:lnTo>
                  <a:pt x="2201" y="20"/>
                </a:lnTo>
                <a:lnTo>
                  <a:pt x="2293" y="32"/>
                </a:lnTo>
                <a:lnTo>
                  <a:pt x="2375" y="46"/>
                </a:lnTo>
                <a:lnTo>
                  <a:pt x="2452" y="63"/>
                </a:lnTo>
                <a:lnTo>
                  <a:pt x="2518" y="84"/>
                </a:lnTo>
                <a:lnTo>
                  <a:pt x="2579" y="107"/>
                </a:lnTo>
                <a:lnTo>
                  <a:pt x="2633" y="131"/>
                </a:lnTo>
                <a:lnTo>
                  <a:pt x="2680" y="157"/>
                </a:lnTo>
                <a:lnTo>
                  <a:pt x="2722" y="185"/>
                </a:lnTo>
                <a:lnTo>
                  <a:pt x="2756" y="213"/>
                </a:lnTo>
                <a:lnTo>
                  <a:pt x="2788" y="241"/>
                </a:lnTo>
                <a:lnTo>
                  <a:pt x="2812" y="269"/>
                </a:lnTo>
                <a:lnTo>
                  <a:pt x="2835" y="295"/>
                </a:lnTo>
                <a:lnTo>
                  <a:pt x="2852" y="319"/>
                </a:lnTo>
                <a:lnTo>
                  <a:pt x="2868" y="295"/>
                </a:lnTo>
                <a:lnTo>
                  <a:pt x="2891" y="269"/>
                </a:lnTo>
                <a:lnTo>
                  <a:pt x="2915" y="241"/>
                </a:lnTo>
                <a:lnTo>
                  <a:pt x="2946" y="213"/>
                </a:lnTo>
                <a:lnTo>
                  <a:pt x="2981" y="185"/>
                </a:lnTo>
                <a:lnTo>
                  <a:pt x="3023" y="157"/>
                </a:lnTo>
                <a:lnTo>
                  <a:pt x="3070" y="131"/>
                </a:lnTo>
                <a:lnTo>
                  <a:pt x="3124" y="107"/>
                </a:lnTo>
                <a:lnTo>
                  <a:pt x="3185" y="84"/>
                </a:lnTo>
                <a:lnTo>
                  <a:pt x="3253" y="63"/>
                </a:lnTo>
                <a:lnTo>
                  <a:pt x="3328" y="46"/>
                </a:lnTo>
                <a:lnTo>
                  <a:pt x="3409" y="32"/>
                </a:lnTo>
                <a:lnTo>
                  <a:pt x="3502" y="20"/>
                </a:lnTo>
                <a:lnTo>
                  <a:pt x="3601" y="14"/>
                </a:lnTo>
                <a:lnTo>
                  <a:pt x="3684" y="11"/>
                </a:lnTo>
                <a:lnTo>
                  <a:pt x="3780" y="7"/>
                </a:lnTo>
                <a:lnTo>
                  <a:pt x="3886" y="6"/>
                </a:lnTo>
                <a:lnTo>
                  <a:pt x="4005" y="4"/>
                </a:lnTo>
                <a:lnTo>
                  <a:pt x="4134" y="2"/>
                </a:lnTo>
                <a:lnTo>
                  <a:pt x="4275" y="2"/>
                </a:lnTo>
                <a:lnTo>
                  <a:pt x="4426" y="0"/>
                </a:lnTo>
                <a:lnTo>
                  <a:pt x="4588" y="0"/>
                </a:lnTo>
                <a:lnTo>
                  <a:pt x="4799" y="0"/>
                </a:lnTo>
                <a:lnTo>
                  <a:pt x="4999" y="2"/>
                </a:lnTo>
                <a:lnTo>
                  <a:pt x="5189" y="4"/>
                </a:lnTo>
                <a:lnTo>
                  <a:pt x="5368" y="6"/>
                </a:lnTo>
                <a:lnTo>
                  <a:pt x="5541" y="7"/>
                </a:lnTo>
                <a:lnTo>
                  <a:pt x="5702" y="9"/>
                </a:lnTo>
                <a:lnTo>
                  <a:pt x="5702" y="1219"/>
                </a:lnTo>
                <a:lnTo>
                  <a:pt x="0" y="1219"/>
                </a:lnTo>
                <a:lnTo>
                  <a:pt x="0" y="9"/>
                </a:lnTo>
                <a:lnTo>
                  <a:pt x="164" y="7"/>
                </a:lnTo>
                <a:lnTo>
                  <a:pt x="335" y="6"/>
                </a:lnTo>
                <a:lnTo>
                  <a:pt x="514" y="4"/>
                </a:lnTo>
                <a:lnTo>
                  <a:pt x="704" y="2"/>
                </a:lnTo>
                <a:lnTo>
                  <a:pt x="904" y="0"/>
                </a:lnTo>
                <a:lnTo>
                  <a:pt x="1115" y="0"/>
                </a:lnTo>
                <a:close/>
              </a:path>
            </a:pathLst>
          </a:custGeom>
          <a:solidFill>
            <a:schemeClr val="accent2"/>
          </a:solidFill>
          <a:ln w="0">
            <a:noFill/>
            <a:prstDash val="solid"/>
            <a:round/>
          </a:ln>
        </p:spPr>
        <p:txBody>
          <a:bodyPr vert="horz" wrap="square" lIns="91433" tIns="45717" rIns="91433" bIns="45717" numCol="1" anchor="t" anchorCtr="0" compatLnSpc="1"/>
          <a:lstStyle/>
          <a:p>
            <a:endParaRPr lang="zh-CN" altLang="en-US"/>
          </a:p>
        </p:txBody>
      </p:sp>
      <p:sp>
        <p:nvSpPr>
          <p:cNvPr id="18" name="Freeform 7"/>
          <p:cNvSpPr/>
          <p:nvPr/>
        </p:nvSpPr>
        <p:spPr bwMode="auto">
          <a:xfrm>
            <a:off x="252" y="3647129"/>
            <a:ext cx="9143498" cy="421724"/>
          </a:xfrm>
          <a:custGeom>
            <a:gdLst>
              <a:gd name="T0" fmla="*/ 1184 w 5702"/>
              <a:gd name="T1" fmla="*/ 0 h 394"/>
              <a:gd name="T2" fmla="*/ 1492 w 5702"/>
              <a:gd name="T3" fmla="*/ 2 h 394"/>
              <a:gd name="T4" fmla="*/ 1754 w 5702"/>
              <a:gd name="T5" fmla="*/ 5 h 394"/>
              <a:gd name="T6" fmla="*/ 1968 w 5702"/>
              <a:gd name="T7" fmla="*/ 11 h 394"/>
              <a:gd name="T8" fmla="*/ 2156 w 5702"/>
              <a:gd name="T9" fmla="*/ 19 h 394"/>
              <a:gd name="T10" fmla="*/ 2333 w 5702"/>
              <a:gd name="T11" fmla="*/ 42 h 394"/>
              <a:gd name="T12" fmla="*/ 2480 w 5702"/>
              <a:gd name="T13" fmla="*/ 78 h 394"/>
              <a:gd name="T14" fmla="*/ 2598 w 5702"/>
              <a:gd name="T15" fmla="*/ 122 h 394"/>
              <a:gd name="T16" fmla="*/ 2690 w 5702"/>
              <a:gd name="T17" fmla="*/ 172 h 394"/>
              <a:gd name="T18" fmla="*/ 2763 w 5702"/>
              <a:gd name="T19" fmla="*/ 225 h 394"/>
              <a:gd name="T20" fmla="*/ 2816 w 5702"/>
              <a:gd name="T21" fmla="*/ 277 h 394"/>
              <a:gd name="T22" fmla="*/ 2852 w 5702"/>
              <a:gd name="T23" fmla="*/ 326 h 394"/>
              <a:gd name="T24" fmla="*/ 2887 w 5702"/>
              <a:gd name="T25" fmla="*/ 277 h 394"/>
              <a:gd name="T26" fmla="*/ 2939 w 5702"/>
              <a:gd name="T27" fmla="*/ 225 h 394"/>
              <a:gd name="T28" fmla="*/ 3012 w 5702"/>
              <a:gd name="T29" fmla="*/ 172 h 394"/>
              <a:gd name="T30" fmla="*/ 3105 w 5702"/>
              <a:gd name="T31" fmla="*/ 122 h 394"/>
              <a:gd name="T32" fmla="*/ 3223 w 5702"/>
              <a:gd name="T33" fmla="*/ 78 h 394"/>
              <a:gd name="T34" fmla="*/ 3369 w 5702"/>
              <a:gd name="T35" fmla="*/ 42 h 394"/>
              <a:gd name="T36" fmla="*/ 3547 w 5702"/>
              <a:gd name="T37" fmla="*/ 19 h 394"/>
              <a:gd name="T38" fmla="*/ 3735 w 5702"/>
              <a:gd name="T39" fmla="*/ 11 h 394"/>
              <a:gd name="T40" fmla="*/ 3949 w 5702"/>
              <a:gd name="T41" fmla="*/ 5 h 394"/>
              <a:gd name="T42" fmla="*/ 4210 w 5702"/>
              <a:gd name="T43" fmla="*/ 2 h 394"/>
              <a:gd name="T44" fmla="*/ 4519 w 5702"/>
              <a:gd name="T45" fmla="*/ 0 h 394"/>
              <a:gd name="T46" fmla="*/ 4907 w 5702"/>
              <a:gd name="T47" fmla="*/ 0 h 394"/>
              <a:gd name="T48" fmla="*/ 5318 w 5702"/>
              <a:gd name="T49" fmla="*/ 2 h 394"/>
              <a:gd name="T50" fmla="*/ 5702 w 5702"/>
              <a:gd name="T51" fmla="*/ 5 h 394"/>
              <a:gd name="T52" fmla="*/ 5513 w 5702"/>
              <a:gd name="T53" fmla="*/ 72 h 394"/>
              <a:gd name="T54" fmla="*/ 5116 w 5702"/>
              <a:gd name="T55" fmla="*/ 70 h 394"/>
              <a:gd name="T56" fmla="*/ 4689 w 5702"/>
              <a:gd name="T57" fmla="*/ 68 h 394"/>
              <a:gd name="T58" fmla="*/ 4358 w 5702"/>
              <a:gd name="T59" fmla="*/ 70 h 394"/>
              <a:gd name="T60" fmla="*/ 4073 w 5702"/>
              <a:gd name="T61" fmla="*/ 72 h 394"/>
              <a:gd name="T62" fmla="*/ 3836 w 5702"/>
              <a:gd name="T63" fmla="*/ 75 h 394"/>
              <a:gd name="T64" fmla="*/ 3648 w 5702"/>
              <a:gd name="T65" fmla="*/ 80 h 394"/>
              <a:gd name="T66" fmla="*/ 3455 w 5702"/>
              <a:gd name="T67" fmla="*/ 98 h 394"/>
              <a:gd name="T68" fmla="*/ 3293 w 5702"/>
              <a:gd name="T69" fmla="*/ 127 h 394"/>
              <a:gd name="T70" fmla="*/ 3162 w 5702"/>
              <a:gd name="T71" fmla="*/ 167 h 394"/>
              <a:gd name="T72" fmla="*/ 3056 w 5702"/>
              <a:gd name="T73" fmla="*/ 214 h 394"/>
              <a:gd name="T74" fmla="*/ 2974 w 5702"/>
              <a:gd name="T75" fmla="*/ 266 h 394"/>
              <a:gd name="T76" fmla="*/ 2911 w 5702"/>
              <a:gd name="T77" fmla="*/ 320 h 394"/>
              <a:gd name="T78" fmla="*/ 2868 w 5702"/>
              <a:gd name="T79" fmla="*/ 371 h 394"/>
              <a:gd name="T80" fmla="*/ 2835 w 5702"/>
              <a:gd name="T81" fmla="*/ 371 h 394"/>
              <a:gd name="T82" fmla="*/ 2791 w 5702"/>
              <a:gd name="T83" fmla="*/ 320 h 394"/>
              <a:gd name="T84" fmla="*/ 2730 w 5702"/>
              <a:gd name="T85" fmla="*/ 266 h 394"/>
              <a:gd name="T86" fmla="*/ 2647 w 5702"/>
              <a:gd name="T87" fmla="*/ 214 h 394"/>
              <a:gd name="T88" fmla="*/ 2542 w 5702"/>
              <a:gd name="T89" fmla="*/ 167 h 394"/>
              <a:gd name="T90" fmla="*/ 2410 w 5702"/>
              <a:gd name="T91" fmla="*/ 127 h 394"/>
              <a:gd name="T92" fmla="*/ 2248 w 5702"/>
              <a:gd name="T93" fmla="*/ 98 h 394"/>
              <a:gd name="T94" fmla="*/ 2055 w 5702"/>
              <a:gd name="T95" fmla="*/ 80 h 394"/>
              <a:gd name="T96" fmla="*/ 1867 w 5702"/>
              <a:gd name="T97" fmla="*/ 75 h 394"/>
              <a:gd name="T98" fmla="*/ 1630 w 5702"/>
              <a:gd name="T99" fmla="*/ 72 h 394"/>
              <a:gd name="T100" fmla="*/ 1344 w 5702"/>
              <a:gd name="T101" fmla="*/ 70 h 394"/>
              <a:gd name="T102" fmla="*/ 1014 w 5702"/>
              <a:gd name="T103" fmla="*/ 68 h 394"/>
              <a:gd name="T104" fmla="*/ 587 w 5702"/>
              <a:gd name="T105" fmla="*/ 70 h 394"/>
              <a:gd name="T106" fmla="*/ 190 w 5702"/>
              <a:gd name="T107" fmla="*/ 72 h 394"/>
              <a:gd name="T108" fmla="*/ 0 w 5702"/>
              <a:gd name="T109" fmla="*/ 5 h 394"/>
              <a:gd name="T110" fmla="*/ 385 w 5702"/>
              <a:gd name="T111" fmla="*/ 2 h 394"/>
              <a:gd name="T112" fmla="*/ 796 w 5702"/>
              <a:gd name="T113" fmla="*/ 0 h 3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02" h="394">
                <a:moveTo>
                  <a:pt x="1014" y="0"/>
                </a:moveTo>
                <a:lnTo>
                  <a:pt x="1184" y="0"/>
                </a:lnTo>
                <a:lnTo>
                  <a:pt x="1344" y="0"/>
                </a:lnTo>
                <a:lnTo>
                  <a:pt x="1492" y="2"/>
                </a:lnTo>
                <a:lnTo>
                  <a:pt x="1630" y="4"/>
                </a:lnTo>
                <a:lnTo>
                  <a:pt x="1754" y="5"/>
                </a:lnTo>
                <a:lnTo>
                  <a:pt x="1867" y="7"/>
                </a:lnTo>
                <a:lnTo>
                  <a:pt x="1968" y="11"/>
                </a:lnTo>
                <a:lnTo>
                  <a:pt x="2055" y="12"/>
                </a:lnTo>
                <a:lnTo>
                  <a:pt x="2156" y="19"/>
                </a:lnTo>
                <a:lnTo>
                  <a:pt x="2248" y="30"/>
                </a:lnTo>
                <a:lnTo>
                  <a:pt x="2333" y="42"/>
                </a:lnTo>
                <a:lnTo>
                  <a:pt x="2410" y="59"/>
                </a:lnTo>
                <a:lnTo>
                  <a:pt x="2480" y="78"/>
                </a:lnTo>
                <a:lnTo>
                  <a:pt x="2542" y="99"/>
                </a:lnTo>
                <a:lnTo>
                  <a:pt x="2598" y="122"/>
                </a:lnTo>
                <a:lnTo>
                  <a:pt x="2647" y="146"/>
                </a:lnTo>
                <a:lnTo>
                  <a:pt x="2690" y="172"/>
                </a:lnTo>
                <a:lnTo>
                  <a:pt x="2730" y="199"/>
                </a:lnTo>
                <a:lnTo>
                  <a:pt x="2763" y="225"/>
                </a:lnTo>
                <a:lnTo>
                  <a:pt x="2791" y="253"/>
                </a:lnTo>
                <a:lnTo>
                  <a:pt x="2816" y="277"/>
                </a:lnTo>
                <a:lnTo>
                  <a:pt x="2835" y="303"/>
                </a:lnTo>
                <a:lnTo>
                  <a:pt x="2852" y="326"/>
                </a:lnTo>
                <a:lnTo>
                  <a:pt x="2868" y="303"/>
                </a:lnTo>
                <a:lnTo>
                  <a:pt x="2887" y="277"/>
                </a:lnTo>
                <a:lnTo>
                  <a:pt x="2911" y="253"/>
                </a:lnTo>
                <a:lnTo>
                  <a:pt x="2939" y="225"/>
                </a:lnTo>
                <a:lnTo>
                  <a:pt x="2974" y="199"/>
                </a:lnTo>
                <a:lnTo>
                  <a:pt x="3012" y="172"/>
                </a:lnTo>
                <a:lnTo>
                  <a:pt x="3056" y="146"/>
                </a:lnTo>
                <a:lnTo>
                  <a:pt x="3105" y="122"/>
                </a:lnTo>
                <a:lnTo>
                  <a:pt x="3162" y="99"/>
                </a:lnTo>
                <a:lnTo>
                  <a:pt x="3223" y="78"/>
                </a:lnTo>
                <a:lnTo>
                  <a:pt x="3293" y="59"/>
                </a:lnTo>
                <a:lnTo>
                  <a:pt x="3369" y="42"/>
                </a:lnTo>
                <a:lnTo>
                  <a:pt x="3455" y="30"/>
                </a:lnTo>
                <a:lnTo>
                  <a:pt x="3547" y="19"/>
                </a:lnTo>
                <a:lnTo>
                  <a:pt x="3648" y="12"/>
                </a:lnTo>
                <a:lnTo>
                  <a:pt x="3735" y="11"/>
                </a:lnTo>
                <a:lnTo>
                  <a:pt x="3836" y="7"/>
                </a:lnTo>
                <a:lnTo>
                  <a:pt x="3949" y="5"/>
                </a:lnTo>
                <a:lnTo>
                  <a:pt x="4073" y="4"/>
                </a:lnTo>
                <a:lnTo>
                  <a:pt x="4210" y="2"/>
                </a:lnTo>
                <a:lnTo>
                  <a:pt x="4358" y="0"/>
                </a:lnTo>
                <a:lnTo>
                  <a:pt x="4519" y="0"/>
                </a:lnTo>
                <a:lnTo>
                  <a:pt x="4689" y="0"/>
                </a:lnTo>
                <a:lnTo>
                  <a:pt x="4907" y="0"/>
                </a:lnTo>
                <a:lnTo>
                  <a:pt x="5116" y="2"/>
                </a:lnTo>
                <a:lnTo>
                  <a:pt x="5318" y="2"/>
                </a:lnTo>
                <a:lnTo>
                  <a:pt x="5513" y="4"/>
                </a:lnTo>
                <a:lnTo>
                  <a:pt x="5702" y="5"/>
                </a:lnTo>
                <a:lnTo>
                  <a:pt x="5702" y="73"/>
                </a:lnTo>
                <a:lnTo>
                  <a:pt x="5513" y="72"/>
                </a:lnTo>
                <a:lnTo>
                  <a:pt x="5318" y="70"/>
                </a:lnTo>
                <a:lnTo>
                  <a:pt x="5116" y="70"/>
                </a:lnTo>
                <a:lnTo>
                  <a:pt x="4907" y="68"/>
                </a:lnTo>
                <a:lnTo>
                  <a:pt x="4689" y="68"/>
                </a:lnTo>
                <a:lnTo>
                  <a:pt x="4519" y="68"/>
                </a:lnTo>
                <a:lnTo>
                  <a:pt x="4358" y="70"/>
                </a:lnTo>
                <a:lnTo>
                  <a:pt x="4210" y="70"/>
                </a:lnTo>
                <a:lnTo>
                  <a:pt x="4073" y="72"/>
                </a:lnTo>
                <a:lnTo>
                  <a:pt x="3949" y="73"/>
                </a:lnTo>
                <a:lnTo>
                  <a:pt x="3836" y="75"/>
                </a:lnTo>
                <a:lnTo>
                  <a:pt x="3735" y="78"/>
                </a:lnTo>
                <a:lnTo>
                  <a:pt x="3648" y="80"/>
                </a:lnTo>
                <a:lnTo>
                  <a:pt x="3547" y="87"/>
                </a:lnTo>
                <a:lnTo>
                  <a:pt x="3455" y="98"/>
                </a:lnTo>
                <a:lnTo>
                  <a:pt x="3369" y="110"/>
                </a:lnTo>
                <a:lnTo>
                  <a:pt x="3293" y="127"/>
                </a:lnTo>
                <a:lnTo>
                  <a:pt x="3223" y="146"/>
                </a:lnTo>
                <a:lnTo>
                  <a:pt x="3162" y="167"/>
                </a:lnTo>
                <a:lnTo>
                  <a:pt x="3105" y="190"/>
                </a:lnTo>
                <a:lnTo>
                  <a:pt x="3056" y="214"/>
                </a:lnTo>
                <a:lnTo>
                  <a:pt x="3012" y="240"/>
                </a:lnTo>
                <a:lnTo>
                  <a:pt x="2974" y="266"/>
                </a:lnTo>
                <a:lnTo>
                  <a:pt x="2939" y="293"/>
                </a:lnTo>
                <a:lnTo>
                  <a:pt x="2911" y="320"/>
                </a:lnTo>
                <a:lnTo>
                  <a:pt x="2887" y="345"/>
                </a:lnTo>
                <a:lnTo>
                  <a:pt x="2868" y="371"/>
                </a:lnTo>
                <a:lnTo>
                  <a:pt x="2852" y="394"/>
                </a:lnTo>
                <a:lnTo>
                  <a:pt x="2835" y="371"/>
                </a:lnTo>
                <a:lnTo>
                  <a:pt x="2816" y="345"/>
                </a:lnTo>
                <a:lnTo>
                  <a:pt x="2791" y="320"/>
                </a:lnTo>
                <a:lnTo>
                  <a:pt x="2763" y="293"/>
                </a:lnTo>
                <a:lnTo>
                  <a:pt x="2730" y="266"/>
                </a:lnTo>
                <a:lnTo>
                  <a:pt x="2690" y="240"/>
                </a:lnTo>
                <a:lnTo>
                  <a:pt x="2647" y="214"/>
                </a:lnTo>
                <a:lnTo>
                  <a:pt x="2598" y="190"/>
                </a:lnTo>
                <a:lnTo>
                  <a:pt x="2542" y="167"/>
                </a:lnTo>
                <a:lnTo>
                  <a:pt x="2480" y="146"/>
                </a:lnTo>
                <a:lnTo>
                  <a:pt x="2410" y="127"/>
                </a:lnTo>
                <a:lnTo>
                  <a:pt x="2333" y="110"/>
                </a:lnTo>
                <a:lnTo>
                  <a:pt x="2248" y="98"/>
                </a:lnTo>
                <a:lnTo>
                  <a:pt x="2156" y="87"/>
                </a:lnTo>
                <a:lnTo>
                  <a:pt x="2055" y="80"/>
                </a:lnTo>
                <a:lnTo>
                  <a:pt x="1968" y="78"/>
                </a:lnTo>
                <a:lnTo>
                  <a:pt x="1867" y="75"/>
                </a:lnTo>
                <a:lnTo>
                  <a:pt x="1754" y="73"/>
                </a:lnTo>
                <a:lnTo>
                  <a:pt x="1630" y="72"/>
                </a:lnTo>
                <a:lnTo>
                  <a:pt x="1492" y="70"/>
                </a:lnTo>
                <a:lnTo>
                  <a:pt x="1344" y="70"/>
                </a:lnTo>
                <a:lnTo>
                  <a:pt x="1184" y="68"/>
                </a:lnTo>
                <a:lnTo>
                  <a:pt x="1014" y="68"/>
                </a:lnTo>
                <a:lnTo>
                  <a:pt x="796" y="68"/>
                </a:lnTo>
                <a:lnTo>
                  <a:pt x="587" y="70"/>
                </a:lnTo>
                <a:lnTo>
                  <a:pt x="385" y="70"/>
                </a:lnTo>
                <a:lnTo>
                  <a:pt x="190" y="72"/>
                </a:lnTo>
                <a:lnTo>
                  <a:pt x="0" y="73"/>
                </a:lnTo>
                <a:lnTo>
                  <a:pt x="0" y="5"/>
                </a:lnTo>
                <a:lnTo>
                  <a:pt x="190" y="4"/>
                </a:lnTo>
                <a:lnTo>
                  <a:pt x="385" y="2"/>
                </a:lnTo>
                <a:lnTo>
                  <a:pt x="587" y="2"/>
                </a:lnTo>
                <a:lnTo>
                  <a:pt x="796" y="0"/>
                </a:lnTo>
                <a:lnTo>
                  <a:pt x="1014" y="0"/>
                </a:lnTo>
                <a:close/>
              </a:path>
            </a:pathLst>
          </a:custGeom>
          <a:solidFill>
            <a:schemeClr val="accent1"/>
          </a:solidFill>
          <a:ln w="0">
            <a:noFill/>
            <a:prstDash val="solid"/>
            <a:round/>
          </a:ln>
        </p:spPr>
        <p:txBody>
          <a:bodyPr vert="horz" wrap="square" lIns="91433" tIns="45717" rIns="91433" bIns="45717" numCol="1" anchor="t" anchorCtr="0" compatLnSpc="1"/>
          <a:lstStyle/>
          <a:p>
            <a:endParaRPr lang="zh-CN" altLang="en-US"/>
          </a:p>
        </p:txBody>
      </p:sp>
      <p:grpSp>
        <p:nvGrpSpPr>
          <p:cNvPr id="14" name="组合 13"/>
          <p:cNvGrpSpPr/>
          <p:nvPr/>
        </p:nvGrpSpPr>
        <p:grpSpPr>
          <a:xfrm>
            <a:off x="0" y="167260"/>
            <a:ext cx="9144000" cy="4977523"/>
            <a:chOff x="0" y="223013"/>
            <a:chExt cx="12192000" cy="6636697"/>
          </a:xfrm>
        </p:grpSpPr>
        <p:sp>
          <p:nvSpPr>
            <p:cNvPr id="16" name="矩形 15"/>
            <p:cNvSpPr/>
            <p:nvPr/>
          </p:nvSpPr>
          <p:spPr>
            <a:xfrm>
              <a:off x="0" y="4348627"/>
              <a:ext cx="12192000" cy="2511083"/>
            </a:xfrm>
            <a:prstGeom prst="rect">
              <a:avLst/>
            </a:prstGeom>
            <a:solidFill>
              <a:srgbClr val="EE7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19" name="图片 18"/>
            <p:cNvPicPr>
              <a:picLocks noChangeAspect="1"/>
            </p:cNvPicPr>
            <p:nvPr/>
          </p:nvPicPr>
          <p:blipFill>
            <a:blip r:embed="rId4"/>
            <a:stretch>
              <a:fillRect/>
            </a:stretch>
          </p:blipFill>
          <p:spPr>
            <a:xfrm>
              <a:off x="5485668" y="223013"/>
              <a:ext cx="6457539" cy="6484862"/>
            </a:xfrm>
            <a:prstGeom prst="rect">
              <a:avLst/>
            </a:prstGeom>
          </p:spPr>
        </p:pic>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randombar(horizontal)">
                                      <p:cBhvr>
                                        <p:cTn id="7" dur="500"/>
                                        <p:tgtEl>
                                          <p:spTgt spid="14"/>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16" presetClass="entr" presetSubtype="37"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barn(outVertical)">
                                      <p:cBhvr>
                                        <p:cTn id="12" dur="500"/>
                                        <p:tgtEl>
                                          <p:spTgt spid="18"/>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arn(outVertical)">
                                      <p:cBhvr>
                                        <p:cTn id="15" dur="500"/>
                                        <p:tgtEl>
                                          <p:spTgt spid="17"/>
                                        </p:tgtEl>
                                      </p:cBhvr>
                                    </p:animEffect>
                                  </p:childTnLst>
                                </p:cTn>
                              </p:par>
                            </p:childTnLst>
                          </p:cTn>
                        </p:par>
                      </p:childTnLst>
                    </p:cTn>
                  </p:par>
                  <p:par>
                    <p:cTn id="16" fill="hold" nodeType="clickPar">
                      <p:stCondLst>
                        <p:cond delay="indefinite"/>
                      </p:stCondLst>
                      <p:childTnLst>
                        <p:par>
                          <p:cTn id="17" fill="hold">
                            <p:stCondLst>
                              <p:cond delay="0"/>
                            </p:stCondLst>
                            <p:childTnLst>
                              <p:par>
                                <p:cTn id="18" presetID="2" presetClass="entr" presetSubtype="4" accel="4000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1500" fill="hold"/>
                                        <p:tgtEl>
                                          <p:spTgt spid="8"/>
                                        </p:tgtEl>
                                        <p:attrNameLst>
                                          <p:attrName>ppt_x</p:attrName>
                                        </p:attrNameLst>
                                      </p:cBhvr>
                                      <p:tavLst>
                                        <p:tav tm="0">
                                          <p:val>
                                            <p:strVal val="#ppt_x"/>
                                          </p:val>
                                        </p:tav>
                                        <p:tav tm="100000">
                                          <p:val>
                                            <p:strVal val="#ppt_x"/>
                                          </p:val>
                                        </p:tav>
                                      </p:tavLst>
                                    </p:anim>
                                    <p:anim calcmode="lin" valueType="num">
                                      <p:cBhvr additive="base">
                                        <p:cTn id="21" dur="1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2" fill="hold" nodeType="clickPar">
                      <p:stCondLst>
                        <p:cond delay="indefinite"/>
                      </p:stCondLst>
                      <p:childTnLst>
                        <p:par>
                          <p:cTn id="23" fill="hold">
                            <p:stCondLst>
                              <p:cond delay="0"/>
                            </p:stCondLst>
                            <p:childTnLst>
                              <p:par>
                                <p:cTn id="24" presetID="56" presetClass="entr" presetSubtype="0" fill="hold" grpId="0" nodeType="clickEffect">
                                  <p:stCondLst>
                                    <p:cond delay="0"/>
                                  </p:stCondLst>
                                  <p:iterate type="lt">
                                    <p:tmPct val="10000"/>
                                  </p:iterate>
                                  <p:childTnLst>
                                    <p:set>
                                      <p:cBhvr>
                                        <p:cTn id="25" dur="1" fill="hold">
                                          <p:stCondLst>
                                            <p:cond delay="0"/>
                                          </p:stCondLst>
                                        </p:cTn>
                                        <p:tgtEl>
                                          <p:spTgt spid="9"/>
                                        </p:tgtEl>
                                        <p:attrNameLst>
                                          <p:attrName>style.visibility</p:attrName>
                                        </p:attrNameLst>
                                      </p:cBhvr>
                                      <p:to>
                                        <p:strVal val="visible"/>
                                      </p:to>
                                    </p:set>
                                    <p:anim by="(-#ppt_w*2)" calcmode="lin" valueType="num">
                                      <p:cBhvr rctx="PPT">
                                        <p:cTn id="26" dur="500" autoRev="1" fill="hold">
                                          <p:stCondLst>
                                            <p:cond delay="0"/>
                                          </p:stCondLst>
                                        </p:cTn>
                                        <p:tgtEl>
                                          <p:spTgt spid="9"/>
                                        </p:tgtEl>
                                        <p:attrNameLst>
                                          <p:attrName>ppt_w</p:attrName>
                                        </p:attrNameLst>
                                      </p:cBhvr>
                                    </p:anim>
                                    <p:anim by="(#ppt_w*0.50)" calcmode="lin" valueType="num">
                                      <p:cBhvr>
                                        <p:cTn id="27" dur="500" decel="50000" autoRev="1" fill="hold">
                                          <p:stCondLst>
                                            <p:cond delay="0"/>
                                          </p:stCondLst>
                                        </p:cTn>
                                        <p:tgtEl>
                                          <p:spTgt spid="9"/>
                                        </p:tgtEl>
                                        <p:attrNameLst>
                                          <p:attrName>ppt_x</p:attrName>
                                        </p:attrNameLst>
                                      </p:cBhvr>
                                    </p:anim>
                                    <p:anim from="(-#ppt_h/2)" to="(#ppt_y)" calcmode="lin" valueType="num">
                                      <p:cBhvr>
                                        <p:cTn id="28" dur="1000" fill="hold">
                                          <p:stCondLst>
                                            <p:cond delay="0"/>
                                          </p:stCondLst>
                                        </p:cTn>
                                        <p:tgtEl>
                                          <p:spTgt spid="9"/>
                                        </p:tgtEl>
                                        <p:attrNameLst>
                                          <p:attrName>ppt_y</p:attrName>
                                        </p:attrNameLst>
                                      </p:cBhvr>
                                    </p:anim>
                                    <p:animRot by="21600000">
                                      <p:cBhvr>
                                        <p:cTn id="29" dur="1000" fill="hold">
                                          <p:stCondLst>
                                            <p:cond delay="0"/>
                                          </p:stCondLst>
                                        </p:cTn>
                                        <p:tgtEl>
                                          <p:spTgt spid="9"/>
                                        </p:tgtEl>
                                        <p:attrNameLst>
                                          <p:attrName>r</p:attrName>
                                        </p:attrNameLst>
                                      </p:cBhvr>
                                    </p:animRot>
                                  </p:childTnLst>
                                </p:cTn>
                              </p:par>
                            </p:childTnLst>
                          </p:cTn>
                        </p:par>
                      </p:childTnLst>
                    </p:cTn>
                  </p:par>
                  <p:par>
                    <p:cTn id="30" fill="hold" nodeType="clickPar">
                      <p:stCondLst>
                        <p:cond delay="indefinite"/>
                      </p:stCondLst>
                      <p:childTnLst>
                        <p:par>
                          <p:cTn id="31" fill="hold">
                            <p:stCondLst>
                              <p:cond delay="0"/>
                            </p:stCondLst>
                            <p:childTnLst>
                              <p:par>
                                <p:cTn id="32" presetID="2" presetClass="entr" presetSubtype="4" fill="hold" grpId="0" nodeType="click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additive="base">
                                        <p:cTn id="38" dur="500" fill="hold"/>
                                        <p:tgtEl>
                                          <p:spTgt spid="11"/>
                                        </p:tgtEl>
                                        <p:attrNameLst>
                                          <p:attrName>ppt_x</p:attrName>
                                        </p:attrNameLst>
                                      </p:cBhvr>
                                      <p:tavLst>
                                        <p:tav tm="0">
                                          <p:val>
                                            <p:strVal val="#ppt_x"/>
                                          </p:val>
                                        </p:tav>
                                        <p:tav tm="100000">
                                          <p:val>
                                            <p:strVal val="#ppt_x"/>
                                          </p:val>
                                        </p:tav>
                                      </p:tavLst>
                                    </p:anim>
                                    <p:anim calcmode="lin" valueType="num">
                                      <p:cBhvr additive="base">
                                        <p:cTn id="39" dur="500" fill="hold"/>
                                        <p:tgtEl>
                                          <p:spTgt spid="11"/>
                                        </p:tgtEl>
                                        <p:attrNameLst>
                                          <p:attrName>ppt_y</p:attrName>
                                        </p:attrNameLst>
                                      </p:cBhvr>
                                      <p:tavLst>
                                        <p:tav tm="0">
                                          <p:val>
                                            <p:strVal val="1+#ppt_h/2"/>
                                          </p:val>
                                        </p:tav>
                                        <p:tav tm="100000">
                                          <p:val>
                                            <p:strVal val="#ppt_y"/>
                                          </p:val>
                                        </p:tav>
                                      </p:tavLst>
                                    </p:anim>
                                  </p:childTnLst>
                                </p:cTn>
                              </p:par>
                              <p:par>
                                <p:cTn id="40" presetID="2" presetClass="entr" presetSubtype="4"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additive="base">
                                        <p:cTn id="42" dur="500" fill="hold"/>
                                        <p:tgtEl>
                                          <p:spTgt spid="12"/>
                                        </p:tgtEl>
                                        <p:attrNameLst>
                                          <p:attrName>ppt_x</p:attrName>
                                        </p:attrNameLst>
                                      </p:cBhvr>
                                      <p:tavLst>
                                        <p:tav tm="0">
                                          <p:val>
                                            <p:strVal val="#ppt_x"/>
                                          </p:val>
                                        </p:tav>
                                        <p:tav tm="100000">
                                          <p:val>
                                            <p:strVal val="#ppt_x"/>
                                          </p:val>
                                        </p:tav>
                                      </p:tavLst>
                                    </p:anim>
                                    <p:anim calcmode="lin" valueType="num">
                                      <p:cBhvr additive="base">
                                        <p:cTn id="43" dur="500" fill="hold"/>
                                        <p:tgtEl>
                                          <p:spTgt spid="12"/>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additive="base">
                                        <p:cTn id="46" dur="500" fill="hold"/>
                                        <p:tgtEl>
                                          <p:spTgt spid="13"/>
                                        </p:tgtEl>
                                        <p:attrNameLst>
                                          <p:attrName>ppt_x</p:attrName>
                                        </p:attrNameLst>
                                      </p:cBhvr>
                                      <p:tavLst>
                                        <p:tav tm="0">
                                          <p:val>
                                            <p:strVal val="#ppt_x"/>
                                          </p:val>
                                        </p:tav>
                                        <p:tav tm="100000">
                                          <p:val>
                                            <p:strVal val="#ppt_x"/>
                                          </p:val>
                                        </p:tav>
                                      </p:tavLst>
                                    </p:anim>
                                    <p:anim calcmode="lin" valueType="num">
                                      <p:cBhvr additive="base">
                                        <p:cTn id="47"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p:bldP spid="11" grpId="0"/>
      <p:bldP spid="12" grpId="0"/>
      <p:bldP spid="13" grpId="0"/>
      <p:bldP spid="17" grpId="0" animBg="1"/>
      <p:bldP spid="18" grpId="0" animBg="1"/>
    </p:bldLst>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cxnSp>
        <p:nvCxnSpPr>
          <p:cNvPr id="6" name="直接连接符 5"/>
          <p:cNvCxnSpPr/>
          <p:nvPr/>
        </p:nvCxnSpPr>
        <p:spPr>
          <a:xfrm>
            <a:off x="790239" y="2831171"/>
            <a:ext cx="748103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flipV="1">
            <a:off x="779524" y="2198949"/>
            <a:ext cx="321469" cy="6322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椭圆 7"/>
          <p:cNvSpPr/>
          <p:nvPr/>
        </p:nvSpPr>
        <p:spPr>
          <a:xfrm>
            <a:off x="1068846" y="2113224"/>
            <a:ext cx="117872" cy="117872"/>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noAutofit/>
          </a:bodyPr>
          <a:lstStyle/>
          <a:p>
            <a:pPr algn="ctr"/>
            <a:endParaRPr lang="zh-CN" altLang="en-US" sz="1200">
              <a:latin typeface="微软雅黑" panose="020b0503020204020204" pitchFamily="34" charset="-122"/>
              <a:ea typeface="微软雅黑" panose="020b0503020204020204" pitchFamily="34" charset="-122"/>
            </a:endParaRPr>
          </a:p>
        </p:txBody>
      </p:sp>
      <p:sp>
        <p:nvSpPr>
          <p:cNvPr id="9" name="椭圆 8"/>
          <p:cNvSpPr/>
          <p:nvPr/>
        </p:nvSpPr>
        <p:spPr>
          <a:xfrm>
            <a:off x="1151891" y="1505111"/>
            <a:ext cx="482204" cy="48220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noAutofit/>
          </a:bodyPr>
          <a:lstStyle/>
          <a:p>
            <a:pPr algn="ctr"/>
            <a:r>
              <a:rPr lang="en-US" altLang="zh-CN" sz="1200">
                <a:latin typeface="微软雅黑" panose="020b0503020204020204" pitchFamily="34" charset="-122"/>
                <a:ea typeface="微软雅黑" panose="020b0503020204020204" pitchFamily="34" charset="-122"/>
              </a:rPr>
              <a:t>01</a:t>
            </a:r>
            <a:endParaRPr lang="zh-CN" altLang="en-US" sz="1200">
              <a:latin typeface="微软雅黑" panose="020b0503020204020204" pitchFamily="34" charset="-122"/>
              <a:ea typeface="微软雅黑" panose="020b0503020204020204" pitchFamily="34" charset="-122"/>
            </a:endParaRPr>
          </a:p>
        </p:txBody>
      </p:sp>
      <p:grpSp>
        <p:nvGrpSpPr>
          <p:cNvPr id="2" name="组合 9"/>
          <p:cNvGrpSpPr/>
          <p:nvPr/>
        </p:nvGrpSpPr>
        <p:grpSpPr>
          <a:xfrm>
            <a:off x="1068845" y="1422065"/>
            <a:ext cx="648296" cy="648296"/>
            <a:chOff x="857250" y="1893093"/>
            <a:chExt cx="864394" cy="864394"/>
          </a:xfrm>
        </p:grpSpPr>
        <p:sp>
          <p:nvSpPr>
            <p:cNvPr id="11" name="弧形 10"/>
            <p:cNvSpPr/>
            <p:nvPr/>
          </p:nvSpPr>
          <p:spPr>
            <a:xfrm>
              <a:off x="857250" y="1893093"/>
              <a:ext cx="864394" cy="864394"/>
            </a:xfrm>
            <a:prstGeom prst="arc">
              <a:avLst>
                <a:gd name="adj1" fmla="val 3406397"/>
                <a:gd name="adj2" fmla="val 20528884"/>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2" name="弧形 11"/>
            <p:cNvSpPr/>
            <p:nvPr/>
          </p:nvSpPr>
          <p:spPr>
            <a:xfrm>
              <a:off x="857250" y="1893093"/>
              <a:ext cx="864394" cy="864394"/>
            </a:xfrm>
            <a:prstGeom prst="arc">
              <a:avLst>
                <a:gd name="adj1" fmla="val 7448849"/>
                <a:gd name="adj2" fmla="val 17571339"/>
              </a:avLst>
            </a:prstGeom>
            <a:ln w="762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13" name="文本框 12"/>
          <p:cNvSpPr txBox="1"/>
          <p:nvPr/>
        </p:nvSpPr>
        <p:spPr>
          <a:xfrm>
            <a:off x="1800187" y="1434589"/>
            <a:ext cx="2207423" cy="392415"/>
          </a:xfrm>
          <a:prstGeom prst="rect">
            <a:avLst/>
          </a:prstGeom>
          <a:noFill/>
        </p:spPr>
        <p:txBody>
          <a:bodyPr wrap="square" lIns="68580" tIns="34290" rIns="68580" bIns="34290" rtlCol="0">
            <a:spAutoFit/>
          </a:bodyPr>
          <a:lstStyle/>
          <a:p>
            <a:pPr>
              <a:spcBef>
                <a:spcPts val="450"/>
              </a:spcBef>
            </a:pPr>
            <a:r>
              <a:rPr lang="en-US" altLang="zh-CN" sz="1050">
                <a:solidFill>
                  <a:schemeClr val="bg1">
                    <a:lumMod val="50000"/>
                  </a:schemeClr>
                </a:solidFill>
                <a:latin typeface="微软雅黑" panose="020b0503020204020204" pitchFamily="34" charset="-122"/>
                <a:ea typeface="微软雅黑" panose="020b0503020204020204" pitchFamily="34" charset="-122"/>
              </a:rPr>
              <a:t>请在此粘贴或者输入您的文字内容请在此粘贴或者输入您的文字内容</a:t>
            </a:r>
            <a:endParaRPr lang="en-US" altLang="zh-CN" sz="105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14" name="直接连接符 13"/>
          <p:cNvCxnSpPr/>
          <p:nvPr/>
        </p:nvCxnSpPr>
        <p:spPr>
          <a:xfrm flipH="1">
            <a:off x="1845729" y="2843695"/>
            <a:ext cx="321469" cy="6322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椭圆 14"/>
          <p:cNvSpPr/>
          <p:nvPr/>
        </p:nvSpPr>
        <p:spPr>
          <a:xfrm flipV="1">
            <a:off x="1786793" y="3432184"/>
            <a:ext cx="117872" cy="117872"/>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noAutofit/>
          </a:bodyPr>
          <a:lstStyle/>
          <a:p>
            <a:pPr algn="ctr"/>
            <a:endParaRPr lang="zh-CN" altLang="en-US" sz="1200">
              <a:latin typeface="微软雅黑" panose="020b0503020204020204" pitchFamily="34" charset="-122"/>
              <a:ea typeface="微软雅黑" panose="020b0503020204020204" pitchFamily="34" charset="-122"/>
            </a:endParaRPr>
          </a:p>
        </p:txBody>
      </p:sp>
      <p:sp>
        <p:nvSpPr>
          <p:cNvPr id="16" name="椭圆 15"/>
          <p:cNvSpPr/>
          <p:nvPr/>
        </p:nvSpPr>
        <p:spPr>
          <a:xfrm>
            <a:off x="1344766" y="3687551"/>
            <a:ext cx="482204" cy="48220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noAutofit/>
          </a:bodyPr>
          <a:lstStyle/>
          <a:p>
            <a:pPr algn="ctr"/>
            <a:r>
              <a:rPr lang="en-US" altLang="zh-CN" sz="1200">
                <a:latin typeface="微软雅黑" panose="020b0503020204020204" pitchFamily="34" charset="-122"/>
                <a:ea typeface="微软雅黑" panose="020b0503020204020204" pitchFamily="34" charset="-122"/>
              </a:rPr>
              <a:t>02</a:t>
            </a:r>
            <a:endParaRPr lang="zh-CN" altLang="en-US" sz="1200">
              <a:latin typeface="微软雅黑" panose="020b0503020204020204" pitchFamily="34" charset="-122"/>
              <a:ea typeface="微软雅黑" panose="020b0503020204020204" pitchFamily="34" charset="-122"/>
            </a:endParaRPr>
          </a:p>
        </p:txBody>
      </p:sp>
      <p:grpSp>
        <p:nvGrpSpPr>
          <p:cNvPr id="10" name="组合 16"/>
          <p:cNvGrpSpPr/>
          <p:nvPr/>
        </p:nvGrpSpPr>
        <p:grpSpPr>
          <a:xfrm>
            <a:off x="1261720" y="3604505"/>
            <a:ext cx="648296" cy="648296"/>
            <a:chOff x="857250" y="1893093"/>
            <a:chExt cx="864394" cy="864394"/>
          </a:xfrm>
        </p:grpSpPr>
        <p:sp>
          <p:nvSpPr>
            <p:cNvPr id="18" name="弧形 17"/>
            <p:cNvSpPr/>
            <p:nvPr/>
          </p:nvSpPr>
          <p:spPr>
            <a:xfrm>
              <a:off x="857250" y="1893093"/>
              <a:ext cx="864394" cy="864394"/>
            </a:xfrm>
            <a:prstGeom prst="arc">
              <a:avLst>
                <a:gd name="adj1" fmla="val 3406397"/>
                <a:gd name="adj2" fmla="val 20528884"/>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9" name="弧形 18"/>
            <p:cNvSpPr/>
            <p:nvPr/>
          </p:nvSpPr>
          <p:spPr>
            <a:xfrm>
              <a:off x="857250" y="1893093"/>
              <a:ext cx="864394" cy="864394"/>
            </a:xfrm>
            <a:prstGeom prst="arc">
              <a:avLst>
                <a:gd name="adj1" fmla="val 7448849"/>
                <a:gd name="adj2" fmla="val 17571339"/>
              </a:avLst>
            </a:prstGeom>
            <a:ln w="762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20" name="文本框 19"/>
          <p:cNvSpPr txBox="1"/>
          <p:nvPr/>
        </p:nvSpPr>
        <p:spPr>
          <a:xfrm>
            <a:off x="1993062" y="3617029"/>
            <a:ext cx="2207423" cy="392415"/>
          </a:xfrm>
          <a:prstGeom prst="rect">
            <a:avLst/>
          </a:prstGeom>
          <a:noFill/>
        </p:spPr>
        <p:txBody>
          <a:bodyPr wrap="square" lIns="68580" tIns="34290" rIns="68580" bIns="34290" rtlCol="0">
            <a:spAutoFit/>
          </a:bodyPr>
          <a:lstStyle/>
          <a:p>
            <a:pPr>
              <a:spcBef>
                <a:spcPts val="450"/>
              </a:spcBef>
            </a:pPr>
            <a:r>
              <a:rPr lang="en-US" altLang="zh-CN" sz="1050">
                <a:solidFill>
                  <a:schemeClr val="bg1">
                    <a:lumMod val="50000"/>
                  </a:schemeClr>
                </a:solidFill>
                <a:latin typeface="微软雅黑" panose="020b0503020204020204" pitchFamily="34" charset="-122"/>
                <a:ea typeface="微软雅黑" panose="020b0503020204020204" pitchFamily="34" charset="-122"/>
              </a:rPr>
              <a:t>请在此粘贴或者输入您的文字内容请在此粘贴或者输入您的文字内容</a:t>
            </a:r>
            <a:endParaRPr lang="en-US" altLang="zh-CN" sz="105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21" name="直接连接符 20"/>
          <p:cNvCxnSpPr/>
          <p:nvPr/>
        </p:nvCxnSpPr>
        <p:spPr>
          <a:xfrm flipV="1">
            <a:off x="4632374" y="2198949"/>
            <a:ext cx="321469" cy="6322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2" name="椭圆 21"/>
          <p:cNvSpPr/>
          <p:nvPr/>
        </p:nvSpPr>
        <p:spPr>
          <a:xfrm>
            <a:off x="4921696" y="2113224"/>
            <a:ext cx="117872" cy="117872"/>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noAutofit/>
          </a:bodyPr>
          <a:lstStyle/>
          <a:p>
            <a:pPr algn="ctr"/>
            <a:endParaRPr lang="zh-CN" altLang="en-US" sz="1200">
              <a:latin typeface="微软雅黑" panose="020b0503020204020204" pitchFamily="34" charset="-122"/>
              <a:ea typeface="微软雅黑" panose="020b0503020204020204" pitchFamily="34" charset="-122"/>
            </a:endParaRPr>
          </a:p>
        </p:txBody>
      </p:sp>
      <p:sp>
        <p:nvSpPr>
          <p:cNvPr id="23" name="椭圆 22"/>
          <p:cNvSpPr/>
          <p:nvPr/>
        </p:nvSpPr>
        <p:spPr>
          <a:xfrm>
            <a:off x="5004741" y="1505111"/>
            <a:ext cx="482204" cy="48220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noAutofit/>
          </a:bodyPr>
          <a:lstStyle/>
          <a:p>
            <a:pPr algn="ctr"/>
            <a:r>
              <a:rPr lang="en-US" altLang="zh-CN" sz="1200">
                <a:latin typeface="微软雅黑" panose="020b0503020204020204" pitchFamily="34" charset="-122"/>
                <a:ea typeface="微软雅黑" panose="020b0503020204020204" pitchFamily="34" charset="-122"/>
              </a:rPr>
              <a:t>03</a:t>
            </a:r>
            <a:endParaRPr lang="zh-CN" altLang="en-US" sz="1200">
              <a:latin typeface="微软雅黑" panose="020b0503020204020204" pitchFamily="34" charset="-122"/>
              <a:ea typeface="微软雅黑" panose="020b0503020204020204" pitchFamily="34" charset="-122"/>
            </a:endParaRPr>
          </a:p>
        </p:txBody>
      </p:sp>
      <p:grpSp>
        <p:nvGrpSpPr>
          <p:cNvPr id="17" name="组合 23"/>
          <p:cNvGrpSpPr/>
          <p:nvPr/>
        </p:nvGrpSpPr>
        <p:grpSpPr>
          <a:xfrm>
            <a:off x="4921695" y="1422065"/>
            <a:ext cx="648296" cy="648296"/>
            <a:chOff x="857250" y="1893093"/>
            <a:chExt cx="864394" cy="864394"/>
          </a:xfrm>
        </p:grpSpPr>
        <p:sp>
          <p:nvSpPr>
            <p:cNvPr id="25" name="弧形 24"/>
            <p:cNvSpPr/>
            <p:nvPr/>
          </p:nvSpPr>
          <p:spPr>
            <a:xfrm>
              <a:off x="857250" y="1893093"/>
              <a:ext cx="864394" cy="864394"/>
            </a:xfrm>
            <a:prstGeom prst="arc">
              <a:avLst>
                <a:gd name="adj1" fmla="val 3406397"/>
                <a:gd name="adj2" fmla="val 20528884"/>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6" name="弧形 25"/>
            <p:cNvSpPr/>
            <p:nvPr/>
          </p:nvSpPr>
          <p:spPr>
            <a:xfrm>
              <a:off x="857250" y="1893093"/>
              <a:ext cx="864394" cy="864394"/>
            </a:xfrm>
            <a:prstGeom prst="arc">
              <a:avLst>
                <a:gd name="adj1" fmla="val 7448849"/>
                <a:gd name="adj2" fmla="val 17571339"/>
              </a:avLst>
            </a:prstGeom>
            <a:ln w="762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27" name="文本框 26"/>
          <p:cNvSpPr txBox="1"/>
          <p:nvPr/>
        </p:nvSpPr>
        <p:spPr>
          <a:xfrm>
            <a:off x="5653036" y="1434589"/>
            <a:ext cx="2207423" cy="392415"/>
          </a:xfrm>
          <a:prstGeom prst="rect">
            <a:avLst/>
          </a:prstGeom>
          <a:noFill/>
        </p:spPr>
        <p:txBody>
          <a:bodyPr wrap="square" lIns="68580" tIns="34290" rIns="68580" bIns="34290" rtlCol="0">
            <a:spAutoFit/>
          </a:bodyPr>
          <a:lstStyle/>
          <a:p>
            <a:pPr>
              <a:spcBef>
                <a:spcPts val="450"/>
              </a:spcBef>
            </a:pPr>
            <a:r>
              <a:rPr lang="en-US" altLang="zh-CN" sz="1050">
                <a:solidFill>
                  <a:schemeClr val="bg1">
                    <a:lumMod val="50000"/>
                  </a:schemeClr>
                </a:solidFill>
                <a:latin typeface="微软雅黑" panose="020b0503020204020204" pitchFamily="34" charset="-122"/>
                <a:ea typeface="微软雅黑" panose="020b0503020204020204" pitchFamily="34" charset="-122"/>
              </a:rPr>
              <a:t>请在此粘贴或者输入您的文字内容请在此粘贴或者输入您的文字内容</a:t>
            </a:r>
            <a:endParaRPr lang="en-US" altLang="zh-CN" sz="105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28" name="直接连接符 27"/>
          <p:cNvCxnSpPr/>
          <p:nvPr/>
        </p:nvCxnSpPr>
        <p:spPr>
          <a:xfrm flipH="1">
            <a:off x="5698578" y="2843695"/>
            <a:ext cx="321469" cy="6322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9" name="椭圆 28"/>
          <p:cNvSpPr/>
          <p:nvPr/>
        </p:nvSpPr>
        <p:spPr>
          <a:xfrm flipV="1">
            <a:off x="5639643" y="3432184"/>
            <a:ext cx="117872" cy="117872"/>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noAutofit/>
          </a:bodyPr>
          <a:lstStyle/>
          <a:p>
            <a:pPr algn="ctr"/>
            <a:endParaRPr lang="zh-CN" altLang="en-US" sz="1200">
              <a:latin typeface="微软雅黑" panose="020b0503020204020204" pitchFamily="34" charset="-122"/>
              <a:ea typeface="微软雅黑" panose="020b0503020204020204" pitchFamily="34" charset="-122"/>
            </a:endParaRPr>
          </a:p>
        </p:txBody>
      </p:sp>
      <p:sp>
        <p:nvSpPr>
          <p:cNvPr id="30" name="椭圆 29"/>
          <p:cNvSpPr/>
          <p:nvPr/>
        </p:nvSpPr>
        <p:spPr>
          <a:xfrm>
            <a:off x="5197616" y="3687551"/>
            <a:ext cx="482204" cy="4822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noAutofit/>
          </a:bodyPr>
          <a:lstStyle/>
          <a:p>
            <a:pPr algn="ctr"/>
            <a:r>
              <a:rPr lang="en-US" altLang="zh-CN" sz="1200">
                <a:latin typeface="微软雅黑" panose="020b0503020204020204" pitchFamily="34" charset="-122"/>
                <a:ea typeface="微软雅黑" panose="020b0503020204020204" pitchFamily="34" charset="-122"/>
              </a:rPr>
              <a:t>04</a:t>
            </a:r>
            <a:endParaRPr lang="zh-CN" altLang="en-US" sz="1200">
              <a:latin typeface="微软雅黑" panose="020b0503020204020204" pitchFamily="34" charset="-122"/>
              <a:ea typeface="微软雅黑" panose="020b0503020204020204" pitchFamily="34" charset="-122"/>
            </a:endParaRPr>
          </a:p>
        </p:txBody>
      </p:sp>
      <p:grpSp>
        <p:nvGrpSpPr>
          <p:cNvPr id="24" name="组合 30"/>
          <p:cNvGrpSpPr/>
          <p:nvPr/>
        </p:nvGrpSpPr>
        <p:grpSpPr>
          <a:xfrm>
            <a:off x="5114570" y="3604505"/>
            <a:ext cx="648296" cy="648296"/>
            <a:chOff x="857250" y="1893093"/>
            <a:chExt cx="864394" cy="864394"/>
          </a:xfrm>
        </p:grpSpPr>
        <p:sp>
          <p:nvSpPr>
            <p:cNvPr id="32" name="弧形 31"/>
            <p:cNvSpPr/>
            <p:nvPr/>
          </p:nvSpPr>
          <p:spPr>
            <a:xfrm>
              <a:off x="857250" y="1893093"/>
              <a:ext cx="864394" cy="864394"/>
            </a:xfrm>
            <a:prstGeom prst="arc">
              <a:avLst>
                <a:gd name="adj1" fmla="val 3406397"/>
                <a:gd name="adj2" fmla="val 20528884"/>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3" name="弧形 32"/>
            <p:cNvSpPr/>
            <p:nvPr/>
          </p:nvSpPr>
          <p:spPr>
            <a:xfrm>
              <a:off x="857250" y="1893093"/>
              <a:ext cx="864394" cy="864394"/>
            </a:xfrm>
            <a:prstGeom prst="arc">
              <a:avLst>
                <a:gd name="adj1" fmla="val 7448849"/>
                <a:gd name="adj2" fmla="val 17571339"/>
              </a:avLst>
            </a:prstGeom>
            <a:ln w="762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34" name="文本框 33"/>
          <p:cNvSpPr txBox="1"/>
          <p:nvPr/>
        </p:nvSpPr>
        <p:spPr>
          <a:xfrm>
            <a:off x="5845912" y="3617029"/>
            <a:ext cx="2207423" cy="392415"/>
          </a:xfrm>
          <a:prstGeom prst="rect">
            <a:avLst/>
          </a:prstGeom>
          <a:noFill/>
        </p:spPr>
        <p:txBody>
          <a:bodyPr wrap="square" lIns="68580" tIns="34290" rIns="68580" bIns="34290" rtlCol="0">
            <a:spAutoFit/>
          </a:bodyPr>
          <a:lstStyle/>
          <a:p>
            <a:pPr>
              <a:spcBef>
                <a:spcPts val="450"/>
              </a:spcBef>
            </a:pPr>
            <a:r>
              <a:rPr lang="en-US" altLang="zh-CN" sz="1050">
                <a:solidFill>
                  <a:schemeClr val="bg1">
                    <a:lumMod val="50000"/>
                  </a:schemeClr>
                </a:solidFill>
                <a:latin typeface="微软雅黑" panose="020b0503020204020204" pitchFamily="34" charset="-122"/>
                <a:ea typeface="微软雅黑" panose="020b0503020204020204" pitchFamily="34" charset="-122"/>
              </a:rPr>
              <a:t>请在此粘贴或者输入您的文字内容请在此粘贴或者输入您的文字内容</a:t>
            </a:r>
            <a:endParaRPr lang="en-US" altLang="zh-CN" sz="105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000"/>
                                        <p:tgtEl>
                                          <p:spTgt spid="6"/>
                                        </p:tgtEl>
                                      </p:cBhvr>
                                    </p:animEffect>
                                  </p:childTnLst>
                                </p:cTn>
                              </p:par>
                            </p:childTnLst>
                          </p:cTn>
                        </p:par>
                        <p:par>
                          <p:cTn id="8" fill="hold" nodeType="afterGroup">
                            <p:stCondLst>
                              <p:cond delay="10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nodeType="afterGroup">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nodeType="afterGroup">
                            <p:stCondLst>
                              <p:cond delay="2000"/>
                            </p:stCondLst>
                            <p:childTnLst>
                              <p:par>
                                <p:cTn id="17" presetID="10"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750"/>
                                        <p:tgtEl>
                                          <p:spTgt spid="2"/>
                                        </p:tgtEl>
                                      </p:cBhvr>
                                    </p:animEffect>
                                  </p:childTnLst>
                                </p:cTn>
                              </p:par>
                            </p:childTnLst>
                          </p:cTn>
                        </p:par>
                        <p:par>
                          <p:cTn id="20" fill="hold" nodeType="afterGroup">
                            <p:stCondLst>
                              <p:cond delay="275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000"/>
                                        <p:tgtEl>
                                          <p:spTgt spid="9"/>
                                        </p:tgtEl>
                                      </p:cBhvr>
                                    </p:animEffect>
                                  </p:childTnLst>
                                </p:cTn>
                              </p:par>
                            </p:childTnLst>
                          </p:cTn>
                        </p:par>
                        <p:par>
                          <p:cTn id="24" fill="hold" nodeType="afterGroup">
                            <p:stCondLst>
                              <p:cond delay="3750"/>
                            </p:stCondLst>
                            <p:childTnLst>
                              <p:par>
                                <p:cTn id="25" presetID="22" presetClass="entr" presetSubtype="8"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left)">
                                      <p:cBhvr>
                                        <p:cTn id="27" dur="1000"/>
                                        <p:tgtEl>
                                          <p:spTgt spid="13"/>
                                        </p:tgtEl>
                                      </p:cBhvr>
                                    </p:animEffect>
                                  </p:childTnLst>
                                </p:cTn>
                              </p:par>
                            </p:childTnLst>
                          </p:cTn>
                        </p:par>
                        <p:par>
                          <p:cTn id="28" fill="hold" nodeType="afterGroup">
                            <p:stCondLst>
                              <p:cond delay="4750"/>
                            </p:stCondLst>
                            <p:childTnLst>
                              <p:par>
                                <p:cTn id="29" presetID="22" presetClass="entr" presetSubtype="1" fill="hold"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wipe(up)">
                                      <p:cBhvr>
                                        <p:cTn id="31" dur="500"/>
                                        <p:tgtEl>
                                          <p:spTgt spid="14"/>
                                        </p:tgtEl>
                                      </p:cBhvr>
                                    </p:animEffect>
                                  </p:childTnLst>
                                </p:cTn>
                              </p:par>
                            </p:childTnLst>
                          </p:cTn>
                        </p:par>
                        <p:par>
                          <p:cTn id="32" fill="hold" nodeType="afterGroup">
                            <p:stCondLst>
                              <p:cond delay="5250"/>
                            </p:stCondLst>
                            <p:childTnLst>
                              <p:par>
                                <p:cTn id="33" presetID="10" presetClass="entr" presetSubtype="0" fill="hold" grpId="0"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childTnLst>
                          </p:cTn>
                        </p:par>
                        <p:par>
                          <p:cTn id="36" fill="hold" nodeType="afterGroup">
                            <p:stCondLst>
                              <p:cond delay="5750"/>
                            </p:stCondLst>
                            <p:childTnLst>
                              <p:par>
                                <p:cTn id="37" presetID="10" presetClass="entr" presetSubtype="0" fill="hold"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750"/>
                                        <p:tgtEl>
                                          <p:spTgt spid="10"/>
                                        </p:tgtEl>
                                      </p:cBhvr>
                                    </p:animEffect>
                                  </p:childTnLst>
                                </p:cTn>
                              </p:par>
                            </p:childTnLst>
                          </p:cTn>
                        </p:par>
                        <p:par>
                          <p:cTn id="40" fill="hold" nodeType="afterGroup">
                            <p:stCondLst>
                              <p:cond delay="6500"/>
                            </p:stCondLst>
                            <p:childTnLst>
                              <p:par>
                                <p:cTn id="41" presetID="10" presetClass="entr" presetSubtype="0" fill="hold" grpId="0"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1000"/>
                                        <p:tgtEl>
                                          <p:spTgt spid="16"/>
                                        </p:tgtEl>
                                      </p:cBhvr>
                                    </p:animEffect>
                                  </p:childTnLst>
                                </p:cTn>
                              </p:par>
                            </p:childTnLst>
                          </p:cTn>
                        </p:par>
                        <p:par>
                          <p:cTn id="44" fill="hold" nodeType="afterGroup">
                            <p:stCondLst>
                              <p:cond delay="7500"/>
                            </p:stCondLst>
                            <p:childTnLst>
                              <p:par>
                                <p:cTn id="45" presetID="22" presetClass="entr" presetSubtype="8" fill="hold" grpId="0"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wipe(left)">
                                      <p:cBhvr>
                                        <p:cTn id="47" dur="1000"/>
                                        <p:tgtEl>
                                          <p:spTgt spid="20"/>
                                        </p:tgtEl>
                                      </p:cBhvr>
                                    </p:animEffect>
                                  </p:childTnLst>
                                </p:cTn>
                              </p:par>
                            </p:childTnLst>
                          </p:cTn>
                        </p:par>
                        <p:par>
                          <p:cTn id="48" fill="hold" nodeType="afterGroup">
                            <p:stCondLst>
                              <p:cond delay="8500"/>
                            </p:stCondLst>
                            <p:childTnLst>
                              <p:par>
                                <p:cTn id="49" presetID="22" presetClass="entr" presetSubtype="4" fill="hold" nodeType="after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wipe(down)">
                                      <p:cBhvr>
                                        <p:cTn id="51" dur="500"/>
                                        <p:tgtEl>
                                          <p:spTgt spid="21"/>
                                        </p:tgtEl>
                                      </p:cBhvr>
                                    </p:animEffect>
                                  </p:childTnLst>
                                </p:cTn>
                              </p:par>
                            </p:childTnLst>
                          </p:cTn>
                        </p:par>
                        <p:par>
                          <p:cTn id="52" fill="hold" nodeType="afterGroup">
                            <p:stCondLst>
                              <p:cond delay="9000"/>
                            </p:stCondLst>
                            <p:childTnLst>
                              <p:par>
                                <p:cTn id="53" presetID="10" presetClass="entr" presetSubtype="0" fill="hold" grpId="0" nodeType="after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500"/>
                                        <p:tgtEl>
                                          <p:spTgt spid="22"/>
                                        </p:tgtEl>
                                      </p:cBhvr>
                                    </p:animEffect>
                                  </p:childTnLst>
                                </p:cTn>
                              </p:par>
                            </p:childTnLst>
                          </p:cTn>
                        </p:par>
                        <p:par>
                          <p:cTn id="56" fill="hold" nodeType="afterGroup">
                            <p:stCondLst>
                              <p:cond delay="9500"/>
                            </p:stCondLst>
                            <p:childTnLst>
                              <p:par>
                                <p:cTn id="57" presetID="10" presetClass="entr" presetSubtype="0" fill="hold" nodeType="after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fade">
                                      <p:cBhvr>
                                        <p:cTn id="59" dur="750"/>
                                        <p:tgtEl>
                                          <p:spTgt spid="17"/>
                                        </p:tgtEl>
                                      </p:cBhvr>
                                    </p:animEffect>
                                  </p:childTnLst>
                                </p:cTn>
                              </p:par>
                            </p:childTnLst>
                          </p:cTn>
                        </p:par>
                        <p:par>
                          <p:cTn id="60" fill="hold" nodeType="afterGroup">
                            <p:stCondLst>
                              <p:cond delay="10250"/>
                            </p:stCondLst>
                            <p:childTnLst>
                              <p:par>
                                <p:cTn id="61" presetID="10" presetClass="entr" presetSubtype="0" fill="hold" grpId="0"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1000"/>
                                        <p:tgtEl>
                                          <p:spTgt spid="23"/>
                                        </p:tgtEl>
                                      </p:cBhvr>
                                    </p:animEffect>
                                  </p:childTnLst>
                                </p:cTn>
                              </p:par>
                            </p:childTnLst>
                          </p:cTn>
                        </p:par>
                        <p:par>
                          <p:cTn id="64" fill="hold" nodeType="afterGroup">
                            <p:stCondLst>
                              <p:cond delay="11250"/>
                            </p:stCondLst>
                            <p:childTnLst>
                              <p:par>
                                <p:cTn id="65" presetID="22" presetClass="entr" presetSubtype="8" fill="hold" grpId="0" nodeType="after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wipe(left)">
                                      <p:cBhvr>
                                        <p:cTn id="67" dur="1000"/>
                                        <p:tgtEl>
                                          <p:spTgt spid="27"/>
                                        </p:tgtEl>
                                      </p:cBhvr>
                                    </p:animEffect>
                                  </p:childTnLst>
                                </p:cTn>
                              </p:par>
                            </p:childTnLst>
                          </p:cTn>
                        </p:par>
                        <p:par>
                          <p:cTn id="68" fill="hold" nodeType="afterGroup">
                            <p:stCondLst>
                              <p:cond delay="12250"/>
                            </p:stCondLst>
                            <p:childTnLst>
                              <p:par>
                                <p:cTn id="69" presetID="22" presetClass="entr" presetSubtype="1" fill="hold" nodeType="afterEffect">
                                  <p:stCondLst>
                                    <p:cond delay="0"/>
                                  </p:stCondLst>
                                  <p:childTnLst>
                                    <p:set>
                                      <p:cBhvr>
                                        <p:cTn id="70" dur="1" fill="hold">
                                          <p:stCondLst>
                                            <p:cond delay="0"/>
                                          </p:stCondLst>
                                        </p:cTn>
                                        <p:tgtEl>
                                          <p:spTgt spid="28"/>
                                        </p:tgtEl>
                                        <p:attrNameLst>
                                          <p:attrName>style.visibility</p:attrName>
                                        </p:attrNameLst>
                                      </p:cBhvr>
                                      <p:to>
                                        <p:strVal val="visible"/>
                                      </p:to>
                                    </p:set>
                                    <p:animEffect transition="in" filter="wipe(up)">
                                      <p:cBhvr>
                                        <p:cTn id="71" dur="500"/>
                                        <p:tgtEl>
                                          <p:spTgt spid="28"/>
                                        </p:tgtEl>
                                      </p:cBhvr>
                                    </p:animEffect>
                                  </p:childTnLst>
                                </p:cTn>
                              </p:par>
                            </p:childTnLst>
                          </p:cTn>
                        </p:par>
                        <p:par>
                          <p:cTn id="72" fill="hold" nodeType="afterGroup">
                            <p:stCondLst>
                              <p:cond delay="12750"/>
                            </p:stCondLst>
                            <p:childTnLst>
                              <p:par>
                                <p:cTn id="73" presetID="10" presetClass="entr" presetSubtype="0" fill="hold" grpId="0" nodeType="after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500"/>
                                        <p:tgtEl>
                                          <p:spTgt spid="29"/>
                                        </p:tgtEl>
                                      </p:cBhvr>
                                    </p:animEffect>
                                  </p:childTnLst>
                                </p:cTn>
                              </p:par>
                            </p:childTnLst>
                          </p:cTn>
                        </p:par>
                        <p:par>
                          <p:cTn id="76" fill="hold" nodeType="afterGroup">
                            <p:stCondLst>
                              <p:cond delay="13250"/>
                            </p:stCondLst>
                            <p:childTnLst>
                              <p:par>
                                <p:cTn id="77" presetID="10" presetClass="entr" presetSubtype="0" fill="hold" nodeType="afterEffect">
                                  <p:stCondLst>
                                    <p:cond delay="0"/>
                                  </p:stCondLst>
                                  <p:childTnLst>
                                    <p:set>
                                      <p:cBhvr>
                                        <p:cTn id="78" dur="1" fill="hold">
                                          <p:stCondLst>
                                            <p:cond delay="0"/>
                                          </p:stCondLst>
                                        </p:cTn>
                                        <p:tgtEl>
                                          <p:spTgt spid="24"/>
                                        </p:tgtEl>
                                        <p:attrNameLst>
                                          <p:attrName>style.visibility</p:attrName>
                                        </p:attrNameLst>
                                      </p:cBhvr>
                                      <p:to>
                                        <p:strVal val="visible"/>
                                      </p:to>
                                    </p:set>
                                    <p:animEffect transition="in" filter="fade">
                                      <p:cBhvr>
                                        <p:cTn id="79" dur="750"/>
                                        <p:tgtEl>
                                          <p:spTgt spid="24"/>
                                        </p:tgtEl>
                                      </p:cBhvr>
                                    </p:animEffect>
                                  </p:childTnLst>
                                </p:cTn>
                              </p:par>
                            </p:childTnLst>
                          </p:cTn>
                        </p:par>
                        <p:par>
                          <p:cTn id="80" fill="hold" nodeType="afterGroup">
                            <p:stCondLst>
                              <p:cond delay="14000"/>
                            </p:stCondLst>
                            <p:childTnLst>
                              <p:par>
                                <p:cTn id="81" presetID="10" presetClass="entr" presetSubtype="0" fill="hold" grpId="0" nodeType="afterEffect">
                                  <p:stCondLst>
                                    <p:cond delay="0"/>
                                  </p:stCondLst>
                                  <p:childTnLst>
                                    <p:set>
                                      <p:cBhvr>
                                        <p:cTn id="82" dur="1" fill="hold">
                                          <p:stCondLst>
                                            <p:cond delay="0"/>
                                          </p:stCondLst>
                                        </p:cTn>
                                        <p:tgtEl>
                                          <p:spTgt spid="30"/>
                                        </p:tgtEl>
                                        <p:attrNameLst>
                                          <p:attrName>style.visibility</p:attrName>
                                        </p:attrNameLst>
                                      </p:cBhvr>
                                      <p:to>
                                        <p:strVal val="visible"/>
                                      </p:to>
                                    </p:set>
                                    <p:animEffect transition="in" filter="fade">
                                      <p:cBhvr>
                                        <p:cTn id="83" dur="1000"/>
                                        <p:tgtEl>
                                          <p:spTgt spid="30"/>
                                        </p:tgtEl>
                                      </p:cBhvr>
                                    </p:animEffect>
                                  </p:childTnLst>
                                </p:cTn>
                              </p:par>
                            </p:childTnLst>
                          </p:cTn>
                        </p:par>
                        <p:par>
                          <p:cTn id="84" fill="hold" nodeType="afterGroup">
                            <p:stCondLst>
                              <p:cond delay="15000"/>
                            </p:stCondLst>
                            <p:childTnLst>
                              <p:par>
                                <p:cTn id="85" presetID="22" presetClass="entr" presetSubtype="8" fill="hold" grpId="0" nodeType="afterEffect">
                                  <p:stCondLst>
                                    <p:cond delay="0"/>
                                  </p:stCondLst>
                                  <p:childTnLst>
                                    <p:set>
                                      <p:cBhvr>
                                        <p:cTn id="86" dur="1" fill="hold">
                                          <p:stCondLst>
                                            <p:cond delay="0"/>
                                          </p:stCondLst>
                                        </p:cTn>
                                        <p:tgtEl>
                                          <p:spTgt spid="34"/>
                                        </p:tgtEl>
                                        <p:attrNameLst>
                                          <p:attrName>style.visibility</p:attrName>
                                        </p:attrNameLst>
                                      </p:cBhvr>
                                      <p:to>
                                        <p:strVal val="visible"/>
                                      </p:to>
                                    </p:set>
                                    <p:animEffect transition="in" filter="wipe(left)">
                                      <p:cBhvr>
                                        <p:cTn id="87"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3" grpId="0"/>
      <p:bldP spid="15" grpId="0" animBg="1"/>
      <p:bldP spid="16" grpId="0" animBg="1"/>
      <p:bldP spid="20" grpId="0"/>
      <p:bldP spid="22" grpId="0" animBg="1"/>
      <p:bldP spid="23" grpId="0" animBg="1"/>
      <p:bldP spid="27" grpId="0"/>
      <p:bldP spid="29" grpId="0" animBg="1"/>
      <p:bldP spid="30" grpId="0" animBg="1"/>
      <p:bldP spid="34" grpId="0"/>
    </p:bldLst>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6" name="Rectangle 6"/>
          <p:cNvSpPr/>
          <p:nvPr/>
        </p:nvSpPr>
        <p:spPr bwMode="auto">
          <a:xfrm>
            <a:off x="364331" y="1427767"/>
            <a:ext cx="1985963" cy="2991549"/>
          </a:xfrm>
          <a:prstGeom prst="rect">
            <a:avLst/>
          </a:prstGeom>
          <a:solidFill>
            <a:schemeClr val="bg1">
              <a:alpha val="60000"/>
            </a:schemeClr>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noAutofit/>
          </a:bodyPr>
          <a:lstStyle/>
          <a:p>
            <a:pPr algn="ctr" defTabSz="685165">
              <a:lnSpc>
                <a:spcPct val="90000"/>
              </a:lnSpc>
              <a:defRPr/>
            </a:pPr>
            <a:endParaRPr lang="en-US" sz="1700">
              <a:solidFill>
                <a:schemeClr val="bg1">
                  <a:lumMod val="50000"/>
                </a:schemeClr>
              </a:solidFill>
              <a:latin typeface="Segoe UI" panose="020b0502040204020203"/>
              <a:ea typeface="Segoe UI" panose="020b0502040204020203" pitchFamily="34" charset="0"/>
              <a:cs typeface="Segoe UI" panose="020b0502040204020203" pitchFamily="34" charset="0"/>
            </a:endParaRPr>
          </a:p>
        </p:txBody>
      </p:sp>
      <p:sp>
        <p:nvSpPr>
          <p:cNvPr id="67" name="Rectangle 6"/>
          <p:cNvSpPr/>
          <p:nvPr/>
        </p:nvSpPr>
        <p:spPr bwMode="auto">
          <a:xfrm>
            <a:off x="2507456" y="1427767"/>
            <a:ext cx="1985963" cy="2991549"/>
          </a:xfrm>
          <a:prstGeom prst="rect">
            <a:avLst/>
          </a:prstGeom>
          <a:solidFill>
            <a:schemeClr val="bg1">
              <a:alpha val="60000"/>
            </a:schemeClr>
          </a:solidFill>
          <a:ln w="952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noAutofit/>
          </a:bodyPr>
          <a:lstStyle/>
          <a:p>
            <a:pPr algn="ctr" defTabSz="685165">
              <a:lnSpc>
                <a:spcPct val="90000"/>
              </a:lnSpc>
              <a:defRPr/>
            </a:pPr>
            <a:endParaRPr lang="en-US" sz="1700">
              <a:solidFill>
                <a:schemeClr val="bg1">
                  <a:lumMod val="50000"/>
                </a:schemeClr>
              </a:solidFill>
              <a:latin typeface="Segoe UI" panose="020b0502040204020203"/>
              <a:ea typeface="Segoe UI" panose="020b0502040204020203" pitchFamily="34" charset="0"/>
              <a:cs typeface="Segoe UI" panose="020b0502040204020203" pitchFamily="34" charset="0"/>
            </a:endParaRPr>
          </a:p>
        </p:txBody>
      </p:sp>
      <p:sp>
        <p:nvSpPr>
          <p:cNvPr id="68" name="Rectangle 6"/>
          <p:cNvSpPr/>
          <p:nvPr/>
        </p:nvSpPr>
        <p:spPr bwMode="auto">
          <a:xfrm>
            <a:off x="4645148" y="1469548"/>
            <a:ext cx="1985963" cy="2991549"/>
          </a:xfrm>
          <a:prstGeom prst="rect">
            <a:avLst/>
          </a:prstGeom>
          <a:solidFill>
            <a:schemeClr val="bg1">
              <a:alpha val="60000"/>
            </a:schemeClr>
          </a:solidFill>
          <a:ln w="952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noAutofit/>
          </a:bodyPr>
          <a:lstStyle/>
          <a:p>
            <a:pPr algn="ctr" defTabSz="685165">
              <a:lnSpc>
                <a:spcPct val="90000"/>
              </a:lnSpc>
              <a:defRPr/>
            </a:pPr>
            <a:endParaRPr lang="en-US" sz="1700">
              <a:solidFill>
                <a:schemeClr val="bg1">
                  <a:lumMod val="50000"/>
                </a:schemeClr>
              </a:solidFill>
              <a:latin typeface="Segoe UI" panose="020b0502040204020203"/>
              <a:ea typeface="Segoe UI" panose="020b0502040204020203" pitchFamily="34" charset="0"/>
              <a:cs typeface="Segoe UI" panose="020b0502040204020203" pitchFamily="34" charset="0"/>
            </a:endParaRPr>
          </a:p>
        </p:txBody>
      </p:sp>
      <p:sp>
        <p:nvSpPr>
          <p:cNvPr id="69" name="Rectangle 6"/>
          <p:cNvSpPr/>
          <p:nvPr/>
        </p:nvSpPr>
        <p:spPr bwMode="auto">
          <a:xfrm>
            <a:off x="6793707" y="1427767"/>
            <a:ext cx="1985963" cy="2991549"/>
          </a:xfrm>
          <a:prstGeom prst="rect">
            <a:avLst/>
          </a:prstGeom>
          <a:solidFill>
            <a:schemeClr val="bg1">
              <a:alpha val="60000"/>
            </a:schemeClr>
          </a:solidFill>
          <a:ln w="952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noAutofit/>
          </a:bodyPr>
          <a:lstStyle/>
          <a:p>
            <a:pPr algn="ctr" defTabSz="685165">
              <a:lnSpc>
                <a:spcPct val="90000"/>
              </a:lnSpc>
              <a:defRPr/>
            </a:pPr>
            <a:endParaRPr lang="en-US" sz="1700">
              <a:solidFill>
                <a:schemeClr val="bg1">
                  <a:lumMod val="50000"/>
                </a:schemeClr>
              </a:solidFill>
              <a:latin typeface="Segoe UI" panose="020b0502040204020203"/>
              <a:ea typeface="Segoe UI" panose="020b0502040204020203" pitchFamily="34" charset="0"/>
              <a:cs typeface="Segoe UI" panose="020b0502040204020203" pitchFamily="34" charset="0"/>
            </a:endParaRPr>
          </a:p>
        </p:txBody>
      </p:sp>
      <p:sp>
        <p:nvSpPr>
          <p:cNvPr id="70" name="文本框 40"/>
          <p:cNvSpPr txBox="1"/>
          <p:nvPr/>
        </p:nvSpPr>
        <p:spPr>
          <a:xfrm>
            <a:off x="559015" y="3363702"/>
            <a:ext cx="1596596" cy="945720"/>
          </a:xfrm>
          <a:prstGeom prst="rect">
            <a:avLst/>
          </a:prstGeom>
          <a:noFill/>
          <a:ln w="9525">
            <a:noFill/>
          </a:ln>
        </p:spPr>
        <p:txBody>
          <a:bodyPr wrap="square" lIns="68570" tIns="34286" rIns="68570" bIns="34286">
            <a:spAutoFit/>
          </a:bodyPr>
          <a:lstStyle/>
          <a:p>
            <a:pPr defTabSz="913765">
              <a:spcBef>
                <a:spcPct val="20000"/>
              </a:spcBef>
              <a:defRPr/>
            </a:pPr>
            <a:r>
              <a:rPr lang="zh-CN" altLang="en-US" sz="900">
                <a:solidFill>
                  <a:schemeClr val="bg1">
                    <a:lumMod val="50000"/>
                  </a:schemeClr>
                </a:solidFill>
              </a:rPr>
              <a:t>单击此处可编辑内容单击此处可编辑内容单击此处可编辑内容单击此处可编辑内容单击此处可编辑内容单击此处可编辑内容</a:t>
            </a:r>
            <a:endParaRPr lang="en-US" altLang="zh-CN" sz="900">
              <a:solidFill>
                <a:schemeClr val="bg1">
                  <a:lumMod val="50000"/>
                </a:schemeClr>
              </a:solidFill>
            </a:endParaRPr>
          </a:p>
          <a:p>
            <a:pPr defTabSz="913765">
              <a:spcBef>
                <a:spcPct val="20000"/>
              </a:spcBef>
              <a:defRPr/>
            </a:pPr>
            <a:endParaRPr lang="en-US" altLang="zh-CN" sz="900">
              <a:solidFill>
                <a:schemeClr val="bg1">
                  <a:lumMod val="50000"/>
                </a:schemeClr>
              </a:solidFill>
            </a:endParaRPr>
          </a:p>
        </p:txBody>
      </p:sp>
      <p:sp>
        <p:nvSpPr>
          <p:cNvPr id="71" name="文本框 40"/>
          <p:cNvSpPr txBox="1"/>
          <p:nvPr/>
        </p:nvSpPr>
        <p:spPr>
          <a:xfrm>
            <a:off x="2702140" y="3363702"/>
            <a:ext cx="1596596" cy="945720"/>
          </a:xfrm>
          <a:prstGeom prst="rect">
            <a:avLst/>
          </a:prstGeom>
          <a:noFill/>
          <a:ln w="9525">
            <a:noFill/>
          </a:ln>
        </p:spPr>
        <p:txBody>
          <a:bodyPr wrap="square" lIns="68570" tIns="34286" rIns="68570" bIns="34286">
            <a:spAutoFit/>
          </a:bodyPr>
          <a:lstStyle/>
          <a:p>
            <a:pPr defTabSz="913765">
              <a:spcBef>
                <a:spcPct val="20000"/>
              </a:spcBef>
              <a:defRPr/>
            </a:pPr>
            <a:r>
              <a:rPr lang="zh-CN" altLang="en-US" sz="900">
                <a:solidFill>
                  <a:schemeClr val="bg1">
                    <a:lumMod val="50000"/>
                  </a:schemeClr>
                </a:solidFill>
              </a:rPr>
              <a:t>单击此处可编辑内容单击此处可编辑内容单击此处可编辑内容单击此处可编辑内容单击此处可编辑内容单击此处可编辑内容</a:t>
            </a:r>
            <a:endParaRPr lang="en-US" altLang="zh-CN" sz="900">
              <a:solidFill>
                <a:schemeClr val="bg1">
                  <a:lumMod val="50000"/>
                </a:schemeClr>
              </a:solidFill>
            </a:endParaRPr>
          </a:p>
          <a:p>
            <a:pPr defTabSz="913765">
              <a:spcBef>
                <a:spcPct val="20000"/>
              </a:spcBef>
              <a:defRPr/>
            </a:pPr>
            <a:endParaRPr lang="en-US" altLang="zh-CN" sz="900">
              <a:solidFill>
                <a:schemeClr val="bg1">
                  <a:lumMod val="50000"/>
                </a:schemeClr>
              </a:solidFill>
            </a:endParaRPr>
          </a:p>
        </p:txBody>
      </p:sp>
      <p:sp>
        <p:nvSpPr>
          <p:cNvPr id="72" name="文本框 40"/>
          <p:cNvSpPr txBox="1"/>
          <p:nvPr/>
        </p:nvSpPr>
        <p:spPr>
          <a:xfrm>
            <a:off x="4845265" y="3363702"/>
            <a:ext cx="1596596" cy="945720"/>
          </a:xfrm>
          <a:prstGeom prst="rect">
            <a:avLst/>
          </a:prstGeom>
          <a:noFill/>
          <a:ln w="9525">
            <a:noFill/>
          </a:ln>
        </p:spPr>
        <p:txBody>
          <a:bodyPr wrap="square" lIns="68570" tIns="34286" rIns="68570" bIns="34286">
            <a:spAutoFit/>
          </a:bodyPr>
          <a:lstStyle/>
          <a:p>
            <a:pPr defTabSz="913765">
              <a:spcBef>
                <a:spcPct val="20000"/>
              </a:spcBef>
              <a:defRPr/>
            </a:pPr>
            <a:r>
              <a:rPr lang="zh-CN" altLang="en-US" sz="900">
                <a:solidFill>
                  <a:schemeClr val="bg1">
                    <a:lumMod val="50000"/>
                  </a:schemeClr>
                </a:solidFill>
              </a:rPr>
              <a:t>单击此处可编辑内容单击此处可编辑内容单击此处可编辑内容单击此处可编辑内容单击此处可编辑内容单击此处可编辑内容</a:t>
            </a:r>
            <a:endParaRPr lang="en-US" altLang="zh-CN" sz="900">
              <a:solidFill>
                <a:schemeClr val="bg1">
                  <a:lumMod val="50000"/>
                </a:schemeClr>
              </a:solidFill>
            </a:endParaRPr>
          </a:p>
          <a:p>
            <a:pPr defTabSz="913765">
              <a:spcBef>
                <a:spcPct val="20000"/>
              </a:spcBef>
              <a:defRPr/>
            </a:pPr>
            <a:endParaRPr lang="en-US" altLang="zh-CN" sz="900">
              <a:solidFill>
                <a:schemeClr val="bg1">
                  <a:lumMod val="50000"/>
                </a:schemeClr>
              </a:solidFill>
            </a:endParaRPr>
          </a:p>
        </p:txBody>
      </p:sp>
      <p:sp>
        <p:nvSpPr>
          <p:cNvPr id="73" name="文本框 40"/>
          <p:cNvSpPr txBox="1"/>
          <p:nvPr/>
        </p:nvSpPr>
        <p:spPr>
          <a:xfrm>
            <a:off x="6988390" y="3363702"/>
            <a:ext cx="1596596" cy="945720"/>
          </a:xfrm>
          <a:prstGeom prst="rect">
            <a:avLst/>
          </a:prstGeom>
          <a:noFill/>
          <a:ln w="9525">
            <a:noFill/>
          </a:ln>
        </p:spPr>
        <p:txBody>
          <a:bodyPr wrap="square" lIns="68570" tIns="34286" rIns="68570" bIns="34286">
            <a:spAutoFit/>
          </a:bodyPr>
          <a:lstStyle/>
          <a:p>
            <a:pPr defTabSz="913765">
              <a:spcBef>
                <a:spcPct val="20000"/>
              </a:spcBef>
              <a:defRPr/>
            </a:pPr>
            <a:r>
              <a:rPr lang="zh-CN" altLang="en-US" sz="900">
                <a:solidFill>
                  <a:schemeClr val="bg1">
                    <a:lumMod val="50000"/>
                  </a:schemeClr>
                </a:solidFill>
              </a:rPr>
              <a:t>单击此处可编辑内容单击此处可编辑内容单击此处可编辑内容单击此处可编辑内容单击此处可编辑内容单击此处可编辑内容</a:t>
            </a:r>
            <a:endParaRPr lang="en-US" altLang="zh-CN" sz="900">
              <a:solidFill>
                <a:schemeClr val="bg1">
                  <a:lumMod val="50000"/>
                </a:schemeClr>
              </a:solidFill>
            </a:endParaRPr>
          </a:p>
          <a:p>
            <a:pPr defTabSz="913765">
              <a:spcBef>
                <a:spcPct val="20000"/>
              </a:spcBef>
              <a:defRPr/>
            </a:pPr>
            <a:endParaRPr lang="en-US" altLang="zh-CN" sz="900">
              <a:solidFill>
                <a:schemeClr val="bg1">
                  <a:lumMod val="50000"/>
                </a:schemeClr>
              </a:solidFill>
            </a:endParaRPr>
          </a:p>
        </p:txBody>
      </p:sp>
      <p:sp>
        <p:nvSpPr>
          <p:cNvPr id="74" name="椭圆 73"/>
          <p:cNvSpPr/>
          <p:nvPr/>
        </p:nvSpPr>
        <p:spPr>
          <a:xfrm>
            <a:off x="810815" y="2036760"/>
            <a:ext cx="1092994" cy="1092994"/>
          </a:xfrm>
          <a:prstGeom prst="ellipse">
            <a:avLst/>
          </a:prstGeom>
          <a:blipFill dpi="0" rotWithShape="1">
            <a:blip r:embed="rId3">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6" rIns="68570" bIns="34286" rtlCol="0" anchor="ctr"/>
          <a:lstStyle/>
          <a:p>
            <a:pPr algn="ctr"/>
            <a:endParaRPr lang="zh-CN" altLang="en-US">
              <a:solidFill>
                <a:schemeClr val="bg1">
                  <a:lumMod val="50000"/>
                </a:schemeClr>
              </a:solidFill>
            </a:endParaRPr>
          </a:p>
        </p:txBody>
      </p:sp>
      <p:sp>
        <p:nvSpPr>
          <p:cNvPr id="75" name="椭圆 74"/>
          <p:cNvSpPr/>
          <p:nvPr/>
        </p:nvSpPr>
        <p:spPr>
          <a:xfrm>
            <a:off x="2953940" y="2036760"/>
            <a:ext cx="1092994" cy="1092994"/>
          </a:xfrm>
          <a:prstGeom prst="ellipse">
            <a:avLst/>
          </a:prstGeom>
          <a:blipFill dpi="0" rotWithShape="1">
            <a:blip r:embed="rId4">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6" rIns="68570" bIns="34286" rtlCol="0" anchor="ctr"/>
          <a:lstStyle/>
          <a:p>
            <a:pPr algn="ctr"/>
            <a:endParaRPr lang="zh-CN" altLang="en-US">
              <a:solidFill>
                <a:schemeClr val="bg1">
                  <a:lumMod val="50000"/>
                </a:schemeClr>
              </a:solidFill>
            </a:endParaRPr>
          </a:p>
        </p:txBody>
      </p:sp>
      <p:sp>
        <p:nvSpPr>
          <p:cNvPr id="76" name="椭圆 75"/>
          <p:cNvSpPr/>
          <p:nvPr/>
        </p:nvSpPr>
        <p:spPr>
          <a:xfrm>
            <a:off x="5097066" y="2036760"/>
            <a:ext cx="1092994" cy="1092994"/>
          </a:xfrm>
          <a:prstGeom prst="ellipse">
            <a:avLst/>
          </a:prstGeom>
          <a:blipFill dpi="0" rotWithShape="1">
            <a:blip r:embed="rId5">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6" rIns="68570" bIns="34286" rtlCol="0" anchor="ctr"/>
          <a:lstStyle/>
          <a:p>
            <a:pPr algn="ctr"/>
            <a:endParaRPr lang="zh-CN" altLang="en-US">
              <a:solidFill>
                <a:schemeClr val="bg1">
                  <a:lumMod val="50000"/>
                </a:schemeClr>
              </a:solidFill>
            </a:endParaRPr>
          </a:p>
        </p:txBody>
      </p:sp>
      <p:sp>
        <p:nvSpPr>
          <p:cNvPr id="77" name="椭圆 76"/>
          <p:cNvSpPr/>
          <p:nvPr/>
        </p:nvSpPr>
        <p:spPr>
          <a:xfrm>
            <a:off x="7240191" y="2036760"/>
            <a:ext cx="1092994" cy="1092994"/>
          </a:xfrm>
          <a:prstGeom prst="ellipse">
            <a:avLst/>
          </a:prstGeom>
          <a:blipFill dpi="0" rotWithShape="1">
            <a:blip r:embed="rId6">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70" tIns="34286" rIns="68570" bIns="34286" rtlCol="0" anchor="ctr"/>
          <a:lstStyle/>
          <a:p>
            <a:pPr algn="ctr"/>
            <a:endParaRPr lang="zh-CN" altLang="en-US">
              <a:solidFill>
                <a:schemeClr val="bg1">
                  <a:lumMod val="50000"/>
                </a:schemeClr>
              </a:solidFill>
            </a:endParaRPr>
          </a:p>
        </p:txBody>
      </p:sp>
      <p:sp>
        <p:nvSpPr>
          <p:cNvPr id="79" name="矩形 78"/>
          <p:cNvSpPr>
            <a:spLocks noChangeArrowheads="1"/>
          </p:cNvSpPr>
          <p:nvPr/>
        </p:nvSpPr>
        <p:spPr bwMode="auto">
          <a:xfrm>
            <a:off x="681632" y="1605306"/>
            <a:ext cx="1351360" cy="446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0" tIns="34286" rIns="68570" bIns="34286">
            <a:spAutoFit/>
          </a:bodyPr>
          <a:lstStyle/>
          <a:p>
            <a:pPr lvl="0" algn="ctr"/>
            <a:r>
              <a:rPr lang="zh-CN" altLang="en-US" sz="1200" b="1">
                <a:solidFill>
                  <a:schemeClr val="bg1">
                    <a:lumMod val="50000"/>
                  </a:schemeClr>
                </a:solidFill>
                <a:latin typeface="微软雅黑" panose="020b0503020204020204" pitchFamily="34" charset="-122"/>
                <a:ea typeface="微软雅黑" panose="020b0503020204020204" pitchFamily="34" charset="-122"/>
              </a:rPr>
              <a:t>单击添加标题</a:t>
            </a:r>
            <a:endParaRPr lang="en-US" altLang="zh-CN" sz="1100">
              <a:solidFill>
                <a:schemeClr val="bg1">
                  <a:lumMod val="50000"/>
                </a:schemeClr>
              </a:solidFill>
              <a:latin typeface="Bebas Neue" panose="020b0606020202050201" pitchFamily="34" charset="0"/>
              <a:ea typeface="微软雅黑" panose="020b0503020204020204" pitchFamily="34" charset="-122"/>
            </a:endParaRPr>
          </a:p>
          <a:p>
            <a:pPr algn="ctr"/>
            <a:endParaRPr lang="en-US" altLang="en-US" sz="1200" b="1">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80" name="矩形 79"/>
          <p:cNvSpPr>
            <a:spLocks noChangeArrowheads="1"/>
          </p:cNvSpPr>
          <p:nvPr/>
        </p:nvSpPr>
        <p:spPr bwMode="auto">
          <a:xfrm>
            <a:off x="2824757" y="1605306"/>
            <a:ext cx="1351360" cy="25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0" tIns="34286" rIns="68570" bIns="34286">
            <a:spAutoFit/>
          </a:bodyPr>
          <a:lstStyle/>
          <a:p>
            <a:pPr lvl="0" algn="ctr"/>
            <a:r>
              <a:rPr lang="zh-CN" altLang="en-US" sz="1200" b="1">
                <a:solidFill>
                  <a:schemeClr val="bg1">
                    <a:lumMod val="50000"/>
                  </a:schemeClr>
                </a:solidFill>
                <a:latin typeface="微软雅黑" panose="020b0503020204020204" pitchFamily="34" charset="-122"/>
                <a:ea typeface="微软雅黑" panose="020b0503020204020204" pitchFamily="34" charset="-122"/>
              </a:rPr>
              <a:t>单击添加标题</a:t>
            </a:r>
            <a:endParaRPr lang="en-US" altLang="zh-CN" sz="1100">
              <a:solidFill>
                <a:schemeClr val="bg1">
                  <a:lumMod val="50000"/>
                </a:schemeClr>
              </a:solidFill>
              <a:latin typeface="Bebas Neue" panose="020b0606020202050201" pitchFamily="34" charset="0"/>
              <a:ea typeface="微软雅黑" panose="020b0503020204020204" pitchFamily="34" charset="-122"/>
            </a:endParaRPr>
          </a:p>
        </p:txBody>
      </p:sp>
      <p:sp>
        <p:nvSpPr>
          <p:cNvPr id="82" name="矩形 81"/>
          <p:cNvSpPr>
            <a:spLocks noChangeArrowheads="1"/>
          </p:cNvSpPr>
          <p:nvPr/>
        </p:nvSpPr>
        <p:spPr bwMode="auto">
          <a:xfrm>
            <a:off x="4967883" y="1605306"/>
            <a:ext cx="1351360" cy="25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0" tIns="34286" rIns="68570" bIns="34286">
            <a:spAutoFit/>
          </a:bodyPr>
          <a:lstStyle/>
          <a:p>
            <a:pPr lvl="0" algn="ctr"/>
            <a:r>
              <a:rPr lang="zh-CN" altLang="en-US" sz="1200" b="1">
                <a:solidFill>
                  <a:schemeClr val="bg1">
                    <a:lumMod val="50000"/>
                  </a:schemeClr>
                </a:solidFill>
                <a:latin typeface="微软雅黑" panose="020b0503020204020204" pitchFamily="34" charset="-122"/>
                <a:ea typeface="微软雅黑" panose="020b0503020204020204" pitchFamily="34" charset="-122"/>
              </a:rPr>
              <a:t>单击添加标题</a:t>
            </a:r>
            <a:endParaRPr lang="en-US" altLang="zh-CN" sz="1100">
              <a:solidFill>
                <a:schemeClr val="bg1">
                  <a:lumMod val="50000"/>
                </a:schemeClr>
              </a:solidFill>
              <a:latin typeface="Bebas Neue" panose="020b0606020202050201" pitchFamily="34" charset="0"/>
              <a:ea typeface="微软雅黑" panose="020b0503020204020204" pitchFamily="34" charset="-122"/>
            </a:endParaRPr>
          </a:p>
        </p:txBody>
      </p:sp>
      <p:sp>
        <p:nvSpPr>
          <p:cNvPr id="83" name="矩形 82"/>
          <p:cNvSpPr>
            <a:spLocks noChangeArrowheads="1"/>
          </p:cNvSpPr>
          <p:nvPr/>
        </p:nvSpPr>
        <p:spPr bwMode="auto">
          <a:xfrm>
            <a:off x="7111007" y="1605306"/>
            <a:ext cx="1351360" cy="25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0" tIns="34286" rIns="68570" bIns="34286">
            <a:spAutoFit/>
          </a:bodyPr>
          <a:lstStyle/>
          <a:p>
            <a:pPr lvl="0" algn="ctr"/>
            <a:r>
              <a:rPr lang="zh-CN" altLang="en-US" sz="1200" b="1">
                <a:solidFill>
                  <a:schemeClr val="bg1">
                    <a:lumMod val="50000"/>
                  </a:schemeClr>
                </a:solidFill>
                <a:latin typeface="微软雅黑" panose="020b0503020204020204" pitchFamily="34" charset="-122"/>
                <a:ea typeface="微软雅黑" panose="020b0503020204020204" pitchFamily="34" charset="-122"/>
              </a:rPr>
              <a:t>单击添加标题</a:t>
            </a:r>
            <a:endParaRPr lang="en-US" altLang="zh-CN" sz="1100">
              <a:solidFill>
                <a:schemeClr val="bg1">
                  <a:lumMod val="50000"/>
                </a:schemeClr>
              </a:solidFill>
              <a:latin typeface="Bebas Neue" panose="020b0606020202050201" pitchFamily="34" charset="0"/>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4" fill="hold" grpId="0" nodeType="afterEffect">
                                  <p:stCondLst>
                                    <p:cond delay="0"/>
                                  </p:stCondLst>
                                  <p:childTnLst>
                                    <p:set>
                                      <p:cBhvr>
                                        <p:cTn id="6" dur="1" fill="hold">
                                          <p:stCondLst>
                                            <p:cond delay="0"/>
                                          </p:stCondLst>
                                        </p:cTn>
                                        <p:tgtEl>
                                          <p:spTgt spid="66"/>
                                        </p:tgtEl>
                                        <p:attrNameLst>
                                          <p:attrName>style.visibility</p:attrName>
                                        </p:attrNameLst>
                                      </p:cBhvr>
                                      <p:to>
                                        <p:strVal val="visible"/>
                                      </p:to>
                                    </p:set>
                                    <p:anim calcmode="lin" valueType="num">
                                      <p:cBhvr additive="base">
                                        <p:cTn id="7" dur="500" fill="hold"/>
                                        <p:tgtEl>
                                          <p:spTgt spid="66"/>
                                        </p:tgtEl>
                                        <p:attrNameLst>
                                          <p:attrName>ppt_x</p:attrName>
                                        </p:attrNameLst>
                                      </p:cBhvr>
                                      <p:tavLst>
                                        <p:tav tm="0">
                                          <p:val>
                                            <p:strVal val="#ppt_x"/>
                                          </p:val>
                                        </p:tav>
                                        <p:tav tm="100000">
                                          <p:val>
                                            <p:strVal val="#ppt_x"/>
                                          </p:val>
                                        </p:tav>
                                      </p:tavLst>
                                    </p:anim>
                                    <p:anim calcmode="lin" valueType="num">
                                      <p:cBhvr additive="base">
                                        <p:cTn id="8" dur="500" fill="hold"/>
                                        <p:tgtEl>
                                          <p:spTgt spid="66"/>
                                        </p:tgtEl>
                                        <p:attrNameLst>
                                          <p:attrName>ppt_y</p:attrName>
                                        </p:attrNameLst>
                                      </p:cBhvr>
                                      <p:tavLst>
                                        <p:tav tm="0">
                                          <p:val>
                                            <p:strVal val="1+#ppt_h/2"/>
                                          </p:val>
                                        </p:tav>
                                        <p:tav tm="100000">
                                          <p:val>
                                            <p:strVal val="#ppt_y"/>
                                          </p:val>
                                        </p:tav>
                                      </p:tavLst>
                                    </p:anim>
                                  </p:childTnLst>
                                </p:cTn>
                              </p:par>
                            </p:childTnLst>
                          </p:cTn>
                        </p:par>
                        <p:par>
                          <p:cTn id="9" fill="hold" nodeType="afterGroup">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additive="base">
                                        <p:cTn id="12" dur="500" fill="hold"/>
                                        <p:tgtEl>
                                          <p:spTgt spid="70"/>
                                        </p:tgtEl>
                                        <p:attrNameLst>
                                          <p:attrName>ppt_x</p:attrName>
                                        </p:attrNameLst>
                                      </p:cBhvr>
                                      <p:tavLst>
                                        <p:tav tm="0">
                                          <p:val>
                                            <p:strVal val="#ppt_x"/>
                                          </p:val>
                                        </p:tav>
                                        <p:tav tm="100000">
                                          <p:val>
                                            <p:strVal val="#ppt_x"/>
                                          </p:val>
                                        </p:tav>
                                      </p:tavLst>
                                    </p:anim>
                                    <p:anim calcmode="lin" valueType="num">
                                      <p:cBhvr additive="base">
                                        <p:cTn id="13" dur="500" fill="hold"/>
                                        <p:tgtEl>
                                          <p:spTgt spid="70"/>
                                        </p:tgtEl>
                                        <p:attrNameLst>
                                          <p:attrName>ppt_y</p:attrName>
                                        </p:attrNameLst>
                                      </p:cBhvr>
                                      <p:tavLst>
                                        <p:tav tm="0">
                                          <p:val>
                                            <p:strVal val="1+#ppt_h/2"/>
                                          </p:val>
                                        </p:tav>
                                        <p:tav tm="100000">
                                          <p:val>
                                            <p:strVal val="#ppt_y"/>
                                          </p:val>
                                        </p:tav>
                                      </p:tavLst>
                                    </p:anim>
                                  </p:childTnLst>
                                </p:cTn>
                              </p:par>
                            </p:childTnLst>
                          </p:cTn>
                        </p:par>
                        <p:par>
                          <p:cTn id="14" fill="hold" nodeType="afterGroup">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74"/>
                                        </p:tgtEl>
                                        <p:attrNameLst>
                                          <p:attrName>style.visibility</p:attrName>
                                        </p:attrNameLst>
                                      </p:cBhvr>
                                      <p:to>
                                        <p:strVal val="visible"/>
                                      </p:to>
                                    </p:set>
                                    <p:anim calcmode="lin" valueType="num">
                                      <p:cBhvr additive="base">
                                        <p:cTn id="17" dur="500" fill="hold"/>
                                        <p:tgtEl>
                                          <p:spTgt spid="74"/>
                                        </p:tgtEl>
                                        <p:attrNameLst>
                                          <p:attrName>ppt_x</p:attrName>
                                        </p:attrNameLst>
                                      </p:cBhvr>
                                      <p:tavLst>
                                        <p:tav tm="0">
                                          <p:val>
                                            <p:strVal val="#ppt_x"/>
                                          </p:val>
                                        </p:tav>
                                        <p:tav tm="100000">
                                          <p:val>
                                            <p:strVal val="#ppt_x"/>
                                          </p:val>
                                        </p:tav>
                                      </p:tavLst>
                                    </p:anim>
                                    <p:anim calcmode="lin" valueType="num">
                                      <p:cBhvr additive="base">
                                        <p:cTn id="18" dur="500" fill="hold"/>
                                        <p:tgtEl>
                                          <p:spTgt spid="74"/>
                                        </p:tgtEl>
                                        <p:attrNameLst>
                                          <p:attrName>ppt_y</p:attrName>
                                        </p:attrNameLst>
                                      </p:cBhvr>
                                      <p:tavLst>
                                        <p:tav tm="0">
                                          <p:val>
                                            <p:strVal val="1+#ppt_h/2"/>
                                          </p:val>
                                        </p:tav>
                                        <p:tav tm="100000">
                                          <p:val>
                                            <p:strVal val="#ppt_y"/>
                                          </p:val>
                                        </p:tav>
                                      </p:tavLst>
                                    </p:anim>
                                  </p:childTnLst>
                                </p:cTn>
                              </p:par>
                            </p:childTnLst>
                          </p:cTn>
                        </p:par>
                        <p:par>
                          <p:cTn id="19" fill="hold" nodeType="afterGroup">
                            <p:stCondLst>
                              <p:cond delay="1500"/>
                            </p:stCondLst>
                            <p:childTnLst>
                              <p:par>
                                <p:cTn id="20" presetID="2" presetClass="entr" presetSubtype="4" fill="hold" grpId="0" nodeType="afterEffect">
                                  <p:stCondLst>
                                    <p:cond delay="0"/>
                                  </p:stCondLst>
                                  <p:childTnLst>
                                    <p:set>
                                      <p:cBhvr>
                                        <p:cTn id="21" dur="1" fill="hold">
                                          <p:stCondLst>
                                            <p:cond delay="0"/>
                                          </p:stCondLst>
                                        </p:cTn>
                                        <p:tgtEl>
                                          <p:spTgt spid="79"/>
                                        </p:tgtEl>
                                        <p:attrNameLst>
                                          <p:attrName>style.visibility</p:attrName>
                                        </p:attrNameLst>
                                      </p:cBhvr>
                                      <p:to>
                                        <p:strVal val="visible"/>
                                      </p:to>
                                    </p:set>
                                    <p:anim calcmode="lin" valueType="num">
                                      <p:cBhvr additive="base">
                                        <p:cTn id="22" dur="500" fill="hold"/>
                                        <p:tgtEl>
                                          <p:spTgt spid="79"/>
                                        </p:tgtEl>
                                        <p:attrNameLst>
                                          <p:attrName>ppt_x</p:attrName>
                                        </p:attrNameLst>
                                      </p:cBhvr>
                                      <p:tavLst>
                                        <p:tav tm="0">
                                          <p:val>
                                            <p:strVal val="#ppt_x"/>
                                          </p:val>
                                        </p:tav>
                                        <p:tav tm="100000">
                                          <p:val>
                                            <p:strVal val="#ppt_x"/>
                                          </p:val>
                                        </p:tav>
                                      </p:tavLst>
                                    </p:anim>
                                    <p:anim calcmode="lin" valueType="num">
                                      <p:cBhvr additive="base">
                                        <p:cTn id="23" dur="500" fill="hold"/>
                                        <p:tgtEl>
                                          <p:spTgt spid="79"/>
                                        </p:tgtEl>
                                        <p:attrNameLst>
                                          <p:attrName>ppt_y</p:attrName>
                                        </p:attrNameLst>
                                      </p:cBhvr>
                                      <p:tavLst>
                                        <p:tav tm="0">
                                          <p:val>
                                            <p:strVal val="1+#ppt_h/2"/>
                                          </p:val>
                                        </p:tav>
                                        <p:tav tm="100000">
                                          <p:val>
                                            <p:strVal val="#ppt_y"/>
                                          </p:val>
                                        </p:tav>
                                      </p:tavLst>
                                    </p:anim>
                                  </p:childTnLst>
                                </p:cTn>
                              </p:par>
                            </p:childTnLst>
                          </p:cTn>
                        </p:par>
                        <p:par>
                          <p:cTn id="24" fill="hold" nodeType="afterGroup">
                            <p:stCondLst>
                              <p:cond delay="2000"/>
                            </p:stCondLst>
                            <p:childTnLst>
                              <p:par>
                                <p:cTn id="25" presetID="2" presetClass="entr" presetSubtype="4" fill="hold" grpId="0" nodeType="afterEffect">
                                  <p:stCondLst>
                                    <p:cond delay="0"/>
                                  </p:stCondLst>
                                  <p:childTnLst>
                                    <p:set>
                                      <p:cBhvr>
                                        <p:cTn id="26" dur="1" fill="hold">
                                          <p:stCondLst>
                                            <p:cond delay="0"/>
                                          </p:stCondLst>
                                        </p:cTn>
                                        <p:tgtEl>
                                          <p:spTgt spid="67"/>
                                        </p:tgtEl>
                                        <p:attrNameLst>
                                          <p:attrName>style.visibility</p:attrName>
                                        </p:attrNameLst>
                                      </p:cBhvr>
                                      <p:to>
                                        <p:strVal val="visible"/>
                                      </p:to>
                                    </p:set>
                                    <p:anim calcmode="lin" valueType="num">
                                      <p:cBhvr additive="base">
                                        <p:cTn id="27" dur="500" fill="hold"/>
                                        <p:tgtEl>
                                          <p:spTgt spid="67"/>
                                        </p:tgtEl>
                                        <p:attrNameLst>
                                          <p:attrName>ppt_x</p:attrName>
                                        </p:attrNameLst>
                                      </p:cBhvr>
                                      <p:tavLst>
                                        <p:tav tm="0">
                                          <p:val>
                                            <p:strVal val="#ppt_x"/>
                                          </p:val>
                                        </p:tav>
                                        <p:tav tm="100000">
                                          <p:val>
                                            <p:strVal val="#ppt_x"/>
                                          </p:val>
                                        </p:tav>
                                      </p:tavLst>
                                    </p:anim>
                                    <p:anim calcmode="lin" valueType="num">
                                      <p:cBhvr additive="base">
                                        <p:cTn id="28" dur="500" fill="hold"/>
                                        <p:tgtEl>
                                          <p:spTgt spid="67"/>
                                        </p:tgtEl>
                                        <p:attrNameLst>
                                          <p:attrName>ppt_y</p:attrName>
                                        </p:attrNameLst>
                                      </p:cBhvr>
                                      <p:tavLst>
                                        <p:tav tm="0">
                                          <p:val>
                                            <p:strVal val="1+#ppt_h/2"/>
                                          </p:val>
                                        </p:tav>
                                        <p:tav tm="100000">
                                          <p:val>
                                            <p:strVal val="#ppt_y"/>
                                          </p:val>
                                        </p:tav>
                                      </p:tavLst>
                                    </p:anim>
                                  </p:childTnLst>
                                </p:cTn>
                              </p:par>
                            </p:childTnLst>
                          </p:cTn>
                        </p:par>
                        <p:par>
                          <p:cTn id="29" fill="hold" nodeType="afterGroup">
                            <p:stCondLst>
                              <p:cond delay="2500"/>
                            </p:stCondLst>
                            <p:childTnLst>
                              <p:par>
                                <p:cTn id="30" presetID="2" presetClass="entr" presetSubtype="4" fill="hold" grpId="0" nodeType="afterEffect">
                                  <p:stCondLst>
                                    <p:cond delay="0"/>
                                  </p:stCondLst>
                                  <p:childTnLst>
                                    <p:set>
                                      <p:cBhvr>
                                        <p:cTn id="31" dur="1" fill="hold">
                                          <p:stCondLst>
                                            <p:cond delay="0"/>
                                          </p:stCondLst>
                                        </p:cTn>
                                        <p:tgtEl>
                                          <p:spTgt spid="71"/>
                                        </p:tgtEl>
                                        <p:attrNameLst>
                                          <p:attrName>style.visibility</p:attrName>
                                        </p:attrNameLst>
                                      </p:cBhvr>
                                      <p:to>
                                        <p:strVal val="visible"/>
                                      </p:to>
                                    </p:set>
                                    <p:anim calcmode="lin" valueType="num">
                                      <p:cBhvr additive="base">
                                        <p:cTn id="32" dur="500" fill="hold"/>
                                        <p:tgtEl>
                                          <p:spTgt spid="71"/>
                                        </p:tgtEl>
                                        <p:attrNameLst>
                                          <p:attrName>ppt_x</p:attrName>
                                        </p:attrNameLst>
                                      </p:cBhvr>
                                      <p:tavLst>
                                        <p:tav tm="0">
                                          <p:val>
                                            <p:strVal val="#ppt_x"/>
                                          </p:val>
                                        </p:tav>
                                        <p:tav tm="100000">
                                          <p:val>
                                            <p:strVal val="#ppt_x"/>
                                          </p:val>
                                        </p:tav>
                                      </p:tavLst>
                                    </p:anim>
                                    <p:anim calcmode="lin" valueType="num">
                                      <p:cBhvr additive="base">
                                        <p:cTn id="33" dur="500" fill="hold"/>
                                        <p:tgtEl>
                                          <p:spTgt spid="71"/>
                                        </p:tgtEl>
                                        <p:attrNameLst>
                                          <p:attrName>ppt_y</p:attrName>
                                        </p:attrNameLst>
                                      </p:cBhvr>
                                      <p:tavLst>
                                        <p:tav tm="0">
                                          <p:val>
                                            <p:strVal val="1+#ppt_h/2"/>
                                          </p:val>
                                        </p:tav>
                                        <p:tav tm="100000">
                                          <p:val>
                                            <p:strVal val="#ppt_y"/>
                                          </p:val>
                                        </p:tav>
                                      </p:tavLst>
                                    </p:anim>
                                  </p:childTnLst>
                                </p:cTn>
                              </p:par>
                            </p:childTnLst>
                          </p:cTn>
                        </p:par>
                        <p:par>
                          <p:cTn id="34" fill="hold" nodeType="afterGroup">
                            <p:stCondLst>
                              <p:cond delay="3000"/>
                            </p:stCondLst>
                            <p:childTnLst>
                              <p:par>
                                <p:cTn id="35" presetID="2" presetClass="entr" presetSubtype="4" fill="hold" grpId="0" nodeType="afterEffect">
                                  <p:stCondLst>
                                    <p:cond delay="0"/>
                                  </p:stCondLst>
                                  <p:childTnLst>
                                    <p:set>
                                      <p:cBhvr>
                                        <p:cTn id="36" dur="1" fill="hold">
                                          <p:stCondLst>
                                            <p:cond delay="0"/>
                                          </p:stCondLst>
                                        </p:cTn>
                                        <p:tgtEl>
                                          <p:spTgt spid="75"/>
                                        </p:tgtEl>
                                        <p:attrNameLst>
                                          <p:attrName>style.visibility</p:attrName>
                                        </p:attrNameLst>
                                      </p:cBhvr>
                                      <p:to>
                                        <p:strVal val="visible"/>
                                      </p:to>
                                    </p:set>
                                    <p:anim calcmode="lin" valueType="num">
                                      <p:cBhvr additive="base">
                                        <p:cTn id="37" dur="500" fill="hold"/>
                                        <p:tgtEl>
                                          <p:spTgt spid="75"/>
                                        </p:tgtEl>
                                        <p:attrNameLst>
                                          <p:attrName>ppt_x</p:attrName>
                                        </p:attrNameLst>
                                      </p:cBhvr>
                                      <p:tavLst>
                                        <p:tav tm="0">
                                          <p:val>
                                            <p:strVal val="#ppt_x"/>
                                          </p:val>
                                        </p:tav>
                                        <p:tav tm="100000">
                                          <p:val>
                                            <p:strVal val="#ppt_x"/>
                                          </p:val>
                                        </p:tav>
                                      </p:tavLst>
                                    </p:anim>
                                    <p:anim calcmode="lin" valueType="num">
                                      <p:cBhvr additive="base">
                                        <p:cTn id="38" dur="500" fill="hold"/>
                                        <p:tgtEl>
                                          <p:spTgt spid="75"/>
                                        </p:tgtEl>
                                        <p:attrNameLst>
                                          <p:attrName>ppt_y</p:attrName>
                                        </p:attrNameLst>
                                      </p:cBhvr>
                                      <p:tavLst>
                                        <p:tav tm="0">
                                          <p:val>
                                            <p:strVal val="1+#ppt_h/2"/>
                                          </p:val>
                                        </p:tav>
                                        <p:tav tm="100000">
                                          <p:val>
                                            <p:strVal val="#ppt_y"/>
                                          </p:val>
                                        </p:tav>
                                      </p:tavLst>
                                    </p:anim>
                                  </p:childTnLst>
                                </p:cTn>
                              </p:par>
                            </p:childTnLst>
                          </p:cTn>
                        </p:par>
                        <p:par>
                          <p:cTn id="39" fill="hold" nodeType="afterGroup">
                            <p:stCondLst>
                              <p:cond delay="3500"/>
                            </p:stCondLst>
                            <p:childTnLst>
                              <p:par>
                                <p:cTn id="40" presetID="2" presetClass="entr" presetSubtype="4" fill="hold" grpId="0" nodeType="afterEffect">
                                  <p:stCondLst>
                                    <p:cond delay="0"/>
                                  </p:stCondLst>
                                  <p:childTnLst>
                                    <p:set>
                                      <p:cBhvr>
                                        <p:cTn id="41" dur="1" fill="hold">
                                          <p:stCondLst>
                                            <p:cond delay="0"/>
                                          </p:stCondLst>
                                        </p:cTn>
                                        <p:tgtEl>
                                          <p:spTgt spid="80"/>
                                        </p:tgtEl>
                                        <p:attrNameLst>
                                          <p:attrName>style.visibility</p:attrName>
                                        </p:attrNameLst>
                                      </p:cBhvr>
                                      <p:to>
                                        <p:strVal val="visible"/>
                                      </p:to>
                                    </p:set>
                                    <p:anim calcmode="lin" valueType="num">
                                      <p:cBhvr additive="base">
                                        <p:cTn id="42" dur="500" fill="hold"/>
                                        <p:tgtEl>
                                          <p:spTgt spid="80"/>
                                        </p:tgtEl>
                                        <p:attrNameLst>
                                          <p:attrName>ppt_x</p:attrName>
                                        </p:attrNameLst>
                                      </p:cBhvr>
                                      <p:tavLst>
                                        <p:tav tm="0">
                                          <p:val>
                                            <p:strVal val="#ppt_x"/>
                                          </p:val>
                                        </p:tav>
                                        <p:tav tm="100000">
                                          <p:val>
                                            <p:strVal val="#ppt_x"/>
                                          </p:val>
                                        </p:tav>
                                      </p:tavLst>
                                    </p:anim>
                                    <p:anim calcmode="lin" valueType="num">
                                      <p:cBhvr additive="base">
                                        <p:cTn id="43" dur="500" fill="hold"/>
                                        <p:tgtEl>
                                          <p:spTgt spid="80"/>
                                        </p:tgtEl>
                                        <p:attrNameLst>
                                          <p:attrName>ppt_y</p:attrName>
                                        </p:attrNameLst>
                                      </p:cBhvr>
                                      <p:tavLst>
                                        <p:tav tm="0">
                                          <p:val>
                                            <p:strVal val="1+#ppt_h/2"/>
                                          </p:val>
                                        </p:tav>
                                        <p:tav tm="100000">
                                          <p:val>
                                            <p:strVal val="#ppt_y"/>
                                          </p:val>
                                        </p:tav>
                                      </p:tavLst>
                                    </p:anim>
                                  </p:childTnLst>
                                </p:cTn>
                              </p:par>
                            </p:childTnLst>
                          </p:cTn>
                        </p:par>
                        <p:par>
                          <p:cTn id="44" fill="hold" nodeType="afterGroup">
                            <p:stCondLst>
                              <p:cond delay="4000"/>
                            </p:stCondLst>
                            <p:childTnLst>
                              <p:par>
                                <p:cTn id="45" presetID="2" presetClass="entr" presetSubtype="4" fill="hold" grpId="0" nodeType="afterEffect">
                                  <p:stCondLst>
                                    <p:cond delay="0"/>
                                  </p:stCondLst>
                                  <p:childTnLst>
                                    <p:set>
                                      <p:cBhvr>
                                        <p:cTn id="46" dur="1" fill="hold">
                                          <p:stCondLst>
                                            <p:cond delay="0"/>
                                          </p:stCondLst>
                                        </p:cTn>
                                        <p:tgtEl>
                                          <p:spTgt spid="68"/>
                                        </p:tgtEl>
                                        <p:attrNameLst>
                                          <p:attrName>style.visibility</p:attrName>
                                        </p:attrNameLst>
                                      </p:cBhvr>
                                      <p:to>
                                        <p:strVal val="visible"/>
                                      </p:to>
                                    </p:set>
                                    <p:anim calcmode="lin" valueType="num">
                                      <p:cBhvr additive="base">
                                        <p:cTn id="47" dur="500" fill="hold"/>
                                        <p:tgtEl>
                                          <p:spTgt spid="68"/>
                                        </p:tgtEl>
                                        <p:attrNameLst>
                                          <p:attrName>ppt_x</p:attrName>
                                        </p:attrNameLst>
                                      </p:cBhvr>
                                      <p:tavLst>
                                        <p:tav tm="0">
                                          <p:val>
                                            <p:strVal val="#ppt_x"/>
                                          </p:val>
                                        </p:tav>
                                        <p:tav tm="100000">
                                          <p:val>
                                            <p:strVal val="#ppt_x"/>
                                          </p:val>
                                        </p:tav>
                                      </p:tavLst>
                                    </p:anim>
                                    <p:anim calcmode="lin" valueType="num">
                                      <p:cBhvr additive="base">
                                        <p:cTn id="48" dur="500" fill="hold"/>
                                        <p:tgtEl>
                                          <p:spTgt spid="68"/>
                                        </p:tgtEl>
                                        <p:attrNameLst>
                                          <p:attrName>ppt_y</p:attrName>
                                        </p:attrNameLst>
                                      </p:cBhvr>
                                      <p:tavLst>
                                        <p:tav tm="0">
                                          <p:val>
                                            <p:strVal val="1+#ppt_h/2"/>
                                          </p:val>
                                        </p:tav>
                                        <p:tav tm="100000">
                                          <p:val>
                                            <p:strVal val="#ppt_y"/>
                                          </p:val>
                                        </p:tav>
                                      </p:tavLst>
                                    </p:anim>
                                  </p:childTnLst>
                                </p:cTn>
                              </p:par>
                            </p:childTnLst>
                          </p:cTn>
                        </p:par>
                        <p:par>
                          <p:cTn id="49" fill="hold" nodeType="afterGroup">
                            <p:stCondLst>
                              <p:cond delay="4500"/>
                            </p:stCondLst>
                            <p:childTnLst>
                              <p:par>
                                <p:cTn id="50" presetID="2" presetClass="entr" presetSubtype="4" fill="hold" grpId="0" nodeType="afterEffect">
                                  <p:stCondLst>
                                    <p:cond delay="0"/>
                                  </p:stCondLst>
                                  <p:childTnLst>
                                    <p:set>
                                      <p:cBhvr>
                                        <p:cTn id="51" dur="1" fill="hold">
                                          <p:stCondLst>
                                            <p:cond delay="0"/>
                                          </p:stCondLst>
                                        </p:cTn>
                                        <p:tgtEl>
                                          <p:spTgt spid="72"/>
                                        </p:tgtEl>
                                        <p:attrNameLst>
                                          <p:attrName>style.visibility</p:attrName>
                                        </p:attrNameLst>
                                      </p:cBhvr>
                                      <p:to>
                                        <p:strVal val="visible"/>
                                      </p:to>
                                    </p:set>
                                    <p:anim calcmode="lin" valueType="num">
                                      <p:cBhvr additive="base">
                                        <p:cTn id="52" dur="500" fill="hold"/>
                                        <p:tgtEl>
                                          <p:spTgt spid="72"/>
                                        </p:tgtEl>
                                        <p:attrNameLst>
                                          <p:attrName>ppt_x</p:attrName>
                                        </p:attrNameLst>
                                      </p:cBhvr>
                                      <p:tavLst>
                                        <p:tav tm="0">
                                          <p:val>
                                            <p:strVal val="#ppt_x"/>
                                          </p:val>
                                        </p:tav>
                                        <p:tav tm="100000">
                                          <p:val>
                                            <p:strVal val="#ppt_x"/>
                                          </p:val>
                                        </p:tav>
                                      </p:tavLst>
                                    </p:anim>
                                    <p:anim calcmode="lin" valueType="num">
                                      <p:cBhvr additive="base">
                                        <p:cTn id="53" dur="500" fill="hold"/>
                                        <p:tgtEl>
                                          <p:spTgt spid="72"/>
                                        </p:tgtEl>
                                        <p:attrNameLst>
                                          <p:attrName>ppt_y</p:attrName>
                                        </p:attrNameLst>
                                      </p:cBhvr>
                                      <p:tavLst>
                                        <p:tav tm="0">
                                          <p:val>
                                            <p:strVal val="1+#ppt_h/2"/>
                                          </p:val>
                                        </p:tav>
                                        <p:tav tm="100000">
                                          <p:val>
                                            <p:strVal val="#ppt_y"/>
                                          </p:val>
                                        </p:tav>
                                      </p:tavLst>
                                    </p:anim>
                                  </p:childTnLst>
                                </p:cTn>
                              </p:par>
                            </p:childTnLst>
                          </p:cTn>
                        </p:par>
                        <p:par>
                          <p:cTn id="54" fill="hold" nodeType="afterGroup">
                            <p:stCondLst>
                              <p:cond delay="5000"/>
                            </p:stCondLst>
                            <p:childTnLst>
                              <p:par>
                                <p:cTn id="55" presetID="2" presetClass="entr" presetSubtype="4" fill="hold" grpId="0" nodeType="afterEffect">
                                  <p:stCondLst>
                                    <p:cond delay="0"/>
                                  </p:stCondLst>
                                  <p:childTnLst>
                                    <p:set>
                                      <p:cBhvr>
                                        <p:cTn id="56" dur="1" fill="hold">
                                          <p:stCondLst>
                                            <p:cond delay="0"/>
                                          </p:stCondLst>
                                        </p:cTn>
                                        <p:tgtEl>
                                          <p:spTgt spid="76"/>
                                        </p:tgtEl>
                                        <p:attrNameLst>
                                          <p:attrName>style.visibility</p:attrName>
                                        </p:attrNameLst>
                                      </p:cBhvr>
                                      <p:to>
                                        <p:strVal val="visible"/>
                                      </p:to>
                                    </p:set>
                                    <p:anim calcmode="lin" valueType="num">
                                      <p:cBhvr additive="base">
                                        <p:cTn id="57" dur="500" fill="hold"/>
                                        <p:tgtEl>
                                          <p:spTgt spid="76"/>
                                        </p:tgtEl>
                                        <p:attrNameLst>
                                          <p:attrName>ppt_x</p:attrName>
                                        </p:attrNameLst>
                                      </p:cBhvr>
                                      <p:tavLst>
                                        <p:tav tm="0">
                                          <p:val>
                                            <p:strVal val="#ppt_x"/>
                                          </p:val>
                                        </p:tav>
                                        <p:tav tm="100000">
                                          <p:val>
                                            <p:strVal val="#ppt_x"/>
                                          </p:val>
                                        </p:tav>
                                      </p:tavLst>
                                    </p:anim>
                                    <p:anim calcmode="lin" valueType="num">
                                      <p:cBhvr additive="base">
                                        <p:cTn id="58" dur="500" fill="hold"/>
                                        <p:tgtEl>
                                          <p:spTgt spid="76"/>
                                        </p:tgtEl>
                                        <p:attrNameLst>
                                          <p:attrName>ppt_y</p:attrName>
                                        </p:attrNameLst>
                                      </p:cBhvr>
                                      <p:tavLst>
                                        <p:tav tm="0">
                                          <p:val>
                                            <p:strVal val="1+#ppt_h/2"/>
                                          </p:val>
                                        </p:tav>
                                        <p:tav tm="100000">
                                          <p:val>
                                            <p:strVal val="#ppt_y"/>
                                          </p:val>
                                        </p:tav>
                                      </p:tavLst>
                                    </p:anim>
                                  </p:childTnLst>
                                </p:cTn>
                              </p:par>
                            </p:childTnLst>
                          </p:cTn>
                        </p:par>
                        <p:par>
                          <p:cTn id="59" fill="hold" nodeType="afterGroup">
                            <p:stCondLst>
                              <p:cond delay="5500"/>
                            </p:stCondLst>
                            <p:childTnLst>
                              <p:par>
                                <p:cTn id="60" presetID="2" presetClass="entr" presetSubtype="4" fill="hold" grpId="0" nodeType="afterEffect">
                                  <p:stCondLst>
                                    <p:cond delay="0"/>
                                  </p:stCondLst>
                                  <p:childTnLst>
                                    <p:set>
                                      <p:cBhvr>
                                        <p:cTn id="61" dur="1" fill="hold">
                                          <p:stCondLst>
                                            <p:cond delay="0"/>
                                          </p:stCondLst>
                                        </p:cTn>
                                        <p:tgtEl>
                                          <p:spTgt spid="82"/>
                                        </p:tgtEl>
                                        <p:attrNameLst>
                                          <p:attrName>style.visibility</p:attrName>
                                        </p:attrNameLst>
                                      </p:cBhvr>
                                      <p:to>
                                        <p:strVal val="visible"/>
                                      </p:to>
                                    </p:set>
                                    <p:anim calcmode="lin" valueType="num">
                                      <p:cBhvr additive="base">
                                        <p:cTn id="62" dur="500" fill="hold"/>
                                        <p:tgtEl>
                                          <p:spTgt spid="82"/>
                                        </p:tgtEl>
                                        <p:attrNameLst>
                                          <p:attrName>ppt_x</p:attrName>
                                        </p:attrNameLst>
                                      </p:cBhvr>
                                      <p:tavLst>
                                        <p:tav tm="0">
                                          <p:val>
                                            <p:strVal val="#ppt_x"/>
                                          </p:val>
                                        </p:tav>
                                        <p:tav tm="100000">
                                          <p:val>
                                            <p:strVal val="#ppt_x"/>
                                          </p:val>
                                        </p:tav>
                                      </p:tavLst>
                                    </p:anim>
                                    <p:anim calcmode="lin" valueType="num">
                                      <p:cBhvr additive="base">
                                        <p:cTn id="63" dur="500" fill="hold"/>
                                        <p:tgtEl>
                                          <p:spTgt spid="82"/>
                                        </p:tgtEl>
                                        <p:attrNameLst>
                                          <p:attrName>ppt_y</p:attrName>
                                        </p:attrNameLst>
                                      </p:cBhvr>
                                      <p:tavLst>
                                        <p:tav tm="0">
                                          <p:val>
                                            <p:strVal val="1+#ppt_h/2"/>
                                          </p:val>
                                        </p:tav>
                                        <p:tav tm="100000">
                                          <p:val>
                                            <p:strVal val="#ppt_y"/>
                                          </p:val>
                                        </p:tav>
                                      </p:tavLst>
                                    </p:anim>
                                  </p:childTnLst>
                                </p:cTn>
                              </p:par>
                            </p:childTnLst>
                          </p:cTn>
                        </p:par>
                        <p:par>
                          <p:cTn id="64" fill="hold" nodeType="afterGroup">
                            <p:stCondLst>
                              <p:cond delay="6000"/>
                            </p:stCondLst>
                            <p:childTnLst>
                              <p:par>
                                <p:cTn id="65" presetID="2" presetClass="entr" presetSubtype="4" fill="hold" grpId="0" nodeType="afterEffect">
                                  <p:stCondLst>
                                    <p:cond delay="0"/>
                                  </p:stCondLst>
                                  <p:childTnLst>
                                    <p:set>
                                      <p:cBhvr>
                                        <p:cTn id="66" dur="1" fill="hold">
                                          <p:stCondLst>
                                            <p:cond delay="0"/>
                                          </p:stCondLst>
                                        </p:cTn>
                                        <p:tgtEl>
                                          <p:spTgt spid="69"/>
                                        </p:tgtEl>
                                        <p:attrNameLst>
                                          <p:attrName>style.visibility</p:attrName>
                                        </p:attrNameLst>
                                      </p:cBhvr>
                                      <p:to>
                                        <p:strVal val="visible"/>
                                      </p:to>
                                    </p:set>
                                    <p:anim calcmode="lin" valueType="num">
                                      <p:cBhvr additive="base">
                                        <p:cTn id="67" dur="500" fill="hold"/>
                                        <p:tgtEl>
                                          <p:spTgt spid="69"/>
                                        </p:tgtEl>
                                        <p:attrNameLst>
                                          <p:attrName>ppt_x</p:attrName>
                                        </p:attrNameLst>
                                      </p:cBhvr>
                                      <p:tavLst>
                                        <p:tav tm="0">
                                          <p:val>
                                            <p:strVal val="#ppt_x"/>
                                          </p:val>
                                        </p:tav>
                                        <p:tav tm="100000">
                                          <p:val>
                                            <p:strVal val="#ppt_x"/>
                                          </p:val>
                                        </p:tav>
                                      </p:tavLst>
                                    </p:anim>
                                    <p:anim calcmode="lin" valueType="num">
                                      <p:cBhvr additive="base">
                                        <p:cTn id="68" dur="500" fill="hold"/>
                                        <p:tgtEl>
                                          <p:spTgt spid="69"/>
                                        </p:tgtEl>
                                        <p:attrNameLst>
                                          <p:attrName>ppt_y</p:attrName>
                                        </p:attrNameLst>
                                      </p:cBhvr>
                                      <p:tavLst>
                                        <p:tav tm="0">
                                          <p:val>
                                            <p:strVal val="1+#ppt_h/2"/>
                                          </p:val>
                                        </p:tav>
                                        <p:tav tm="100000">
                                          <p:val>
                                            <p:strVal val="#ppt_y"/>
                                          </p:val>
                                        </p:tav>
                                      </p:tavLst>
                                    </p:anim>
                                  </p:childTnLst>
                                </p:cTn>
                              </p:par>
                            </p:childTnLst>
                          </p:cTn>
                        </p:par>
                        <p:par>
                          <p:cTn id="69" fill="hold" nodeType="afterGroup">
                            <p:stCondLst>
                              <p:cond delay="6500"/>
                            </p:stCondLst>
                            <p:childTnLst>
                              <p:par>
                                <p:cTn id="70" presetID="2" presetClass="entr" presetSubtype="4" fill="hold" grpId="0" nodeType="afterEffect">
                                  <p:stCondLst>
                                    <p:cond delay="0"/>
                                  </p:stCondLst>
                                  <p:childTnLst>
                                    <p:set>
                                      <p:cBhvr>
                                        <p:cTn id="71" dur="1" fill="hold">
                                          <p:stCondLst>
                                            <p:cond delay="0"/>
                                          </p:stCondLst>
                                        </p:cTn>
                                        <p:tgtEl>
                                          <p:spTgt spid="73"/>
                                        </p:tgtEl>
                                        <p:attrNameLst>
                                          <p:attrName>style.visibility</p:attrName>
                                        </p:attrNameLst>
                                      </p:cBhvr>
                                      <p:to>
                                        <p:strVal val="visible"/>
                                      </p:to>
                                    </p:set>
                                    <p:anim calcmode="lin" valueType="num">
                                      <p:cBhvr additive="base">
                                        <p:cTn id="72" dur="500" fill="hold"/>
                                        <p:tgtEl>
                                          <p:spTgt spid="73"/>
                                        </p:tgtEl>
                                        <p:attrNameLst>
                                          <p:attrName>ppt_x</p:attrName>
                                        </p:attrNameLst>
                                      </p:cBhvr>
                                      <p:tavLst>
                                        <p:tav tm="0">
                                          <p:val>
                                            <p:strVal val="#ppt_x"/>
                                          </p:val>
                                        </p:tav>
                                        <p:tav tm="100000">
                                          <p:val>
                                            <p:strVal val="#ppt_x"/>
                                          </p:val>
                                        </p:tav>
                                      </p:tavLst>
                                    </p:anim>
                                    <p:anim calcmode="lin" valueType="num">
                                      <p:cBhvr additive="base">
                                        <p:cTn id="73" dur="500" fill="hold"/>
                                        <p:tgtEl>
                                          <p:spTgt spid="73"/>
                                        </p:tgtEl>
                                        <p:attrNameLst>
                                          <p:attrName>ppt_y</p:attrName>
                                        </p:attrNameLst>
                                      </p:cBhvr>
                                      <p:tavLst>
                                        <p:tav tm="0">
                                          <p:val>
                                            <p:strVal val="1+#ppt_h/2"/>
                                          </p:val>
                                        </p:tav>
                                        <p:tav tm="100000">
                                          <p:val>
                                            <p:strVal val="#ppt_y"/>
                                          </p:val>
                                        </p:tav>
                                      </p:tavLst>
                                    </p:anim>
                                  </p:childTnLst>
                                </p:cTn>
                              </p:par>
                            </p:childTnLst>
                          </p:cTn>
                        </p:par>
                        <p:par>
                          <p:cTn id="74" fill="hold" nodeType="afterGroup">
                            <p:stCondLst>
                              <p:cond delay="7000"/>
                            </p:stCondLst>
                            <p:childTnLst>
                              <p:par>
                                <p:cTn id="75" presetID="2" presetClass="entr" presetSubtype="4" fill="hold" grpId="0" nodeType="afterEffect">
                                  <p:stCondLst>
                                    <p:cond delay="0"/>
                                  </p:stCondLst>
                                  <p:childTnLst>
                                    <p:set>
                                      <p:cBhvr>
                                        <p:cTn id="76" dur="1" fill="hold">
                                          <p:stCondLst>
                                            <p:cond delay="0"/>
                                          </p:stCondLst>
                                        </p:cTn>
                                        <p:tgtEl>
                                          <p:spTgt spid="77"/>
                                        </p:tgtEl>
                                        <p:attrNameLst>
                                          <p:attrName>style.visibility</p:attrName>
                                        </p:attrNameLst>
                                      </p:cBhvr>
                                      <p:to>
                                        <p:strVal val="visible"/>
                                      </p:to>
                                    </p:set>
                                    <p:anim calcmode="lin" valueType="num">
                                      <p:cBhvr additive="base">
                                        <p:cTn id="77" dur="500" fill="hold"/>
                                        <p:tgtEl>
                                          <p:spTgt spid="77"/>
                                        </p:tgtEl>
                                        <p:attrNameLst>
                                          <p:attrName>ppt_x</p:attrName>
                                        </p:attrNameLst>
                                      </p:cBhvr>
                                      <p:tavLst>
                                        <p:tav tm="0">
                                          <p:val>
                                            <p:strVal val="#ppt_x"/>
                                          </p:val>
                                        </p:tav>
                                        <p:tav tm="100000">
                                          <p:val>
                                            <p:strVal val="#ppt_x"/>
                                          </p:val>
                                        </p:tav>
                                      </p:tavLst>
                                    </p:anim>
                                    <p:anim calcmode="lin" valueType="num">
                                      <p:cBhvr additive="base">
                                        <p:cTn id="78" dur="500" fill="hold"/>
                                        <p:tgtEl>
                                          <p:spTgt spid="77"/>
                                        </p:tgtEl>
                                        <p:attrNameLst>
                                          <p:attrName>ppt_y</p:attrName>
                                        </p:attrNameLst>
                                      </p:cBhvr>
                                      <p:tavLst>
                                        <p:tav tm="0">
                                          <p:val>
                                            <p:strVal val="1+#ppt_h/2"/>
                                          </p:val>
                                        </p:tav>
                                        <p:tav tm="100000">
                                          <p:val>
                                            <p:strVal val="#ppt_y"/>
                                          </p:val>
                                        </p:tav>
                                      </p:tavLst>
                                    </p:anim>
                                  </p:childTnLst>
                                </p:cTn>
                              </p:par>
                            </p:childTnLst>
                          </p:cTn>
                        </p:par>
                        <p:par>
                          <p:cTn id="79" fill="hold" nodeType="afterGroup">
                            <p:stCondLst>
                              <p:cond delay="7500"/>
                            </p:stCondLst>
                            <p:childTnLst>
                              <p:par>
                                <p:cTn id="80" presetID="2" presetClass="entr" presetSubtype="4" fill="hold" grpId="0" nodeType="afterEffect">
                                  <p:stCondLst>
                                    <p:cond delay="0"/>
                                  </p:stCondLst>
                                  <p:childTnLst>
                                    <p:set>
                                      <p:cBhvr>
                                        <p:cTn id="81" dur="1" fill="hold">
                                          <p:stCondLst>
                                            <p:cond delay="0"/>
                                          </p:stCondLst>
                                        </p:cTn>
                                        <p:tgtEl>
                                          <p:spTgt spid="83"/>
                                        </p:tgtEl>
                                        <p:attrNameLst>
                                          <p:attrName>style.visibility</p:attrName>
                                        </p:attrNameLst>
                                      </p:cBhvr>
                                      <p:to>
                                        <p:strVal val="visible"/>
                                      </p:to>
                                    </p:set>
                                    <p:anim calcmode="lin" valueType="num">
                                      <p:cBhvr additive="base">
                                        <p:cTn id="82" dur="500" fill="hold"/>
                                        <p:tgtEl>
                                          <p:spTgt spid="83"/>
                                        </p:tgtEl>
                                        <p:attrNameLst>
                                          <p:attrName>ppt_x</p:attrName>
                                        </p:attrNameLst>
                                      </p:cBhvr>
                                      <p:tavLst>
                                        <p:tav tm="0">
                                          <p:val>
                                            <p:strVal val="#ppt_x"/>
                                          </p:val>
                                        </p:tav>
                                        <p:tav tm="100000">
                                          <p:val>
                                            <p:strVal val="#ppt_x"/>
                                          </p:val>
                                        </p:tav>
                                      </p:tavLst>
                                    </p:anim>
                                    <p:anim calcmode="lin" valueType="num">
                                      <p:cBhvr additive="base">
                                        <p:cTn id="83" dur="500" fill="hold"/>
                                        <p:tgtEl>
                                          <p:spTgt spid="8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7" grpId="0" animBg="1"/>
      <p:bldP spid="68" grpId="0" animBg="1"/>
      <p:bldP spid="69" grpId="0" animBg="1"/>
      <p:bldP spid="70" grpId="0"/>
      <p:bldP spid="71" grpId="0"/>
      <p:bldP spid="72" grpId="0"/>
      <p:bldP spid="73" grpId="0"/>
      <p:bldP spid="74" grpId="0" animBg="1"/>
      <p:bldP spid="75" grpId="0" animBg="1"/>
      <p:bldP spid="76" grpId="0" animBg="1"/>
      <p:bldP spid="77" grpId="0" animBg="1"/>
      <p:bldP spid="79" grpId="0"/>
      <p:bldP spid="80" grpId="0"/>
      <p:bldP spid="82" grpId="0"/>
      <p:bldP spid="83" grpId="0"/>
    </p:bldLst>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cxnSp>
        <p:nvCxnSpPr>
          <p:cNvPr id="10" name="肘形连接符 9"/>
          <p:cNvCxnSpPr/>
          <p:nvPr/>
        </p:nvCxnSpPr>
        <p:spPr>
          <a:xfrm flipV="1">
            <a:off x="2647196" y="1791865"/>
            <a:ext cx="2182086" cy="567908"/>
          </a:xfrm>
          <a:prstGeom prst="bentConnector3">
            <a:avLst>
              <a:gd name="adj1" fmla="val 62381"/>
            </a:avLst>
          </a:prstGeom>
          <a:ln w="9525" cap="rnd">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 name="肘形连接符 10"/>
          <p:cNvCxnSpPr/>
          <p:nvPr/>
        </p:nvCxnSpPr>
        <p:spPr>
          <a:xfrm>
            <a:off x="2647196" y="2599397"/>
            <a:ext cx="2322258" cy="609269"/>
          </a:xfrm>
          <a:prstGeom prst="bentConnector3">
            <a:avLst>
              <a:gd name="adj1" fmla="val 50000"/>
            </a:avLst>
          </a:prstGeom>
          <a:ln w="9525">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2" name="椭圆 11"/>
          <p:cNvSpPr/>
          <p:nvPr/>
        </p:nvSpPr>
        <p:spPr>
          <a:xfrm>
            <a:off x="4829282" y="1541125"/>
            <a:ext cx="410201" cy="4102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方正兰亭黑简体" panose="02000000000000000000" pitchFamily="2" charset="-122"/>
              <a:ea typeface="方正兰亭黑简体" panose="02000000000000000000" pitchFamily="2" charset="-122"/>
            </a:endParaRPr>
          </a:p>
        </p:txBody>
      </p:sp>
      <p:sp>
        <p:nvSpPr>
          <p:cNvPr id="13" name="标题 4"/>
          <p:cNvSpPr txBox="1"/>
          <p:nvPr/>
        </p:nvSpPr>
        <p:spPr>
          <a:xfrm>
            <a:off x="4873251" y="1612054"/>
            <a:ext cx="388354" cy="270031"/>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CN" sz="1400" b="1">
                <a:solidFill>
                  <a:schemeClr val="bg1"/>
                </a:solidFill>
                <a:latin typeface="方正兰亭黑简体" panose="02000000000000000000" pitchFamily="2" charset="-122"/>
                <a:ea typeface="方正兰亭黑简体" panose="02000000000000000000" pitchFamily="2" charset="-122"/>
              </a:rPr>
              <a:t>01</a:t>
            </a:r>
            <a:endParaRPr lang="en-US" altLang="zh-CN" sz="1400" b="1">
              <a:solidFill>
                <a:schemeClr val="bg1"/>
              </a:solidFill>
              <a:latin typeface="方正兰亭黑简体" panose="02000000000000000000" pitchFamily="2" charset="-122"/>
              <a:ea typeface="方正兰亭黑简体" panose="02000000000000000000" pitchFamily="2" charset="-122"/>
            </a:endParaRPr>
          </a:p>
        </p:txBody>
      </p:sp>
      <p:cxnSp>
        <p:nvCxnSpPr>
          <p:cNvPr id="14" name="肘形连接符 13"/>
          <p:cNvCxnSpPr/>
          <p:nvPr/>
        </p:nvCxnSpPr>
        <p:spPr>
          <a:xfrm flipV="1">
            <a:off x="3111404" y="2532715"/>
            <a:ext cx="2257939" cy="583142"/>
          </a:xfrm>
          <a:prstGeom prst="bentConnector3">
            <a:avLst>
              <a:gd name="adj1" fmla="val 50000"/>
            </a:avLst>
          </a:prstGeom>
          <a:ln w="9525">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 name="肘形连接符 14"/>
          <p:cNvCxnSpPr/>
          <p:nvPr/>
        </p:nvCxnSpPr>
        <p:spPr>
          <a:xfrm>
            <a:off x="3079244" y="3340279"/>
            <a:ext cx="2322258" cy="609269"/>
          </a:xfrm>
          <a:prstGeom prst="bentConnector3">
            <a:avLst>
              <a:gd name="adj1" fmla="val 55369"/>
            </a:avLst>
          </a:prstGeom>
          <a:ln w="9525">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6" name="椭圆 15"/>
          <p:cNvSpPr/>
          <p:nvPr/>
        </p:nvSpPr>
        <p:spPr>
          <a:xfrm>
            <a:off x="5369343" y="2297209"/>
            <a:ext cx="410201" cy="4102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方正兰亭黑简体" panose="02000000000000000000" pitchFamily="2" charset="-122"/>
              <a:ea typeface="方正兰亭黑简体" panose="02000000000000000000" pitchFamily="2" charset="-122"/>
            </a:endParaRPr>
          </a:p>
        </p:txBody>
      </p:sp>
      <p:sp>
        <p:nvSpPr>
          <p:cNvPr id="17" name="标题 4"/>
          <p:cNvSpPr txBox="1"/>
          <p:nvPr/>
        </p:nvSpPr>
        <p:spPr>
          <a:xfrm>
            <a:off x="5413311" y="2368138"/>
            <a:ext cx="388354" cy="270031"/>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CN" sz="1400" b="1">
                <a:solidFill>
                  <a:schemeClr val="bg1"/>
                </a:solidFill>
                <a:latin typeface="方正兰亭黑简体" panose="02000000000000000000" pitchFamily="2" charset="-122"/>
                <a:ea typeface="方正兰亭黑简体" panose="02000000000000000000" pitchFamily="2" charset="-122"/>
              </a:rPr>
              <a:t>02</a:t>
            </a:r>
            <a:endParaRPr lang="en-US" altLang="zh-CN" sz="1400" b="1">
              <a:solidFill>
                <a:schemeClr val="bg1"/>
              </a:solidFill>
              <a:latin typeface="方正兰亭黑简体" panose="02000000000000000000" pitchFamily="2" charset="-122"/>
              <a:ea typeface="方正兰亭黑简体" panose="02000000000000000000" pitchFamily="2" charset="-122"/>
            </a:endParaRPr>
          </a:p>
        </p:txBody>
      </p:sp>
      <p:sp>
        <p:nvSpPr>
          <p:cNvPr id="18" name="椭圆 17"/>
          <p:cNvSpPr/>
          <p:nvPr/>
        </p:nvSpPr>
        <p:spPr>
          <a:xfrm>
            <a:off x="4775277" y="2977440"/>
            <a:ext cx="410201" cy="4102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方正兰亭黑简体" panose="02000000000000000000" pitchFamily="2" charset="-122"/>
              <a:ea typeface="方正兰亭黑简体" panose="02000000000000000000" pitchFamily="2" charset="-122"/>
            </a:endParaRPr>
          </a:p>
        </p:txBody>
      </p:sp>
      <p:sp>
        <p:nvSpPr>
          <p:cNvPr id="19" name="标题 4"/>
          <p:cNvSpPr txBox="1"/>
          <p:nvPr/>
        </p:nvSpPr>
        <p:spPr>
          <a:xfrm>
            <a:off x="4819245" y="3048369"/>
            <a:ext cx="388354" cy="270031"/>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CN" sz="1400" b="1">
                <a:solidFill>
                  <a:schemeClr val="bg1"/>
                </a:solidFill>
                <a:latin typeface="方正兰亭黑简体" panose="02000000000000000000" pitchFamily="2" charset="-122"/>
                <a:ea typeface="方正兰亭黑简体" panose="02000000000000000000" pitchFamily="2" charset="-122"/>
              </a:rPr>
              <a:t>03</a:t>
            </a:r>
            <a:endParaRPr lang="en-US" altLang="zh-CN" sz="1400" b="1">
              <a:solidFill>
                <a:schemeClr val="bg1"/>
              </a:solidFill>
              <a:latin typeface="方正兰亭黑简体" panose="02000000000000000000" pitchFamily="2" charset="-122"/>
              <a:ea typeface="方正兰亭黑简体" panose="02000000000000000000" pitchFamily="2" charset="-122"/>
            </a:endParaRPr>
          </a:p>
        </p:txBody>
      </p:sp>
      <p:sp>
        <p:nvSpPr>
          <p:cNvPr id="20" name="椭圆 19"/>
          <p:cNvSpPr/>
          <p:nvPr/>
        </p:nvSpPr>
        <p:spPr>
          <a:xfrm>
            <a:off x="5315337" y="3733524"/>
            <a:ext cx="410201" cy="41020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方正兰亭黑简体" panose="02000000000000000000" pitchFamily="2" charset="-122"/>
              <a:ea typeface="方正兰亭黑简体" panose="02000000000000000000" pitchFamily="2" charset="-122"/>
            </a:endParaRPr>
          </a:p>
        </p:txBody>
      </p:sp>
      <p:sp>
        <p:nvSpPr>
          <p:cNvPr id="21" name="标题 4"/>
          <p:cNvSpPr txBox="1"/>
          <p:nvPr/>
        </p:nvSpPr>
        <p:spPr>
          <a:xfrm>
            <a:off x="5359305" y="3804453"/>
            <a:ext cx="388354" cy="270031"/>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CN" sz="1400" b="1">
                <a:solidFill>
                  <a:schemeClr val="bg1"/>
                </a:solidFill>
                <a:latin typeface="方正兰亭黑简体" panose="02000000000000000000" pitchFamily="2" charset="-122"/>
                <a:ea typeface="方正兰亭黑简体" panose="02000000000000000000" pitchFamily="2" charset="-122"/>
              </a:rPr>
              <a:t>04</a:t>
            </a:r>
            <a:endParaRPr lang="en-US" altLang="zh-CN" sz="1400" b="1">
              <a:solidFill>
                <a:schemeClr val="bg1"/>
              </a:solidFill>
              <a:latin typeface="方正兰亭黑简体" panose="02000000000000000000" pitchFamily="2" charset="-122"/>
              <a:ea typeface="方正兰亭黑简体" panose="02000000000000000000" pitchFamily="2" charset="-122"/>
            </a:endParaRPr>
          </a:p>
        </p:txBody>
      </p:sp>
      <p:sp>
        <p:nvSpPr>
          <p:cNvPr id="22" name="Freeform 9"/>
          <p:cNvSpPr/>
          <p:nvPr/>
        </p:nvSpPr>
        <p:spPr bwMode="auto">
          <a:xfrm flipH="1">
            <a:off x="1081022" y="2005332"/>
            <a:ext cx="2214246" cy="1382692"/>
          </a:xfrm>
          <a:custGeom>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accent1"/>
          </a:solidFill>
          <a:ln>
            <a:noFill/>
          </a:ln>
        </p:spPr>
        <p:txBody>
          <a:bodyPr vert="horz" wrap="square" lIns="56640" tIns="28320" rIns="56640" bIns="283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66420">
              <a:defRPr/>
            </a:pPr>
            <a:endParaRPr lang="zh-CN" altLang="en-US" sz="1100">
              <a:solidFill>
                <a:sysClr val="windowText" lastClr="000000"/>
              </a:solidFill>
              <a:latin typeface="Calibri"/>
              <a:ea typeface="宋体" panose="02010600030101010101" pitchFamily="2" charset="-122"/>
            </a:endParaRPr>
          </a:p>
        </p:txBody>
      </p:sp>
      <p:sp>
        <p:nvSpPr>
          <p:cNvPr id="23" name="KSO_Shape"/>
          <p:cNvSpPr/>
          <p:nvPr/>
        </p:nvSpPr>
        <p:spPr bwMode="auto">
          <a:xfrm>
            <a:off x="1868647" y="2458798"/>
            <a:ext cx="475757" cy="475757"/>
          </a:xfrm>
          <a:custGeom>
            <a:gdLst>
              <a:gd name="T0" fmla="*/ 984018 w 1589088"/>
              <a:gd name="T1" fmla="*/ 589506 h 1589088"/>
              <a:gd name="T2" fmla="*/ 955171 w 1589088"/>
              <a:gd name="T3" fmla="*/ 645802 h 1589088"/>
              <a:gd name="T4" fmla="*/ 898294 w 1589088"/>
              <a:gd name="T5" fmla="*/ 673272 h 1589088"/>
              <a:gd name="T6" fmla="*/ 881422 w 1589088"/>
              <a:gd name="T7" fmla="*/ 964824 h 1589088"/>
              <a:gd name="T8" fmla="*/ 873530 w 1589088"/>
              <a:gd name="T9" fmla="*/ 1040159 h 1589088"/>
              <a:gd name="T10" fmla="*/ 824817 w 1589088"/>
              <a:gd name="T11" fmla="*/ 1084490 h 1589088"/>
              <a:gd name="T12" fmla="*/ 756238 w 1589088"/>
              <a:gd name="T13" fmla="*/ 1088026 h 1589088"/>
              <a:gd name="T14" fmla="*/ 703444 w 1589088"/>
              <a:gd name="T15" fmla="*/ 1048590 h 1589088"/>
              <a:gd name="T16" fmla="*/ 686571 w 1589088"/>
              <a:gd name="T17" fmla="*/ 985493 h 1589088"/>
              <a:gd name="T18" fmla="*/ 486007 w 1589088"/>
              <a:gd name="T19" fmla="*/ 893024 h 1589088"/>
              <a:gd name="T20" fmla="*/ 398106 w 1589088"/>
              <a:gd name="T21" fmla="*/ 820680 h 1589088"/>
              <a:gd name="T22" fmla="*/ 402189 w 1589088"/>
              <a:gd name="T23" fmla="*/ 755134 h 1589088"/>
              <a:gd name="T24" fmla="*/ 446547 w 1589088"/>
              <a:gd name="T25" fmla="*/ 706452 h 1589088"/>
              <a:gd name="T26" fmla="*/ 514037 w 1589088"/>
              <a:gd name="T27" fmla="*/ 696389 h 1589088"/>
              <a:gd name="T28" fmla="*/ 570641 w 1589088"/>
              <a:gd name="T29" fmla="*/ 730385 h 1589088"/>
              <a:gd name="T30" fmla="*/ 593501 w 1589088"/>
              <a:gd name="T31" fmla="*/ 794027 h 1589088"/>
              <a:gd name="T32" fmla="*/ 818558 w 1589088"/>
              <a:gd name="T33" fmla="*/ 648522 h 1589088"/>
              <a:gd name="T34" fmla="*/ 785901 w 1589088"/>
              <a:gd name="T35" fmla="*/ 575091 h 1589088"/>
              <a:gd name="T36" fmla="*/ 808761 w 1589088"/>
              <a:gd name="T37" fmla="*/ 511721 h 1589088"/>
              <a:gd name="T38" fmla="*/ 865365 w 1589088"/>
              <a:gd name="T39" fmla="*/ 477726 h 1589088"/>
              <a:gd name="T40" fmla="*/ 728574 w 1589088"/>
              <a:gd name="T41" fmla="*/ 144010 h 1589088"/>
              <a:gd name="T42" fmla="*/ 531280 w 1589088"/>
              <a:gd name="T43" fmla="*/ 182593 h 1589088"/>
              <a:gd name="T44" fmla="*/ 353281 w 1589088"/>
              <a:gd name="T45" fmla="*/ 288291 h 1589088"/>
              <a:gd name="T46" fmla="*/ 219577 w 1589088"/>
              <a:gd name="T47" fmla="*/ 451592 h 1589088"/>
              <a:gd name="T48" fmla="*/ 152454 w 1589088"/>
              <a:gd name="T49" fmla="*/ 642880 h 1589088"/>
              <a:gd name="T50" fmla="*/ 152454 w 1589088"/>
              <a:gd name="T51" fmla="*/ 843135 h 1589088"/>
              <a:gd name="T52" fmla="*/ 219577 w 1589088"/>
              <a:gd name="T53" fmla="*/ 1034422 h 1589088"/>
              <a:gd name="T54" fmla="*/ 353281 w 1589088"/>
              <a:gd name="T55" fmla="*/ 1197724 h 1589088"/>
              <a:gd name="T56" fmla="*/ 531280 w 1589088"/>
              <a:gd name="T57" fmla="*/ 1303421 h 1589088"/>
              <a:gd name="T58" fmla="*/ 728574 w 1589088"/>
              <a:gd name="T59" fmla="*/ 1341734 h 1589088"/>
              <a:gd name="T60" fmla="*/ 927227 w 1589088"/>
              <a:gd name="T61" fmla="*/ 1312931 h 1589088"/>
              <a:gd name="T62" fmla="*/ 1109302 w 1589088"/>
              <a:gd name="T63" fmla="*/ 1217015 h 1589088"/>
              <a:gd name="T64" fmla="*/ 1251431 w 1589088"/>
              <a:gd name="T65" fmla="*/ 1059964 h 1589088"/>
              <a:gd name="T66" fmla="*/ 1328065 w 1589088"/>
              <a:gd name="T67" fmla="*/ 871393 h 1589088"/>
              <a:gd name="T68" fmla="*/ 1337576 w 1589088"/>
              <a:gd name="T69" fmla="*/ 671410 h 1589088"/>
              <a:gd name="T70" fmla="*/ 1280237 w 1589088"/>
              <a:gd name="T71" fmla="*/ 477677 h 1589088"/>
              <a:gd name="T72" fmla="*/ 1155500 w 1589088"/>
              <a:gd name="T73" fmla="*/ 308670 h 1589088"/>
              <a:gd name="T74" fmla="*/ 981849 w 1589088"/>
              <a:gd name="T75" fmla="*/ 193462 h 1589088"/>
              <a:gd name="T76" fmla="*/ 785915 w 1589088"/>
              <a:gd name="T77" fmla="*/ 145640 h 1589088"/>
              <a:gd name="T78" fmla="*/ 902226 w 1589088"/>
              <a:gd name="T79" fmla="*/ 17390 h 1589088"/>
              <a:gd name="T80" fmla="*/ 1136207 w 1589088"/>
              <a:gd name="T81" fmla="*/ 112491 h 1589088"/>
              <a:gd name="T82" fmla="*/ 1320999 w 1589088"/>
              <a:gd name="T83" fmla="*/ 276063 h 1589088"/>
              <a:gd name="T84" fmla="*/ 1429702 w 1589088"/>
              <a:gd name="T85" fmla="*/ 459201 h 1589088"/>
              <a:gd name="T86" fmla="*/ 1481334 w 1589088"/>
              <a:gd name="T87" fmla="*/ 660270 h 1589088"/>
              <a:gd name="T88" fmla="*/ 1475356 w 1589088"/>
              <a:gd name="T89" fmla="*/ 866502 h 1589088"/>
              <a:gd name="T90" fmla="*/ 1412581 w 1589088"/>
              <a:gd name="T91" fmla="*/ 1064855 h 1589088"/>
              <a:gd name="T92" fmla="*/ 1892771 w 1589088"/>
              <a:gd name="T93" fmla="*/ 1636001 h 1589088"/>
              <a:gd name="T94" fmla="*/ 1896304 w 1589088"/>
              <a:gd name="T95" fmla="*/ 1759632 h 1589088"/>
              <a:gd name="T96" fmla="*/ 1783798 w 1589088"/>
              <a:gd name="T97" fmla="*/ 1885980 h 1589088"/>
              <a:gd name="T98" fmla="*/ 1662866 w 1589088"/>
              <a:gd name="T99" fmla="*/ 1900381 h 1589088"/>
              <a:gd name="T100" fmla="*/ 1104954 w 1589088"/>
              <a:gd name="T101" fmla="*/ 1391458 h 1589088"/>
              <a:gd name="T102" fmla="*/ 909835 w 1589088"/>
              <a:gd name="T103" fmla="*/ 1466451 h 1589088"/>
              <a:gd name="T104" fmla="*/ 704388 w 1589088"/>
              <a:gd name="T105" fmla="*/ 1484656 h 1589088"/>
              <a:gd name="T106" fmla="*/ 501116 w 1589088"/>
              <a:gd name="T107" fmla="*/ 1445528 h 1589088"/>
              <a:gd name="T108" fmla="*/ 313061 w 1589088"/>
              <a:gd name="T109" fmla="*/ 1349069 h 1589088"/>
              <a:gd name="T110" fmla="*/ 143758 w 1589088"/>
              <a:gd name="T111" fmla="*/ 1181965 h 1589088"/>
              <a:gd name="T112" fmla="*/ 30708 w 1589088"/>
              <a:gd name="T113" fmla="*/ 954538 h 1589088"/>
              <a:gd name="T114" fmla="*/ 815 w 1589088"/>
              <a:gd name="T115" fmla="*/ 707277 h 1589088"/>
              <a:gd name="T116" fmla="*/ 54351 w 1589088"/>
              <a:gd name="T117" fmla="*/ 463275 h 1589088"/>
              <a:gd name="T118" fmla="*/ 191315 w 1589088"/>
              <a:gd name="T119" fmla="*/ 245360 h 1589088"/>
              <a:gd name="T120" fmla="*/ 397577 w 1589088"/>
              <a:gd name="T121" fmla="*/ 85319 h 1589088"/>
              <a:gd name="T122" fmla="*/ 636177 w 1589088"/>
              <a:gd name="T123" fmla="*/ 7880 h 15890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89088" h="1589088">
                <a:moveTo>
                  <a:pt x="916859" y="288925"/>
                </a:moveTo>
                <a:lnTo>
                  <a:pt x="954088" y="332030"/>
                </a:lnTo>
                <a:lnTo>
                  <a:pt x="816067" y="450682"/>
                </a:lnTo>
                <a:lnTo>
                  <a:pt x="817430" y="454085"/>
                </a:lnTo>
                <a:lnTo>
                  <a:pt x="818338" y="457488"/>
                </a:lnTo>
                <a:lnTo>
                  <a:pt x="819246" y="461118"/>
                </a:lnTo>
                <a:lnTo>
                  <a:pt x="820381" y="464748"/>
                </a:lnTo>
                <a:lnTo>
                  <a:pt x="820835" y="468378"/>
                </a:lnTo>
                <a:lnTo>
                  <a:pt x="821289" y="472008"/>
                </a:lnTo>
                <a:lnTo>
                  <a:pt x="821743" y="475865"/>
                </a:lnTo>
                <a:lnTo>
                  <a:pt x="821743" y="479722"/>
                </a:lnTo>
                <a:lnTo>
                  <a:pt x="821743" y="483805"/>
                </a:lnTo>
                <a:lnTo>
                  <a:pt x="821289" y="487662"/>
                </a:lnTo>
                <a:lnTo>
                  <a:pt x="820835" y="491746"/>
                </a:lnTo>
                <a:lnTo>
                  <a:pt x="820154" y="495602"/>
                </a:lnTo>
                <a:lnTo>
                  <a:pt x="819246" y="499459"/>
                </a:lnTo>
                <a:lnTo>
                  <a:pt x="818338" y="503089"/>
                </a:lnTo>
                <a:lnTo>
                  <a:pt x="816976" y="506946"/>
                </a:lnTo>
                <a:lnTo>
                  <a:pt x="815840" y="510349"/>
                </a:lnTo>
                <a:lnTo>
                  <a:pt x="814251" y="513979"/>
                </a:lnTo>
                <a:lnTo>
                  <a:pt x="812662" y="517382"/>
                </a:lnTo>
                <a:lnTo>
                  <a:pt x="810619" y="520785"/>
                </a:lnTo>
                <a:lnTo>
                  <a:pt x="808803" y="523961"/>
                </a:lnTo>
                <a:lnTo>
                  <a:pt x="806760" y="527137"/>
                </a:lnTo>
                <a:lnTo>
                  <a:pt x="804263" y="530313"/>
                </a:lnTo>
                <a:lnTo>
                  <a:pt x="801993" y="533036"/>
                </a:lnTo>
                <a:lnTo>
                  <a:pt x="799496" y="535985"/>
                </a:lnTo>
                <a:lnTo>
                  <a:pt x="796772" y="538707"/>
                </a:lnTo>
                <a:lnTo>
                  <a:pt x="794048" y="541203"/>
                </a:lnTo>
                <a:lnTo>
                  <a:pt x="791324" y="543698"/>
                </a:lnTo>
                <a:lnTo>
                  <a:pt x="788146" y="545967"/>
                </a:lnTo>
                <a:lnTo>
                  <a:pt x="785194" y="548009"/>
                </a:lnTo>
                <a:lnTo>
                  <a:pt x="781789" y="550051"/>
                </a:lnTo>
                <a:lnTo>
                  <a:pt x="778611" y="552093"/>
                </a:lnTo>
                <a:lnTo>
                  <a:pt x="775433" y="553908"/>
                </a:lnTo>
                <a:lnTo>
                  <a:pt x="771801" y="555496"/>
                </a:lnTo>
                <a:lnTo>
                  <a:pt x="768396" y="556857"/>
                </a:lnTo>
                <a:lnTo>
                  <a:pt x="764537" y="558218"/>
                </a:lnTo>
                <a:lnTo>
                  <a:pt x="760905" y="559352"/>
                </a:lnTo>
                <a:lnTo>
                  <a:pt x="757046" y="560260"/>
                </a:lnTo>
                <a:lnTo>
                  <a:pt x="753413" y="560940"/>
                </a:lnTo>
                <a:lnTo>
                  <a:pt x="749327" y="561621"/>
                </a:lnTo>
                <a:lnTo>
                  <a:pt x="745241" y="562075"/>
                </a:lnTo>
                <a:lnTo>
                  <a:pt x="692121" y="754005"/>
                </a:lnTo>
                <a:lnTo>
                  <a:pt x="697343" y="756728"/>
                </a:lnTo>
                <a:lnTo>
                  <a:pt x="702110" y="759904"/>
                </a:lnTo>
                <a:lnTo>
                  <a:pt x="706650" y="763080"/>
                </a:lnTo>
                <a:lnTo>
                  <a:pt x="710963" y="766937"/>
                </a:lnTo>
                <a:lnTo>
                  <a:pt x="715049" y="770794"/>
                </a:lnTo>
                <a:lnTo>
                  <a:pt x="718908" y="774877"/>
                </a:lnTo>
                <a:lnTo>
                  <a:pt x="722313" y="779188"/>
                </a:lnTo>
                <a:lnTo>
                  <a:pt x="725718" y="783952"/>
                </a:lnTo>
                <a:lnTo>
                  <a:pt x="728670" y="788943"/>
                </a:lnTo>
                <a:lnTo>
                  <a:pt x="731167" y="793934"/>
                </a:lnTo>
                <a:lnTo>
                  <a:pt x="733437" y="799379"/>
                </a:lnTo>
                <a:lnTo>
                  <a:pt x="735253" y="804824"/>
                </a:lnTo>
                <a:lnTo>
                  <a:pt x="736615" y="810496"/>
                </a:lnTo>
                <a:lnTo>
                  <a:pt x="737750" y="816167"/>
                </a:lnTo>
                <a:lnTo>
                  <a:pt x="738431" y="822066"/>
                </a:lnTo>
                <a:lnTo>
                  <a:pt x="738658" y="828191"/>
                </a:lnTo>
                <a:lnTo>
                  <a:pt x="738658" y="832729"/>
                </a:lnTo>
                <a:lnTo>
                  <a:pt x="738431" y="836812"/>
                </a:lnTo>
                <a:lnTo>
                  <a:pt x="737523" y="840896"/>
                </a:lnTo>
                <a:lnTo>
                  <a:pt x="736842" y="844980"/>
                </a:lnTo>
                <a:lnTo>
                  <a:pt x="735934" y="849063"/>
                </a:lnTo>
                <a:lnTo>
                  <a:pt x="734799" y="852920"/>
                </a:lnTo>
                <a:lnTo>
                  <a:pt x="733664" y="856777"/>
                </a:lnTo>
                <a:lnTo>
                  <a:pt x="732075" y="860407"/>
                </a:lnTo>
                <a:lnTo>
                  <a:pt x="730259" y="864263"/>
                </a:lnTo>
                <a:lnTo>
                  <a:pt x="728670" y="867666"/>
                </a:lnTo>
                <a:lnTo>
                  <a:pt x="726626" y="871296"/>
                </a:lnTo>
                <a:lnTo>
                  <a:pt x="724583" y="874699"/>
                </a:lnTo>
                <a:lnTo>
                  <a:pt x="722086" y="877876"/>
                </a:lnTo>
                <a:lnTo>
                  <a:pt x="719589" y="881052"/>
                </a:lnTo>
                <a:lnTo>
                  <a:pt x="717092" y="884228"/>
                </a:lnTo>
                <a:lnTo>
                  <a:pt x="714141" y="886950"/>
                </a:lnTo>
                <a:lnTo>
                  <a:pt x="711417" y="889673"/>
                </a:lnTo>
                <a:lnTo>
                  <a:pt x="708239" y="892395"/>
                </a:lnTo>
                <a:lnTo>
                  <a:pt x="705288" y="894891"/>
                </a:lnTo>
                <a:lnTo>
                  <a:pt x="702110" y="896933"/>
                </a:lnTo>
                <a:lnTo>
                  <a:pt x="698705" y="899428"/>
                </a:lnTo>
                <a:lnTo>
                  <a:pt x="695299" y="901243"/>
                </a:lnTo>
                <a:lnTo>
                  <a:pt x="691440" y="903058"/>
                </a:lnTo>
                <a:lnTo>
                  <a:pt x="688035" y="904646"/>
                </a:lnTo>
                <a:lnTo>
                  <a:pt x="684176" y="906234"/>
                </a:lnTo>
                <a:lnTo>
                  <a:pt x="680317" y="907595"/>
                </a:lnTo>
                <a:lnTo>
                  <a:pt x="676231" y="908730"/>
                </a:lnTo>
                <a:lnTo>
                  <a:pt x="672372" y="909637"/>
                </a:lnTo>
                <a:lnTo>
                  <a:pt x="668286" y="910318"/>
                </a:lnTo>
                <a:lnTo>
                  <a:pt x="664199" y="910771"/>
                </a:lnTo>
                <a:lnTo>
                  <a:pt x="659886" y="911225"/>
                </a:lnTo>
                <a:lnTo>
                  <a:pt x="655573" y="911225"/>
                </a:lnTo>
                <a:lnTo>
                  <a:pt x="651260" y="911225"/>
                </a:lnTo>
                <a:lnTo>
                  <a:pt x="646947" y="910771"/>
                </a:lnTo>
                <a:lnTo>
                  <a:pt x="643088" y="910318"/>
                </a:lnTo>
                <a:lnTo>
                  <a:pt x="638775" y="909637"/>
                </a:lnTo>
                <a:lnTo>
                  <a:pt x="634915" y="908730"/>
                </a:lnTo>
                <a:lnTo>
                  <a:pt x="630829" y="907595"/>
                </a:lnTo>
                <a:lnTo>
                  <a:pt x="627197" y="906234"/>
                </a:lnTo>
                <a:lnTo>
                  <a:pt x="623338" y="904646"/>
                </a:lnTo>
                <a:lnTo>
                  <a:pt x="619706" y="903058"/>
                </a:lnTo>
                <a:lnTo>
                  <a:pt x="616074" y="901243"/>
                </a:lnTo>
                <a:lnTo>
                  <a:pt x="612669" y="899428"/>
                </a:lnTo>
                <a:lnTo>
                  <a:pt x="609037" y="896933"/>
                </a:lnTo>
                <a:lnTo>
                  <a:pt x="605858" y="894891"/>
                </a:lnTo>
                <a:lnTo>
                  <a:pt x="602680" y="892395"/>
                </a:lnTo>
                <a:lnTo>
                  <a:pt x="599729" y="889673"/>
                </a:lnTo>
                <a:lnTo>
                  <a:pt x="596778" y="886950"/>
                </a:lnTo>
                <a:lnTo>
                  <a:pt x="594054" y="884228"/>
                </a:lnTo>
                <a:lnTo>
                  <a:pt x="591557" y="881052"/>
                </a:lnTo>
                <a:lnTo>
                  <a:pt x="588833" y="877876"/>
                </a:lnTo>
                <a:lnTo>
                  <a:pt x="586790" y="874699"/>
                </a:lnTo>
                <a:lnTo>
                  <a:pt x="584520" y="871296"/>
                </a:lnTo>
                <a:lnTo>
                  <a:pt x="582704" y="867666"/>
                </a:lnTo>
                <a:lnTo>
                  <a:pt x="580661" y="864263"/>
                </a:lnTo>
                <a:lnTo>
                  <a:pt x="579072" y="860407"/>
                </a:lnTo>
                <a:lnTo>
                  <a:pt x="577710" y="856777"/>
                </a:lnTo>
                <a:lnTo>
                  <a:pt x="576348" y="852920"/>
                </a:lnTo>
                <a:lnTo>
                  <a:pt x="575212" y="849063"/>
                </a:lnTo>
                <a:lnTo>
                  <a:pt x="574077" y="844980"/>
                </a:lnTo>
                <a:lnTo>
                  <a:pt x="573396" y="840896"/>
                </a:lnTo>
                <a:lnTo>
                  <a:pt x="572942" y="836812"/>
                </a:lnTo>
                <a:lnTo>
                  <a:pt x="572488" y="832729"/>
                </a:lnTo>
                <a:lnTo>
                  <a:pt x="572488" y="828191"/>
                </a:lnTo>
                <a:lnTo>
                  <a:pt x="572488" y="825242"/>
                </a:lnTo>
                <a:lnTo>
                  <a:pt x="572715" y="822066"/>
                </a:lnTo>
                <a:lnTo>
                  <a:pt x="573623" y="815940"/>
                </a:lnTo>
                <a:lnTo>
                  <a:pt x="574986" y="810042"/>
                </a:lnTo>
                <a:lnTo>
                  <a:pt x="576575" y="804370"/>
                </a:lnTo>
                <a:lnTo>
                  <a:pt x="454445" y="733134"/>
                </a:lnTo>
                <a:lnTo>
                  <a:pt x="449904" y="736083"/>
                </a:lnTo>
                <a:lnTo>
                  <a:pt x="444910" y="738352"/>
                </a:lnTo>
                <a:lnTo>
                  <a:pt x="439689" y="740166"/>
                </a:lnTo>
                <a:lnTo>
                  <a:pt x="434468" y="741981"/>
                </a:lnTo>
                <a:lnTo>
                  <a:pt x="429020" y="743569"/>
                </a:lnTo>
                <a:lnTo>
                  <a:pt x="423571" y="744477"/>
                </a:lnTo>
                <a:lnTo>
                  <a:pt x="417669" y="745158"/>
                </a:lnTo>
                <a:lnTo>
                  <a:pt x="412221" y="745384"/>
                </a:lnTo>
                <a:lnTo>
                  <a:pt x="408589" y="745158"/>
                </a:lnTo>
                <a:lnTo>
                  <a:pt x="405411" y="744931"/>
                </a:lnTo>
                <a:lnTo>
                  <a:pt x="398828" y="744023"/>
                </a:lnTo>
                <a:lnTo>
                  <a:pt x="305755" y="898294"/>
                </a:lnTo>
                <a:lnTo>
                  <a:pt x="257175" y="869255"/>
                </a:lnTo>
                <a:lnTo>
                  <a:pt x="349113" y="716118"/>
                </a:lnTo>
                <a:lnTo>
                  <a:pt x="347070" y="713396"/>
                </a:lnTo>
                <a:lnTo>
                  <a:pt x="344573" y="710220"/>
                </a:lnTo>
                <a:lnTo>
                  <a:pt x="342757" y="707497"/>
                </a:lnTo>
                <a:lnTo>
                  <a:pt x="340714" y="704321"/>
                </a:lnTo>
                <a:lnTo>
                  <a:pt x="339125" y="701145"/>
                </a:lnTo>
                <a:lnTo>
                  <a:pt x="337536" y="697969"/>
                </a:lnTo>
                <a:lnTo>
                  <a:pt x="335720" y="694793"/>
                </a:lnTo>
                <a:lnTo>
                  <a:pt x="334358" y="691390"/>
                </a:lnTo>
                <a:lnTo>
                  <a:pt x="333223" y="687987"/>
                </a:lnTo>
                <a:lnTo>
                  <a:pt x="332087" y="684584"/>
                </a:lnTo>
                <a:lnTo>
                  <a:pt x="331179" y="680954"/>
                </a:lnTo>
                <a:lnTo>
                  <a:pt x="330498" y="677324"/>
                </a:lnTo>
                <a:lnTo>
                  <a:pt x="329590" y="673467"/>
                </a:lnTo>
                <a:lnTo>
                  <a:pt x="329136" y="670064"/>
                </a:lnTo>
                <a:lnTo>
                  <a:pt x="328909" y="665981"/>
                </a:lnTo>
                <a:lnTo>
                  <a:pt x="328909" y="662351"/>
                </a:lnTo>
                <a:lnTo>
                  <a:pt x="328909" y="658040"/>
                </a:lnTo>
                <a:lnTo>
                  <a:pt x="329363" y="653730"/>
                </a:lnTo>
                <a:lnTo>
                  <a:pt x="330044" y="649646"/>
                </a:lnTo>
                <a:lnTo>
                  <a:pt x="330725" y="645335"/>
                </a:lnTo>
                <a:lnTo>
                  <a:pt x="331633" y="641479"/>
                </a:lnTo>
                <a:lnTo>
                  <a:pt x="332768" y="637395"/>
                </a:lnTo>
                <a:lnTo>
                  <a:pt x="333904" y="633765"/>
                </a:lnTo>
                <a:lnTo>
                  <a:pt x="335493" y="629908"/>
                </a:lnTo>
                <a:lnTo>
                  <a:pt x="337082" y="626279"/>
                </a:lnTo>
                <a:lnTo>
                  <a:pt x="339125" y="622649"/>
                </a:lnTo>
                <a:lnTo>
                  <a:pt x="340941" y="619246"/>
                </a:lnTo>
                <a:lnTo>
                  <a:pt x="342984" y="615843"/>
                </a:lnTo>
                <a:lnTo>
                  <a:pt x="345481" y="612666"/>
                </a:lnTo>
                <a:lnTo>
                  <a:pt x="347978" y="609263"/>
                </a:lnTo>
                <a:lnTo>
                  <a:pt x="350475" y="606314"/>
                </a:lnTo>
                <a:lnTo>
                  <a:pt x="353426" y="603592"/>
                </a:lnTo>
                <a:lnTo>
                  <a:pt x="356150" y="600642"/>
                </a:lnTo>
                <a:lnTo>
                  <a:pt x="359101" y="598147"/>
                </a:lnTo>
                <a:lnTo>
                  <a:pt x="362279" y="595878"/>
                </a:lnTo>
                <a:lnTo>
                  <a:pt x="365458" y="593383"/>
                </a:lnTo>
                <a:lnTo>
                  <a:pt x="369090" y="591341"/>
                </a:lnTo>
                <a:lnTo>
                  <a:pt x="372495" y="589299"/>
                </a:lnTo>
                <a:lnTo>
                  <a:pt x="376127" y="587484"/>
                </a:lnTo>
                <a:lnTo>
                  <a:pt x="379759" y="585669"/>
                </a:lnTo>
                <a:lnTo>
                  <a:pt x="383618" y="584308"/>
                </a:lnTo>
                <a:lnTo>
                  <a:pt x="387250" y="582947"/>
                </a:lnTo>
                <a:lnTo>
                  <a:pt x="391336" y="581812"/>
                </a:lnTo>
                <a:lnTo>
                  <a:pt x="395196" y="580905"/>
                </a:lnTo>
                <a:lnTo>
                  <a:pt x="399509" y="580224"/>
                </a:lnTo>
                <a:lnTo>
                  <a:pt x="403368" y="579544"/>
                </a:lnTo>
                <a:lnTo>
                  <a:pt x="407681" y="579317"/>
                </a:lnTo>
                <a:lnTo>
                  <a:pt x="412221" y="579090"/>
                </a:lnTo>
                <a:lnTo>
                  <a:pt x="416307" y="579317"/>
                </a:lnTo>
                <a:lnTo>
                  <a:pt x="420620" y="579544"/>
                </a:lnTo>
                <a:lnTo>
                  <a:pt x="424707" y="580224"/>
                </a:lnTo>
                <a:lnTo>
                  <a:pt x="428793" y="580905"/>
                </a:lnTo>
                <a:lnTo>
                  <a:pt x="432652" y="581812"/>
                </a:lnTo>
                <a:lnTo>
                  <a:pt x="436738" y="582947"/>
                </a:lnTo>
                <a:lnTo>
                  <a:pt x="440597" y="584308"/>
                </a:lnTo>
                <a:lnTo>
                  <a:pt x="444456" y="585669"/>
                </a:lnTo>
                <a:lnTo>
                  <a:pt x="447861" y="587484"/>
                </a:lnTo>
                <a:lnTo>
                  <a:pt x="451720" y="589299"/>
                </a:lnTo>
                <a:lnTo>
                  <a:pt x="454899" y="591341"/>
                </a:lnTo>
                <a:lnTo>
                  <a:pt x="458531" y="593383"/>
                </a:lnTo>
                <a:lnTo>
                  <a:pt x="461709" y="595878"/>
                </a:lnTo>
                <a:lnTo>
                  <a:pt x="464887" y="598147"/>
                </a:lnTo>
                <a:lnTo>
                  <a:pt x="467838" y="600642"/>
                </a:lnTo>
                <a:lnTo>
                  <a:pt x="470562" y="603592"/>
                </a:lnTo>
                <a:lnTo>
                  <a:pt x="473513" y="606314"/>
                </a:lnTo>
                <a:lnTo>
                  <a:pt x="476010" y="609263"/>
                </a:lnTo>
                <a:lnTo>
                  <a:pt x="478734" y="612666"/>
                </a:lnTo>
                <a:lnTo>
                  <a:pt x="481004" y="615843"/>
                </a:lnTo>
                <a:lnTo>
                  <a:pt x="483047" y="619246"/>
                </a:lnTo>
                <a:lnTo>
                  <a:pt x="484864" y="622649"/>
                </a:lnTo>
                <a:lnTo>
                  <a:pt x="486907" y="626279"/>
                </a:lnTo>
                <a:lnTo>
                  <a:pt x="488496" y="629908"/>
                </a:lnTo>
                <a:lnTo>
                  <a:pt x="490085" y="633765"/>
                </a:lnTo>
                <a:lnTo>
                  <a:pt x="491220" y="637395"/>
                </a:lnTo>
                <a:lnTo>
                  <a:pt x="492355" y="641479"/>
                </a:lnTo>
                <a:lnTo>
                  <a:pt x="493490" y="645335"/>
                </a:lnTo>
                <a:lnTo>
                  <a:pt x="494171" y="649646"/>
                </a:lnTo>
                <a:lnTo>
                  <a:pt x="494625" y="653730"/>
                </a:lnTo>
                <a:lnTo>
                  <a:pt x="495079" y="658040"/>
                </a:lnTo>
                <a:lnTo>
                  <a:pt x="495079" y="662351"/>
                </a:lnTo>
                <a:lnTo>
                  <a:pt x="495079" y="665527"/>
                </a:lnTo>
                <a:lnTo>
                  <a:pt x="494852" y="669157"/>
                </a:lnTo>
                <a:lnTo>
                  <a:pt x="494398" y="672333"/>
                </a:lnTo>
                <a:lnTo>
                  <a:pt x="493944" y="675509"/>
                </a:lnTo>
                <a:lnTo>
                  <a:pt x="492355" y="682088"/>
                </a:lnTo>
                <a:lnTo>
                  <a:pt x="490539" y="688214"/>
                </a:lnTo>
                <a:lnTo>
                  <a:pt x="610853" y="758543"/>
                </a:lnTo>
                <a:lnTo>
                  <a:pt x="616528" y="755140"/>
                </a:lnTo>
                <a:lnTo>
                  <a:pt x="622430" y="752417"/>
                </a:lnTo>
                <a:lnTo>
                  <a:pt x="628559" y="749922"/>
                </a:lnTo>
                <a:lnTo>
                  <a:pt x="634915" y="748107"/>
                </a:lnTo>
                <a:lnTo>
                  <a:pt x="690305" y="547101"/>
                </a:lnTo>
                <a:lnTo>
                  <a:pt x="686673" y="544152"/>
                </a:lnTo>
                <a:lnTo>
                  <a:pt x="682814" y="540976"/>
                </a:lnTo>
                <a:lnTo>
                  <a:pt x="679409" y="537800"/>
                </a:lnTo>
                <a:lnTo>
                  <a:pt x="676004" y="533943"/>
                </a:lnTo>
                <a:lnTo>
                  <a:pt x="673053" y="530540"/>
                </a:lnTo>
                <a:lnTo>
                  <a:pt x="670102" y="526456"/>
                </a:lnTo>
                <a:lnTo>
                  <a:pt x="667605" y="522373"/>
                </a:lnTo>
                <a:lnTo>
                  <a:pt x="665107" y="518062"/>
                </a:lnTo>
                <a:lnTo>
                  <a:pt x="662837" y="513979"/>
                </a:lnTo>
                <a:lnTo>
                  <a:pt x="661021" y="509214"/>
                </a:lnTo>
                <a:lnTo>
                  <a:pt x="659432" y="504450"/>
                </a:lnTo>
                <a:lnTo>
                  <a:pt x="658070" y="499913"/>
                </a:lnTo>
                <a:lnTo>
                  <a:pt x="657162" y="494922"/>
                </a:lnTo>
                <a:lnTo>
                  <a:pt x="656027" y="489931"/>
                </a:lnTo>
                <a:lnTo>
                  <a:pt x="655573" y="484940"/>
                </a:lnTo>
                <a:lnTo>
                  <a:pt x="655573" y="479722"/>
                </a:lnTo>
                <a:lnTo>
                  <a:pt x="655573" y="475411"/>
                </a:lnTo>
                <a:lnTo>
                  <a:pt x="655800" y="471327"/>
                </a:lnTo>
                <a:lnTo>
                  <a:pt x="656708" y="467017"/>
                </a:lnTo>
                <a:lnTo>
                  <a:pt x="657389" y="463160"/>
                </a:lnTo>
                <a:lnTo>
                  <a:pt x="658297" y="458850"/>
                </a:lnTo>
                <a:lnTo>
                  <a:pt x="659432" y="455220"/>
                </a:lnTo>
                <a:lnTo>
                  <a:pt x="660567" y="451136"/>
                </a:lnTo>
                <a:lnTo>
                  <a:pt x="661929" y="447506"/>
                </a:lnTo>
                <a:lnTo>
                  <a:pt x="663745" y="443649"/>
                </a:lnTo>
                <a:lnTo>
                  <a:pt x="665561" y="440246"/>
                </a:lnTo>
                <a:lnTo>
                  <a:pt x="667605" y="436617"/>
                </a:lnTo>
                <a:lnTo>
                  <a:pt x="669648" y="433440"/>
                </a:lnTo>
                <a:lnTo>
                  <a:pt x="672145" y="430037"/>
                </a:lnTo>
                <a:lnTo>
                  <a:pt x="674642" y="426861"/>
                </a:lnTo>
                <a:lnTo>
                  <a:pt x="677139" y="423912"/>
                </a:lnTo>
                <a:lnTo>
                  <a:pt x="679863" y="420963"/>
                </a:lnTo>
                <a:lnTo>
                  <a:pt x="682814" y="418240"/>
                </a:lnTo>
                <a:lnTo>
                  <a:pt x="685765" y="415518"/>
                </a:lnTo>
                <a:lnTo>
                  <a:pt x="688943" y="413249"/>
                </a:lnTo>
                <a:lnTo>
                  <a:pt x="692121" y="410980"/>
                </a:lnTo>
                <a:lnTo>
                  <a:pt x="695526" y="408712"/>
                </a:lnTo>
                <a:lnTo>
                  <a:pt x="698932" y="406670"/>
                </a:lnTo>
                <a:lnTo>
                  <a:pt x="702791" y="404855"/>
                </a:lnTo>
                <a:lnTo>
                  <a:pt x="706196" y="403267"/>
                </a:lnTo>
                <a:lnTo>
                  <a:pt x="710055" y="401679"/>
                </a:lnTo>
                <a:lnTo>
                  <a:pt x="713914" y="400318"/>
                </a:lnTo>
                <a:lnTo>
                  <a:pt x="718000" y="399410"/>
                </a:lnTo>
                <a:lnTo>
                  <a:pt x="721859" y="398503"/>
                </a:lnTo>
                <a:lnTo>
                  <a:pt x="725945" y="397595"/>
                </a:lnTo>
                <a:lnTo>
                  <a:pt x="730032" y="397141"/>
                </a:lnTo>
                <a:lnTo>
                  <a:pt x="734345" y="396915"/>
                </a:lnTo>
                <a:lnTo>
                  <a:pt x="738658" y="396688"/>
                </a:lnTo>
                <a:lnTo>
                  <a:pt x="744106" y="396915"/>
                </a:lnTo>
                <a:lnTo>
                  <a:pt x="749554" y="397595"/>
                </a:lnTo>
                <a:lnTo>
                  <a:pt x="754775" y="398276"/>
                </a:lnTo>
                <a:lnTo>
                  <a:pt x="759770" y="399637"/>
                </a:lnTo>
                <a:lnTo>
                  <a:pt x="764764" y="400998"/>
                </a:lnTo>
                <a:lnTo>
                  <a:pt x="769758" y="403040"/>
                </a:lnTo>
                <a:lnTo>
                  <a:pt x="774298" y="405082"/>
                </a:lnTo>
                <a:lnTo>
                  <a:pt x="778838" y="407577"/>
                </a:lnTo>
                <a:lnTo>
                  <a:pt x="916859" y="288925"/>
                </a:lnTo>
                <a:close/>
                <a:moveTo>
                  <a:pt x="607752" y="120128"/>
                </a:moveTo>
                <a:lnTo>
                  <a:pt x="595738" y="120581"/>
                </a:lnTo>
                <a:lnTo>
                  <a:pt x="583950" y="121488"/>
                </a:lnTo>
                <a:lnTo>
                  <a:pt x="571936" y="122621"/>
                </a:lnTo>
                <a:lnTo>
                  <a:pt x="559921" y="123755"/>
                </a:lnTo>
                <a:lnTo>
                  <a:pt x="548133" y="125341"/>
                </a:lnTo>
                <a:lnTo>
                  <a:pt x="536119" y="127154"/>
                </a:lnTo>
                <a:lnTo>
                  <a:pt x="524331" y="129421"/>
                </a:lnTo>
                <a:lnTo>
                  <a:pt x="512543" y="131688"/>
                </a:lnTo>
                <a:lnTo>
                  <a:pt x="500755" y="134407"/>
                </a:lnTo>
                <a:lnTo>
                  <a:pt x="489194" y="137581"/>
                </a:lnTo>
                <a:lnTo>
                  <a:pt x="477406" y="140754"/>
                </a:lnTo>
                <a:lnTo>
                  <a:pt x="466072" y="144380"/>
                </a:lnTo>
                <a:lnTo>
                  <a:pt x="454511" y="148234"/>
                </a:lnTo>
                <a:lnTo>
                  <a:pt x="443176" y="152313"/>
                </a:lnTo>
                <a:lnTo>
                  <a:pt x="431615" y="156620"/>
                </a:lnTo>
                <a:lnTo>
                  <a:pt x="420508" y="161380"/>
                </a:lnTo>
                <a:lnTo>
                  <a:pt x="409400" y="166593"/>
                </a:lnTo>
                <a:lnTo>
                  <a:pt x="398519" y="171579"/>
                </a:lnTo>
                <a:lnTo>
                  <a:pt x="387411" y="177246"/>
                </a:lnTo>
                <a:lnTo>
                  <a:pt x="376530" y="183139"/>
                </a:lnTo>
                <a:lnTo>
                  <a:pt x="365876" y="189485"/>
                </a:lnTo>
                <a:lnTo>
                  <a:pt x="355221" y="195831"/>
                </a:lnTo>
                <a:lnTo>
                  <a:pt x="344794" y="202631"/>
                </a:lnTo>
                <a:lnTo>
                  <a:pt x="334593" y="209431"/>
                </a:lnTo>
                <a:lnTo>
                  <a:pt x="324392" y="216684"/>
                </a:lnTo>
                <a:lnTo>
                  <a:pt x="314191" y="224163"/>
                </a:lnTo>
                <a:lnTo>
                  <a:pt x="304443" y="232323"/>
                </a:lnTo>
                <a:lnTo>
                  <a:pt x="294695" y="240483"/>
                </a:lnTo>
                <a:lnTo>
                  <a:pt x="284948" y="248869"/>
                </a:lnTo>
                <a:lnTo>
                  <a:pt x="275654" y="257482"/>
                </a:lnTo>
                <a:lnTo>
                  <a:pt x="266359" y="266548"/>
                </a:lnTo>
                <a:lnTo>
                  <a:pt x="257518" y="275614"/>
                </a:lnTo>
                <a:lnTo>
                  <a:pt x="248678" y="285134"/>
                </a:lnTo>
                <a:lnTo>
                  <a:pt x="240290" y="294654"/>
                </a:lnTo>
                <a:lnTo>
                  <a:pt x="232129" y="304400"/>
                </a:lnTo>
                <a:lnTo>
                  <a:pt x="224195" y="314373"/>
                </a:lnTo>
                <a:lnTo>
                  <a:pt x="216714" y="324346"/>
                </a:lnTo>
                <a:lnTo>
                  <a:pt x="209460" y="334545"/>
                </a:lnTo>
                <a:lnTo>
                  <a:pt x="202433" y="344971"/>
                </a:lnTo>
                <a:lnTo>
                  <a:pt x="195632" y="355397"/>
                </a:lnTo>
                <a:lnTo>
                  <a:pt x="189058" y="366050"/>
                </a:lnTo>
                <a:lnTo>
                  <a:pt x="183164" y="376703"/>
                </a:lnTo>
                <a:lnTo>
                  <a:pt x="177271" y="387583"/>
                </a:lnTo>
                <a:lnTo>
                  <a:pt x="171603" y="398462"/>
                </a:lnTo>
                <a:lnTo>
                  <a:pt x="166390" y="409342"/>
                </a:lnTo>
                <a:lnTo>
                  <a:pt x="161402" y="420448"/>
                </a:lnTo>
                <a:lnTo>
                  <a:pt x="156642" y="431554"/>
                </a:lnTo>
                <a:lnTo>
                  <a:pt x="152108" y="443114"/>
                </a:lnTo>
                <a:lnTo>
                  <a:pt x="148028" y="454673"/>
                </a:lnTo>
                <a:lnTo>
                  <a:pt x="144174" y="466006"/>
                </a:lnTo>
                <a:lnTo>
                  <a:pt x="140774" y="477565"/>
                </a:lnTo>
                <a:lnTo>
                  <a:pt x="137373" y="489125"/>
                </a:lnTo>
                <a:lnTo>
                  <a:pt x="134426" y="500911"/>
                </a:lnTo>
                <a:lnTo>
                  <a:pt x="131706" y="512470"/>
                </a:lnTo>
                <a:lnTo>
                  <a:pt x="129213" y="524256"/>
                </a:lnTo>
                <a:lnTo>
                  <a:pt x="127172" y="536269"/>
                </a:lnTo>
                <a:lnTo>
                  <a:pt x="125359" y="548055"/>
                </a:lnTo>
                <a:lnTo>
                  <a:pt x="123772" y="560068"/>
                </a:lnTo>
                <a:lnTo>
                  <a:pt x="122185" y="571854"/>
                </a:lnTo>
                <a:lnTo>
                  <a:pt x="121278" y="583867"/>
                </a:lnTo>
                <a:lnTo>
                  <a:pt x="120598" y="595880"/>
                </a:lnTo>
                <a:lnTo>
                  <a:pt x="120145" y="607666"/>
                </a:lnTo>
                <a:lnTo>
                  <a:pt x="120145" y="619905"/>
                </a:lnTo>
                <a:lnTo>
                  <a:pt x="120145" y="631918"/>
                </a:lnTo>
                <a:lnTo>
                  <a:pt x="120598" y="643704"/>
                </a:lnTo>
                <a:lnTo>
                  <a:pt x="121278" y="655717"/>
                </a:lnTo>
                <a:lnTo>
                  <a:pt x="122185" y="667503"/>
                </a:lnTo>
                <a:lnTo>
                  <a:pt x="123772" y="679516"/>
                </a:lnTo>
                <a:lnTo>
                  <a:pt x="125359" y="691529"/>
                </a:lnTo>
                <a:lnTo>
                  <a:pt x="127172" y="703315"/>
                </a:lnTo>
                <a:lnTo>
                  <a:pt x="129213" y="715328"/>
                </a:lnTo>
                <a:lnTo>
                  <a:pt x="131706" y="726887"/>
                </a:lnTo>
                <a:lnTo>
                  <a:pt x="134426" y="738673"/>
                </a:lnTo>
                <a:lnTo>
                  <a:pt x="137373" y="750460"/>
                </a:lnTo>
                <a:lnTo>
                  <a:pt x="140774" y="762019"/>
                </a:lnTo>
                <a:lnTo>
                  <a:pt x="144174" y="773579"/>
                </a:lnTo>
                <a:lnTo>
                  <a:pt x="148028" y="784911"/>
                </a:lnTo>
                <a:lnTo>
                  <a:pt x="152108" y="796471"/>
                </a:lnTo>
                <a:lnTo>
                  <a:pt x="156642" y="807804"/>
                </a:lnTo>
                <a:lnTo>
                  <a:pt x="161402" y="819136"/>
                </a:lnTo>
                <a:lnTo>
                  <a:pt x="166390" y="830016"/>
                </a:lnTo>
                <a:lnTo>
                  <a:pt x="171603" y="841122"/>
                </a:lnTo>
                <a:lnTo>
                  <a:pt x="177271" y="852002"/>
                </a:lnTo>
                <a:lnTo>
                  <a:pt x="183164" y="862881"/>
                </a:lnTo>
                <a:lnTo>
                  <a:pt x="189058" y="873534"/>
                </a:lnTo>
                <a:lnTo>
                  <a:pt x="195632" y="884187"/>
                </a:lnTo>
                <a:lnTo>
                  <a:pt x="202433" y="894613"/>
                </a:lnTo>
                <a:lnTo>
                  <a:pt x="209460" y="904813"/>
                </a:lnTo>
                <a:lnTo>
                  <a:pt x="216714" y="915239"/>
                </a:lnTo>
                <a:lnTo>
                  <a:pt x="224195" y="925212"/>
                </a:lnTo>
                <a:lnTo>
                  <a:pt x="232129" y="934958"/>
                </a:lnTo>
                <a:lnTo>
                  <a:pt x="240290" y="944931"/>
                </a:lnTo>
                <a:lnTo>
                  <a:pt x="248678" y="954450"/>
                </a:lnTo>
                <a:lnTo>
                  <a:pt x="257518" y="963743"/>
                </a:lnTo>
                <a:lnTo>
                  <a:pt x="266359" y="973036"/>
                </a:lnTo>
                <a:lnTo>
                  <a:pt x="275654" y="982102"/>
                </a:lnTo>
                <a:lnTo>
                  <a:pt x="284948" y="990715"/>
                </a:lnTo>
                <a:lnTo>
                  <a:pt x="294695" y="999102"/>
                </a:lnTo>
                <a:lnTo>
                  <a:pt x="304443" y="1007261"/>
                </a:lnTo>
                <a:lnTo>
                  <a:pt x="314191" y="1015194"/>
                </a:lnTo>
                <a:lnTo>
                  <a:pt x="324392" y="1022674"/>
                </a:lnTo>
                <a:lnTo>
                  <a:pt x="334593" y="1029927"/>
                </a:lnTo>
                <a:lnTo>
                  <a:pt x="344794" y="1036953"/>
                </a:lnTo>
                <a:lnTo>
                  <a:pt x="355221" y="1043753"/>
                </a:lnTo>
                <a:lnTo>
                  <a:pt x="365876" y="1050099"/>
                </a:lnTo>
                <a:lnTo>
                  <a:pt x="376530" y="1056446"/>
                </a:lnTo>
                <a:lnTo>
                  <a:pt x="387411" y="1062339"/>
                </a:lnTo>
                <a:lnTo>
                  <a:pt x="398292" y="1067779"/>
                </a:lnTo>
                <a:lnTo>
                  <a:pt x="409400" y="1072992"/>
                </a:lnTo>
                <a:lnTo>
                  <a:pt x="420508" y="1078205"/>
                </a:lnTo>
                <a:lnTo>
                  <a:pt x="431615" y="1082738"/>
                </a:lnTo>
                <a:lnTo>
                  <a:pt x="443176" y="1087271"/>
                </a:lnTo>
                <a:lnTo>
                  <a:pt x="454511" y="1091351"/>
                </a:lnTo>
                <a:lnTo>
                  <a:pt x="466072" y="1095204"/>
                </a:lnTo>
                <a:lnTo>
                  <a:pt x="477406" y="1098830"/>
                </a:lnTo>
                <a:lnTo>
                  <a:pt x="489194" y="1102004"/>
                </a:lnTo>
                <a:lnTo>
                  <a:pt x="500755" y="1104950"/>
                </a:lnTo>
                <a:lnTo>
                  <a:pt x="512543" y="1107897"/>
                </a:lnTo>
                <a:lnTo>
                  <a:pt x="524331" y="1110163"/>
                </a:lnTo>
                <a:lnTo>
                  <a:pt x="536119" y="1112203"/>
                </a:lnTo>
                <a:lnTo>
                  <a:pt x="548133" y="1114243"/>
                </a:lnTo>
                <a:lnTo>
                  <a:pt x="559921" y="1115830"/>
                </a:lnTo>
                <a:lnTo>
                  <a:pt x="571936" y="1116963"/>
                </a:lnTo>
                <a:lnTo>
                  <a:pt x="583950" y="1118096"/>
                </a:lnTo>
                <a:lnTo>
                  <a:pt x="595738" y="1118776"/>
                </a:lnTo>
                <a:lnTo>
                  <a:pt x="607752" y="1119230"/>
                </a:lnTo>
                <a:lnTo>
                  <a:pt x="619540" y="1119230"/>
                </a:lnTo>
                <a:lnTo>
                  <a:pt x="631782" y="1119230"/>
                </a:lnTo>
                <a:lnTo>
                  <a:pt x="643796" y="1118776"/>
                </a:lnTo>
                <a:lnTo>
                  <a:pt x="655584" y="1118096"/>
                </a:lnTo>
                <a:lnTo>
                  <a:pt x="667598" y="1116963"/>
                </a:lnTo>
                <a:lnTo>
                  <a:pt x="679613" y="1115830"/>
                </a:lnTo>
                <a:lnTo>
                  <a:pt x="691401" y="1114243"/>
                </a:lnTo>
                <a:lnTo>
                  <a:pt x="703415" y="1112203"/>
                </a:lnTo>
                <a:lnTo>
                  <a:pt x="715203" y="1110163"/>
                </a:lnTo>
                <a:lnTo>
                  <a:pt x="726991" y="1107897"/>
                </a:lnTo>
                <a:lnTo>
                  <a:pt x="738779" y="1104950"/>
                </a:lnTo>
                <a:lnTo>
                  <a:pt x="750340" y="1102004"/>
                </a:lnTo>
                <a:lnTo>
                  <a:pt x="762128" y="1098830"/>
                </a:lnTo>
                <a:lnTo>
                  <a:pt x="773462" y="1095204"/>
                </a:lnTo>
                <a:lnTo>
                  <a:pt x="785023" y="1091351"/>
                </a:lnTo>
                <a:lnTo>
                  <a:pt x="796358" y="1087271"/>
                </a:lnTo>
                <a:lnTo>
                  <a:pt x="807692" y="1082738"/>
                </a:lnTo>
                <a:lnTo>
                  <a:pt x="819026" y="1078205"/>
                </a:lnTo>
                <a:lnTo>
                  <a:pt x="830134" y="1072992"/>
                </a:lnTo>
                <a:lnTo>
                  <a:pt x="841015" y="1067779"/>
                </a:lnTo>
                <a:lnTo>
                  <a:pt x="852123" y="1062339"/>
                </a:lnTo>
                <a:lnTo>
                  <a:pt x="862777" y="1056446"/>
                </a:lnTo>
                <a:lnTo>
                  <a:pt x="873658" y="1050099"/>
                </a:lnTo>
                <a:lnTo>
                  <a:pt x="884086" y="1043753"/>
                </a:lnTo>
                <a:lnTo>
                  <a:pt x="894740" y="1036953"/>
                </a:lnTo>
                <a:lnTo>
                  <a:pt x="904941" y="1029927"/>
                </a:lnTo>
                <a:lnTo>
                  <a:pt x="915142" y="1022674"/>
                </a:lnTo>
                <a:lnTo>
                  <a:pt x="925343" y="1015194"/>
                </a:lnTo>
                <a:lnTo>
                  <a:pt x="935091" y="1007261"/>
                </a:lnTo>
                <a:lnTo>
                  <a:pt x="944839" y="999102"/>
                </a:lnTo>
                <a:lnTo>
                  <a:pt x="954586" y="990715"/>
                </a:lnTo>
                <a:lnTo>
                  <a:pt x="963880" y="982102"/>
                </a:lnTo>
                <a:lnTo>
                  <a:pt x="972948" y="973036"/>
                </a:lnTo>
                <a:lnTo>
                  <a:pt x="982016" y="963743"/>
                </a:lnTo>
                <a:lnTo>
                  <a:pt x="990856" y="954450"/>
                </a:lnTo>
                <a:lnTo>
                  <a:pt x="999244" y="944931"/>
                </a:lnTo>
                <a:lnTo>
                  <a:pt x="1007405" y="934958"/>
                </a:lnTo>
                <a:lnTo>
                  <a:pt x="1015339" y="925212"/>
                </a:lnTo>
                <a:lnTo>
                  <a:pt x="1022820" y="915239"/>
                </a:lnTo>
                <a:lnTo>
                  <a:pt x="1030074" y="904813"/>
                </a:lnTo>
                <a:lnTo>
                  <a:pt x="1037101" y="894613"/>
                </a:lnTo>
                <a:lnTo>
                  <a:pt x="1043902" y="884187"/>
                </a:lnTo>
                <a:lnTo>
                  <a:pt x="1050249" y="873534"/>
                </a:lnTo>
                <a:lnTo>
                  <a:pt x="1056370" y="862881"/>
                </a:lnTo>
                <a:lnTo>
                  <a:pt x="1062263" y="852002"/>
                </a:lnTo>
                <a:lnTo>
                  <a:pt x="1067931" y="841122"/>
                </a:lnTo>
                <a:lnTo>
                  <a:pt x="1073144" y="830016"/>
                </a:lnTo>
                <a:lnTo>
                  <a:pt x="1078132" y="819136"/>
                </a:lnTo>
                <a:lnTo>
                  <a:pt x="1082892" y="807804"/>
                </a:lnTo>
                <a:lnTo>
                  <a:pt x="1087426" y="796471"/>
                </a:lnTo>
                <a:lnTo>
                  <a:pt x="1091280" y="784911"/>
                </a:lnTo>
                <a:lnTo>
                  <a:pt x="1095360" y="773579"/>
                </a:lnTo>
                <a:lnTo>
                  <a:pt x="1098760" y="762019"/>
                </a:lnTo>
                <a:lnTo>
                  <a:pt x="1102161" y="750460"/>
                </a:lnTo>
                <a:lnTo>
                  <a:pt x="1105108" y="738673"/>
                </a:lnTo>
                <a:lnTo>
                  <a:pt x="1107828" y="726887"/>
                </a:lnTo>
                <a:lnTo>
                  <a:pt x="1110321" y="715328"/>
                </a:lnTo>
                <a:lnTo>
                  <a:pt x="1112362" y="703315"/>
                </a:lnTo>
                <a:lnTo>
                  <a:pt x="1114175" y="691529"/>
                </a:lnTo>
                <a:lnTo>
                  <a:pt x="1115762" y="679516"/>
                </a:lnTo>
                <a:lnTo>
                  <a:pt x="1117122" y="667503"/>
                </a:lnTo>
                <a:lnTo>
                  <a:pt x="1118256" y="655717"/>
                </a:lnTo>
                <a:lnTo>
                  <a:pt x="1118936" y="643704"/>
                </a:lnTo>
                <a:lnTo>
                  <a:pt x="1119389" y="631918"/>
                </a:lnTo>
                <a:lnTo>
                  <a:pt x="1119389" y="619905"/>
                </a:lnTo>
                <a:lnTo>
                  <a:pt x="1119389" y="607666"/>
                </a:lnTo>
                <a:lnTo>
                  <a:pt x="1118936" y="595880"/>
                </a:lnTo>
                <a:lnTo>
                  <a:pt x="1118256" y="583867"/>
                </a:lnTo>
                <a:lnTo>
                  <a:pt x="1117122" y="571854"/>
                </a:lnTo>
                <a:lnTo>
                  <a:pt x="1115762" y="560068"/>
                </a:lnTo>
                <a:lnTo>
                  <a:pt x="1114175" y="548055"/>
                </a:lnTo>
                <a:lnTo>
                  <a:pt x="1112362" y="536269"/>
                </a:lnTo>
                <a:lnTo>
                  <a:pt x="1110321" y="524256"/>
                </a:lnTo>
                <a:lnTo>
                  <a:pt x="1107828" y="512470"/>
                </a:lnTo>
                <a:lnTo>
                  <a:pt x="1105108" y="500911"/>
                </a:lnTo>
                <a:lnTo>
                  <a:pt x="1102161" y="489125"/>
                </a:lnTo>
                <a:lnTo>
                  <a:pt x="1098760" y="477565"/>
                </a:lnTo>
                <a:lnTo>
                  <a:pt x="1095360" y="466006"/>
                </a:lnTo>
                <a:lnTo>
                  <a:pt x="1091280" y="454673"/>
                </a:lnTo>
                <a:lnTo>
                  <a:pt x="1087426" y="443114"/>
                </a:lnTo>
                <a:lnTo>
                  <a:pt x="1082892" y="431554"/>
                </a:lnTo>
                <a:lnTo>
                  <a:pt x="1078132" y="420448"/>
                </a:lnTo>
                <a:lnTo>
                  <a:pt x="1073144" y="409342"/>
                </a:lnTo>
                <a:lnTo>
                  <a:pt x="1067931" y="398462"/>
                </a:lnTo>
                <a:lnTo>
                  <a:pt x="1062263" y="387583"/>
                </a:lnTo>
                <a:lnTo>
                  <a:pt x="1056370" y="376703"/>
                </a:lnTo>
                <a:lnTo>
                  <a:pt x="1050249" y="366050"/>
                </a:lnTo>
                <a:lnTo>
                  <a:pt x="1043902" y="355397"/>
                </a:lnTo>
                <a:lnTo>
                  <a:pt x="1037101" y="344971"/>
                </a:lnTo>
                <a:lnTo>
                  <a:pt x="1030074" y="334545"/>
                </a:lnTo>
                <a:lnTo>
                  <a:pt x="1022820" y="324346"/>
                </a:lnTo>
                <a:lnTo>
                  <a:pt x="1015339" y="314373"/>
                </a:lnTo>
                <a:lnTo>
                  <a:pt x="1007405" y="304400"/>
                </a:lnTo>
                <a:lnTo>
                  <a:pt x="999244" y="294654"/>
                </a:lnTo>
                <a:lnTo>
                  <a:pt x="990856" y="285134"/>
                </a:lnTo>
                <a:lnTo>
                  <a:pt x="982016" y="275614"/>
                </a:lnTo>
                <a:lnTo>
                  <a:pt x="972948" y="266548"/>
                </a:lnTo>
                <a:lnTo>
                  <a:pt x="963880" y="257482"/>
                </a:lnTo>
                <a:lnTo>
                  <a:pt x="954586" y="248869"/>
                </a:lnTo>
                <a:lnTo>
                  <a:pt x="944839" y="240483"/>
                </a:lnTo>
                <a:lnTo>
                  <a:pt x="935091" y="232323"/>
                </a:lnTo>
                <a:lnTo>
                  <a:pt x="925343" y="224163"/>
                </a:lnTo>
                <a:lnTo>
                  <a:pt x="915142" y="216684"/>
                </a:lnTo>
                <a:lnTo>
                  <a:pt x="904941" y="209431"/>
                </a:lnTo>
                <a:lnTo>
                  <a:pt x="894740" y="202631"/>
                </a:lnTo>
                <a:lnTo>
                  <a:pt x="884086" y="195831"/>
                </a:lnTo>
                <a:lnTo>
                  <a:pt x="873658" y="189485"/>
                </a:lnTo>
                <a:lnTo>
                  <a:pt x="862777" y="183139"/>
                </a:lnTo>
                <a:lnTo>
                  <a:pt x="852123" y="177246"/>
                </a:lnTo>
                <a:lnTo>
                  <a:pt x="841015" y="171579"/>
                </a:lnTo>
                <a:lnTo>
                  <a:pt x="830134" y="166593"/>
                </a:lnTo>
                <a:lnTo>
                  <a:pt x="819026" y="161380"/>
                </a:lnTo>
                <a:lnTo>
                  <a:pt x="807692" y="156620"/>
                </a:lnTo>
                <a:lnTo>
                  <a:pt x="796358" y="152313"/>
                </a:lnTo>
                <a:lnTo>
                  <a:pt x="785023" y="148234"/>
                </a:lnTo>
                <a:lnTo>
                  <a:pt x="773462" y="144380"/>
                </a:lnTo>
                <a:lnTo>
                  <a:pt x="762128" y="140754"/>
                </a:lnTo>
                <a:lnTo>
                  <a:pt x="750340" y="137581"/>
                </a:lnTo>
                <a:lnTo>
                  <a:pt x="738779" y="134407"/>
                </a:lnTo>
                <a:lnTo>
                  <a:pt x="726991" y="131688"/>
                </a:lnTo>
                <a:lnTo>
                  <a:pt x="715203" y="129421"/>
                </a:lnTo>
                <a:lnTo>
                  <a:pt x="703415" y="127154"/>
                </a:lnTo>
                <a:lnTo>
                  <a:pt x="691401" y="125341"/>
                </a:lnTo>
                <a:lnTo>
                  <a:pt x="679613" y="123755"/>
                </a:lnTo>
                <a:lnTo>
                  <a:pt x="667598" y="122621"/>
                </a:lnTo>
                <a:lnTo>
                  <a:pt x="655584" y="121488"/>
                </a:lnTo>
                <a:lnTo>
                  <a:pt x="643796" y="120581"/>
                </a:lnTo>
                <a:lnTo>
                  <a:pt x="631782" y="120128"/>
                </a:lnTo>
                <a:lnTo>
                  <a:pt x="619540" y="120128"/>
                </a:lnTo>
                <a:lnTo>
                  <a:pt x="607752" y="120128"/>
                </a:lnTo>
                <a:close/>
                <a:moveTo>
                  <a:pt x="619540" y="0"/>
                </a:moveTo>
                <a:lnTo>
                  <a:pt x="634502" y="227"/>
                </a:lnTo>
                <a:lnTo>
                  <a:pt x="649690" y="907"/>
                </a:lnTo>
                <a:lnTo>
                  <a:pt x="664198" y="1587"/>
                </a:lnTo>
                <a:lnTo>
                  <a:pt x="678933" y="3173"/>
                </a:lnTo>
                <a:lnTo>
                  <a:pt x="694121" y="4533"/>
                </a:lnTo>
                <a:lnTo>
                  <a:pt x="708629" y="6573"/>
                </a:lnTo>
                <a:lnTo>
                  <a:pt x="723364" y="8840"/>
                </a:lnTo>
                <a:lnTo>
                  <a:pt x="738098" y="11560"/>
                </a:lnTo>
                <a:lnTo>
                  <a:pt x="752607" y="14506"/>
                </a:lnTo>
                <a:lnTo>
                  <a:pt x="767115" y="17906"/>
                </a:lnTo>
                <a:lnTo>
                  <a:pt x="781623" y="21533"/>
                </a:lnTo>
                <a:lnTo>
                  <a:pt x="796131" y="25839"/>
                </a:lnTo>
                <a:lnTo>
                  <a:pt x="810412" y="30146"/>
                </a:lnTo>
                <a:lnTo>
                  <a:pt x="824694" y="34905"/>
                </a:lnTo>
                <a:lnTo>
                  <a:pt x="838975" y="40118"/>
                </a:lnTo>
                <a:lnTo>
                  <a:pt x="853030" y="45558"/>
                </a:lnTo>
                <a:lnTo>
                  <a:pt x="866858" y="51451"/>
                </a:lnTo>
                <a:lnTo>
                  <a:pt x="880686" y="57571"/>
                </a:lnTo>
                <a:lnTo>
                  <a:pt x="894514" y="64144"/>
                </a:lnTo>
                <a:lnTo>
                  <a:pt x="907888" y="71170"/>
                </a:lnTo>
                <a:lnTo>
                  <a:pt x="921263" y="78423"/>
                </a:lnTo>
                <a:lnTo>
                  <a:pt x="934638" y="85903"/>
                </a:lnTo>
                <a:lnTo>
                  <a:pt x="947786" y="93836"/>
                </a:lnTo>
                <a:lnTo>
                  <a:pt x="960934" y="102222"/>
                </a:lnTo>
                <a:lnTo>
                  <a:pt x="973401" y="110835"/>
                </a:lnTo>
                <a:lnTo>
                  <a:pt x="986096" y="119901"/>
                </a:lnTo>
                <a:lnTo>
                  <a:pt x="998791" y="129421"/>
                </a:lnTo>
                <a:lnTo>
                  <a:pt x="1010805" y="139167"/>
                </a:lnTo>
                <a:lnTo>
                  <a:pt x="1023046" y="149140"/>
                </a:lnTo>
                <a:lnTo>
                  <a:pt x="1034607" y="159793"/>
                </a:lnTo>
                <a:lnTo>
                  <a:pt x="1046395" y="170446"/>
                </a:lnTo>
                <a:lnTo>
                  <a:pt x="1057956" y="181779"/>
                </a:lnTo>
                <a:lnTo>
                  <a:pt x="1067251" y="191072"/>
                </a:lnTo>
                <a:lnTo>
                  <a:pt x="1076318" y="200591"/>
                </a:lnTo>
                <a:lnTo>
                  <a:pt x="1084932" y="210564"/>
                </a:lnTo>
                <a:lnTo>
                  <a:pt x="1093546" y="220310"/>
                </a:lnTo>
                <a:lnTo>
                  <a:pt x="1101934" y="230283"/>
                </a:lnTo>
                <a:lnTo>
                  <a:pt x="1110095" y="240709"/>
                </a:lnTo>
                <a:lnTo>
                  <a:pt x="1117802" y="250909"/>
                </a:lnTo>
                <a:lnTo>
                  <a:pt x="1125510" y="261108"/>
                </a:lnTo>
                <a:lnTo>
                  <a:pt x="1132764" y="271988"/>
                </a:lnTo>
                <a:lnTo>
                  <a:pt x="1139791" y="282414"/>
                </a:lnTo>
                <a:lnTo>
                  <a:pt x="1146592" y="293294"/>
                </a:lnTo>
                <a:lnTo>
                  <a:pt x="1153166" y="304173"/>
                </a:lnTo>
                <a:lnTo>
                  <a:pt x="1159513" y="315279"/>
                </a:lnTo>
                <a:lnTo>
                  <a:pt x="1165634" y="326159"/>
                </a:lnTo>
                <a:lnTo>
                  <a:pt x="1171527" y="337492"/>
                </a:lnTo>
                <a:lnTo>
                  <a:pt x="1177195" y="348598"/>
                </a:lnTo>
                <a:lnTo>
                  <a:pt x="1182408" y="360157"/>
                </a:lnTo>
                <a:lnTo>
                  <a:pt x="1187622" y="371490"/>
                </a:lnTo>
                <a:lnTo>
                  <a:pt x="1192610" y="383050"/>
                </a:lnTo>
                <a:lnTo>
                  <a:pt x="1197143" y="394609"/>
                </a:lnTo>
                <a:lnTo>
                  <a:pt x="1201677" y="406395"/>
                </a:lnTo>
                <a:lnTo>
                  <a:pt x="1205984" y="418181"/>
                </a:lnTo>
                <a:lnTo>
                  <a:pt x="1209611" y="429741"/>
                </a:lnTo>
                <a:lnTo>
                  <a:pt x="1213465" y="441754"/>
                </a:lnTo>
                <a:lnTo>
                  <a:pt x="1216865" y="453540"/>
                </a:lnTo>
                <a:lnTo>
                  <a:pt x="1219812" y="465552"/>
                </a:lnTo>
                <a:lnTo>
                  <a:pt x="1222986" y="477792"/>
                </a:lnTo>
                <a:lnTo>
                  <a:pt x="1225706" y="489578"/>
                </a:lnTo>
                <a:lnTo>
                  <a:pt x="1228200" y="501818"/>
                </a:lnTo>
                <a:lnTo>
                  <a:pt x="1230240" y="514057"/>
                </a:lnTo>
                <a:lnTo>
                  <a:pt x="1232280" y="526070"/>
                </a:lnTo>
                <a:lnTo>
                  <a:pt x="1233867" y="538536"/>
                </a:lnTo>
                <a:lnTo>
                  <a:pt x="1235680" y="550775"/>
                </a:lnTo>
                <a:lnTo>
                  <a:pt x="1236814" y="563015"/>
                </a:lnTo>
                <a:lnTo>
                  <a:pt x="1237720" y="575254"/>
                </a:lnTo>
                <a:lnTo>
                  <a:pt x="1238401" y="587720"/>
                </a:lnTo>
                <a:lnTo>
                  <a:pt x="1239081" y="599733"/>
                </a:lnTo>
                <a:lnTo>
                  <a:pt x="1239307" y="612199"/>
                </a:lnTo>
                <a:lnTo>
                  <a:pt x="1239307" y="624665"/>
                </a:lnTo>
                <a:lnTo>
                  <a:pt x="1239081" y="636678"/>
                </a:lnTo>
                <a:lnTo>
                  <a:pt x="1238627" y="649144"/>
                </a:lnTo>
                <a:lnTo>
                  <a:pt x="1237947" y="661610"/>
                </a:lnTo>
                <a:lnTo>
                  <a:pt x="1237040" y="673623"/>
                </a:lnTo>
                <a:lnTo>
                  <a:pt x="1235907" y="686089"/>
                </a:lnTo>
                <a:lnTo>
                  <a:pt x="1234320" y="698102"/>
                </a:lnTo>
                <a:lnTo>
                  <a:pt x="1232507" y="710341"/>
                </a:lnTo>
                <a:lnTo>
                  <a:pt x="1230693" y="722807"/>
                </a:lnTo>
                <a:lnTo>
                  <a:pt x="1228653" y="734820"/>
                </a:lnTo>
                <a:lnTo>
                  <a:pt x="1226159" y="746833"/>
                </a:lnTo>
                <a:lnTo>
                  <a:pt x="1223439" y="759073"/>
                </a:lnTo>
                <a:lnTo>
                  <a:pt x="1220719" y="771085"/>
                </a:lnTo>
                <a:lnTo>
                  <a:pt x="1217545" y="783098"/>
                </a:lnTo>
                <a:lnTo>
                  <a:pt x="1214145" y="795111"/>
                </a:lnTo>
                <a:lnTo>
                  <a:pt x="1210518" y="806897"/>
                </a:lnTo>
                <a:lnTo>
                  <a:pt x="1206664" y="818683"/>
                </a:lnTo>
                <a:lnTo>
                  <a:pt x="1202357" y="830469"/>
                </a:lnTo>
                <a:lnTo>
                  <a:pt x="1198277" y="842255"/>
                </a:lnTo>
                <a:lnTo>
                  <a:pt x="1193516" y="853588"/>
                </a:lnTo>
                <a:lnTo>
                  <a:pt x="1188529" y="865374"/>
                </a:lnTo>
                <a:lnTo>
                  <a:pt x="1183769" y="876934"/>
                </a:lnTo>
                <a:lnTo>
                  <a:pt x="1178328" y="888267"/>
                </a:lnTo>
                <a:lnTo>
                  <a:pt x="1172661" y="899599"/>
                </a:lnTo>
                <a:lnTo>
                  <a:pt x="1166767" y="910706"/>
                </a:lnTo>
                <a:lnTo>
                  <a:pt x="1160646" y="921812"/>
                </a:lnTo>
                <a:lnTo>
                  <a:pt x="1534229" y="1295115"/>
                </a:lnTo>
                <a:lnTo>
                  <a:pt x="1540350" y="1301461"/>
                </a:lnTo>
                <a:lnTo>
                  <a:pt x="1545790" y="1308034"/>
                </a:lnTo>
                <a:lnTo>
                  <a:pt x="1551231" y="1314607"/>
                </a:lnTo>
                <a:lnTo>
                  <a:pt x="1556445" y="1321407"/>
                </a:lnTo>
                <a:lnTo>
                  <a:pt x="1560752" y="1328433"/>
                </a:lnTo>
                <a:lnTo>
                  <a:pt x="1565286" y="1335460"/>
                </a:lnTo>
                <a:lnTo>
                  <a:pt x="1569366" y="1342713"/>
                </a:lnTo>
                <a:lnTo>
                  <a:pt x="1572766" y="1349966"/>
                </a:lnTo>
                <a:lnTo>
                  <a:pt x="1576167" y="1357219"/>
                </a:lnTo>
                <a:lnTo>
                  <a:pt x="1578887" y="1364698"/>
                </a:lnTo>
                <a:lnTo>
                  <a:pt x="1581381" y="1372178"/>
                </a:lnTo>
                <a:lnTo>
                  <a:pt x="1583648" y="1379658"/>
                </a:lnTo>
                <a:lnTo>
                  <a:pt x="1585461" y="1387137"/>
                </a:lnTo>
                <a:lnTo>
                  <a:pt x="1586821" y="1394617"/>
                </a:lnTo>
                <a:lnTo>
                  <a:pt x="1587955" y="1402323"/>
                </a:lnTo>
                <a:lnTo>
                  <a:pt x="1588635" y="1409803"/>
                </a:lnTo>
                <a:lnTo>
                  <a:pt x="1589088" y="1417283"/>
                </a:lnTo>
                <a:lnTo>
                  <a:pt x="1589088" y="1424762"/>
                </a:lnTo>
                <a:lnTo>
                  <a:pt x="1588861" y="1432242"/>
                </a:lnTo>
                <a:lnTo>
                  <a:pt x="1588181" y="1439495"/>
                </a:lnTo>
                <a:lnTo>
                  <a:pt x="1587274" y="1446748"/>
                </a:lnTo>
                <a:lnTo>
                  <a:pt x="1585914" y="1454001"/>
                </a:lnTo>
                <a:lnTo>
                  <a:pt x="1584101" y="1461027"/>
                </a:lnTo>
                <a:lnTo>
                  <a:pt x="1581834" y="1467827"/>
                </a:lnTo>
                <a:lnTo>
                  <a:pt x="1579340" y="1474627"/>
                </a:lnTo>
                <a:lnTo>
                  <a:pt x="1576620" y="1481200"/>
                </a:lnTo>
                <a:lnTo>
                  <a:pt x="1573220" y="1487773"/>
                </a:lnTo>
                <a:lnTo>
                  <a:pt x="1569593" y="1494119"/>
                </a:lnTo>
                <a:lnTo>
                  <a:pt x="1565512" y="1500239"/>
                </a:lnTo>
                <a:lnTo>
                  <a:pt x="1561432" y="1506132"/>
                </a:lnTo>
                <a:lnTo>
                  <a:pt x="1556445" y="1511572"/>
                </a:lnTo>
                <a:lnTo>
                  <a:pt x="1551231" y="1517011"/>
                </a:lnTo>
                <a:lnTo>
                  <a:pt x="1517228" y="1551237"/>
                </a:lnTo>
                <a:lnTo>
                  <a:pt x="1511787" y="1556223"/>
                </a:lnTo>
                <a:lnTo>
                  <a:pt x="1506120" y="1561209"/>
                </a:lnTo>
                <a:lnTo>
                  <a:pt x="1500226" y="1565516"/>
                </a:lnTo>
                <a:lnTo>
                  <a:pt x="1494106" y="1569369"/>
                </a:lnTo>
                <a:lnTo>
                  <a:pt x="1487985" y="1573222"/>
                </a:lnTo>
                <a:lnTo>
                  <a:pt x="1481411" y="1576395"/>
                </a:lnTo>
                <a:lnTo>
                  <a:pt x="1474837" y="1579342"/>
                </a:lnTo>
                <a:lnTo>
                  <a:pt x="1468036" y="1581835"/>
                </a:lnTo>
                <a:lnTo>
                  <a:pt x="1461009" y="1583875"/>
                </a:lnTo>
                <a:lnTo>
                  <a:pt x="1453982" y="1585688"/>
                </a:lnTo>
                <a:lnTo>
                  <a:pt x="1446728" y="1587275"/>
                </a:lnTo>
                <a:lnTo>
                  <a:pt x="1439474" y="1588182"/>
                </a:lnTo>
                <a:lnTo>
                  <a:pt x="1432219" y="1588862"/>
                </a:lnTo>
                <a:lnTo>
                  <a:pt x="1424739" y="1589088"/>
                </a:lnTo>
                <a:lnTo>
                  <a:pt x="1417258" y="1589088"/>
                </a:lnTo>
                <a:lnTo>
                  <a:pt x="1409777" y="1588862"/>
                </a:lnTo>
                <a:lnTo>
                  <a:pt x="1402296" y="1587955"/>
                </a:lnTo>
                <a:lnTo>
                  <a:pt x="1394589" y="1587048"/>
                </a:lnTo>
                <a:lnTo>
                  <a:pt x="1387108" y="1585235"/>
                </a:lnTo>
                <a:lnTo>
                  <a:pt x="1379628" y="1583422"/>
                </a:lnTo>
                <a:lnTo>
                  <a:pt x="1372147" y="1581382"/>
                </a:lnTo>
                <a:lnTo>
                  <a:pt x="1364666" y="1578662"/>
                </a:lnTo>
                <a:lnTo>
                  <a:pt x="1357186" y="1575942"/>
                </a:lnTo>
                <a:lnTo>
                  <a:pt x="1349931" y="1572769"/>
                </a:lnTo>
                <a:lnTo>
                  <a:pt x="1342677" y="1569142"/>
                </a:lnTo>
                <a:lnTo>
                  <a:pt x="1335423" y="1565289"/>
                </a:lnTo>
                <a:lnTo>
                  <a:pt x="1328396" y="1560756"/>
                </a:lnTo>
                <a:lnTo>
                  <a:pt x="1321369" y="1556223"/>
                </a:lnTo>
                <a:lnTo>
                  <a:pt x="1314568" y="1551237"/>
                </a:lnTo>
                <a:lnTo>
                  <a:pt x="1307994" y="1545797"/>
                </a:lnTo>
                <a:lnTo>
                  <a:pt x="1301420" y="1540130"/>
                </a:lnTo>
                <a:lnTo>
                  <a:pt x="1295299" y="1534011"/>
                </a:lnTo>
                <a:lnTo>
                  <a:pt x="921716" y="1160708"/>
                </a:lnTo>
                <a:lnTo>
                  <a:pt x="910835" y="1166827"/>
                </a:lnTo>
                <a:lnTo>
                  <a:pt x="899501" y="1172720"/>
                </a:lnTo>
                <a:lnTo>
                  <a:pt x="888166" y="1178160"/>
                </a:lnTo>
                <a:lnTo>
                  <a:pt x="876832" y="1183600"/>
                </a:lnTo>
                <a:lnTo>
                  <a:pt x="865498" y="1188586"/>
                </a:lnTo>
                <a:lnTo>
                  <a:pt x="853710" y="1193346"/>
                </a:lnTo>
                <a:lnTo>
                  <a:pt x="842375" y="1198106"/>
                </a:lnTo>
                <a:lnTo>
                  <a:pt x="830588" y="1202412"/>
                </a:lnTo>
                <a:lnTo>
                  <a:pt x="818573" y="1206492"/>
                </a:lnTo>
                <a:lnTo>
                  <a:pt x="807012" y="1210572"/>
                </a:lnTo>
                <a:lnTo>
                  <a:pt x="794997" y="1213972"/>
                </a:lnTo>
                <a:lnTo>
                  <a:pt x="783210" y="1217598"/>
                </a:lnTo>
                <a:lnTo>
                  <a:pt x="771195" y="1220545"/>
                </a:lnTo>
                <a:lnTo>
                  <a:pt x="758954" y="1223265"/>
                </a:lnTo>
                <a:lnTo>
                  <a:pt x="746939" y="1226211"/>
                </a:lnTo>
                <a:lnTo>
                  <a:pt x="734698" y="1228478"/>
                </a:lnTo>
                <a:lnTo>
                  <a:pt x="722457" y="1230518"/>
                </a:lnTo>
                <a:lnTo>
                  <a:pt x="710442" y="1232784"/>
                </a:lnTo>
                <a:lnTo>
                  <a:pt x="698201" y="1234371"/>
                </a:lnTo>
                <a:lnTo>
                  <a:pt x="685960" y="1235731"/>
                </a:lnTo>
                <a:lnTo>
                  <a:pt x="673719" y="1236864"/>
                </a:lnTo>
                <a:lnTo>
                  <a:pt x="661478" y="1237771"/>
                </a:lnTo>
                <a:lnTo>
                  <a:pt x="649010" y="1238451"/>
                </a:lnTo>
                <a:lnTo>
                  <a:pt x="636769" y="1239131"/>
                </a:lnTo>
                <a:lnTo>
                  <a:pt x="624527" y="1239357"/>
                </a:lnTo>
                <a:lnTo>
                  <a:pt x="612060" y="1239357"/>
                </a:lnTo>
                <a:lnTo>
                  <a:pt x="599818" y="1239131"/>
                </a:lnTo>
                <a:lnTo>
                  <a:pt x="587577" y="1238451"/>
                </a:lnTo>
                <a:lnTo>
                  <a:pt x="575109" y="1237544"/>
                </a:lnTo>
                <a:lnTo>
                  <a:pt x="562868" y="1236638"/>
                </a:lnTo>
                <a:lnTo>
                  <a:pt x="550627" y="1235504"/>
                </a:lnTo>
                <a:lnTo>
                  <a:pt x="538612" y="1233918"/>
                </a:lnTo>
                <a:lnTo>
                  <a:pt x="526145" y="1232331"/>
                </a:lnTo>
                <a:lnTo>
                  <a:pt x="513903" y="1230291"/>
                </a:lnTo>
                <a:lnTo>
                  <a:pt x="501889" y="1228025"/>
                </a:lnTo>
                <a:lnTo>
                  <a:pt x="489648" y="1225758"/>
                </a:lnTo>
                <a:lnTo>
                  <a:pt x="477633" y="1222811"/>
                </a:lnTo>
                <a:lnTo>
                  <a:pt x="465619" y="1219865"/>
                </a:lnTo>
                <a:lnTo>
                  <a:pt x="453604" y="1216918"/>
                </a:lnTo>
                <a:lnTo>
                  <a:pt x="441590" y="1213292"/>
                </a:lnTo>
                <a:lnTo>
                  <a:pt x="429802" y="1209665"/>
                </a:lnTo>
                <a:lnTo>
                  <a:pt x="418014" y="1205812"/>
                </a:lnTo>
                <a:lnTo>
                  <a:pt x="406453" y="1201506"/>
                </a:lnTo>
                <a:lnTo>
                  <a:pt x="394665" y="1197199"/>
                </a:lnTo>
                <a:lnTo>
                  <a:pt x="383104" y="1192440"/>
                </a:lnTo>
                <a:lnTo>
                  <a:pt x="371543" y="1187680"/>
                </a:lnTo>
                <a:lnTo>
                  <a:pt x="359982" y="1182467"/>
                </a:lnTo>
                <a:lnTo>
                  <a:pt x="348647" y="1177027"/>
                </a:lnTo>
                <a:lnTo>
                  <a:pt x="337313" y="1171360"/>
                </a:lnTo>
                <a:lnTo>
                  <a:pt x="326205" y="1165694"/>
                </a:lnTo>
                <a:lnTo>
                  <a:pt x="315097" y="1159574"/>
                </a:lnTo>
                <a:lnTo>
                  <a:pt x="304216" y="1153228"/>
                </a:lnTo>
                <a:lnTo>
                  <a:pt x="293109" y="1146655"/>
                </a:lnTo>
                <a:lnTo>
                  <a:pt x="282454" y="1139629"/>
                </a:lnTo>
                <a:lnTo>
                  <a:pt x="272026" y="1132602"/>
                </a:lnTo>
                <a:lnTo>
                  <a:pt x="261145" y="1125349"/>
                </a:lnTo>
                <a:lnTo>
                  <a:pt x="250944" y="1117643"/>
                </a:lnTo>
                <a:lnTo>
                  <a:pt x="240517" y="1109937"/>
                </a:lnTo>
                <a:lnTo>
                  <a:pt x="230316" y="1101777"/>
                </a:lnTo>
                <a:lnTo>
                  <a:pt x="220341" y="1093617"/>
                </a:lnTo>
                <a:lnTo>
                  <a:pt x="210367" y="1085004"/>
                </a:lnTo>
                <a:lnTo>
                  <a:pt x="200620" y="1076391"/>
                </a:lnTo>
                <a:lnTo>
                  <a:pt x="191099" y="1067099"/>
                </a:lnTo>
                <a:lnTo>
                  <a:pt x="181578" y="1057806"/>
                </a:lnTo>
                <a:lnTo>
                  <a:pt x="170470" y="1046473"/>
                </a:lnTo>
                <a:lnTo>
                  <a:pt x="159589" y="1034913"/>
                </a:lnTo>
                <a:lnTo>
                  <a:pt x="149161" y="1022901"/>
                </a:lnTo>
                <a:lnTo>
                  <a:pt x="139187" y="1010888"/>
                </a:lnTo>
                <a:lnTo>
                  <a:pt x="129213" y="998648"/>
                </a:lnTo>
                <a:lnTo>
                  <a:pt x="119918" y="985956"/>
                </a:lnTo>
                <a:lnTo>
                  <a:pt x="110851" y="973489"/>
                </a:lnTo>
                <a:lnTo>
                  <a:pt x="102237" y="960797"/>
                </a:lnTo>
                <a:lnTo>
                  <a:pt x="93849" y="947651"/>
                </a:lnTo>
                <a:lnTo>
                  <a:pt x="85688" y="934505"/>
                </a:lnTo>
                <a:lnTo>
                  <a:pt x="78208" y="921358"/>
                </a:lnTo>
                <a:lnTo>
                  <a:pt x="70954" y="907986"/>
                </a:lnTo>
                <a:lnTo>
                  <a:pt x="64153" y="894386"/>
                </a:lnTo>
                <a:lnTo>
                  <a:pt x="57579" y="880560"/>
                </a:lnTo>
                <a:lnTo>
                  <a:pt x="51232" y="866734"/>
                </a:lnTo>
                <a:lnTo>
                  <a:pt x="45338" y="852908"/>
                </a:lnTo>
                <a:lnTo>
                  <a:pt x="39897" y="838856"/>
                </a:lnTo>
                <a:lnTo>
                  <a:pt x="34910" y="824803"/>
                </a:lnTo>
                <a:lnTo>
                  <a:pt x="30150" y="810524"/>
                </a:lnTo>
                <a:lnTo>
                  <a:pt x="25616" y="796244"/>
                </a:lnTo>
                <a:lnTo>
                  <a:pt x="21535" y="781738"/>
                </a:lnTo>
                <a:lnTo>
                  <a:pt x="17682" y="767232"/>
                </a:lnTo>
                <a:lnTo>
                  <a:pt x="14508" y="752726"/>
                </a:lnTo>
                <a:lnTo>
                  <a:pt x="11334" y="738220"/>
                </a:lnTo>
                <a:lnTo>
                  <a:pt x="8841" y="723487"/>
                </a:lnTo>
                <a:lnTo>
                  <a:pt x="6574" y="708755"/>
                </a:lnTo>
                <a:lnTo>
                  <a:pt x="4307" y="694022"/>
                </a:lnTo>
                <a:lnTo>
                  <a:pt x="2947" y="679289"/>
                </a:lnTo>
                <a:lnTo>
                  <a:pt x="1587" y="664330"/>
                </a:lnTo>
                <a:lnTo>
                  <a:pt x="680" y="649597"/>
                </a:lnTo>
                <a:lnTo>
                  <a:pt x="227" y="634638"/>
                </a:lnTo>
                <a:lnTo>
                  <a:pt x="0" y="619905"/>
                </a:lnTo>
                <a:lnTo>
                  <a:pt x="227" y="604946"/>
                </a:lnTo>
                <a:lnTo>
                  <a:pt x="680" y="589987"/>
                </a:lnTo>
                <a:lnTo>
                  <a:pt x="1587" y="575254"/>
                </a:lnTo>
                <a:lnTo>
                  <a:pt x="2947" y="560295"/>
                </a:lnTo>
                <a:lnTo>
                  <a:pt x="4307" y="545562"/>
                </a:lnTo>
                <a:lnTo>
                  <a:pt x="6574" y="530830"/>
                </a:lnTo>
                <a:lnTo>
                  <a:pt x="8841" y="516097"/>
                </a:lnTo>
                <a:lnTo>
                  <a:pt x="11334" y="501364"/>
                </a:lnTo>
                <a:lnTo>
                  <a:pt x="14508" y="486858"/>
                </a:lnTo>
                <a:lnTo>
                  <a:pt x="17682" y="472352"/>
                </a:lnTo>
                <a:lnTo>
                  <a:pt x="21535" y="457846"/>
                </a:lnTo>
                <a:lnTo>
                  <a:pt x="25616" y="443340"/>
                </a:lnTo>
                <a:lnTo>
                  <a:pt x="30150" y="429061"/>
                </a:lnTo>
                <a:lnTo>
                  <a:pt x="34910" y="414781"/>
                </a:lnTo>
                <a:lnTo>
                  <a:pt x="39897" y="400502"/>
                </a:lnTo>
                <a:lnTo>
                  <a:pt x="45338" y="386449"/>
                </a:lnTo>
                <a:lnTo>
                  <a:pt x="51232" y="372850"/>
                </a:lnTo>
                <a:lnTo>
                  <a:pt x="57579" y="359024"/>
                </a:lnTo>
                <a:lnTo>
                  <a:pt x="64153" y="345198"/>
                </a:lnTo>
                <a:lnTo>
                  <a:pt x="70954" y="331599"/>
                </a:lnTo>
                <a:lnTo>
                  <a:pt x="78208" y="318226"/>
                </a:lnTo>
                <a:lnTo>
                  <a:pt x="85688" y="304853"/>
                </a:lnTo>
                <a:lnTo>
                  <a:pt x="93849" y="291934"/>
                </a:lnTo>
                <a:lnTo>
                  <a:pt x="102237" y="278788"/>
                </a:lnTo>
                <a:lnTo>
                  <a:pt x="110851" y="266095"/>
                </a:lnTo>
                <a:lnTo>
                  <a:pt x="119918" y="253402"/>
                </a:lnTo>
                <a:lnTo>
                  <a:pt x="129213" y="240936"/>
                </a:lnTo>
                <a:lnTo>
                  <a:pt x="139187" y="228697"/>
                </a:lnTo>
                <a:lnTo>
                  <a:pt x="149161" y="216457"/>
                </a:lnTo>
                <a:lnTo>
                  <a:pt x="159589" y="204671"/>
                </a:lnTo>
                <a:lnTo>
                  <a:pt x="170470" y="193111"/>
                </a:lnTo>
                <a:lnTo>
                  <a:pt x="181578" y="181779"/>
                </a:lnTo>
                <a:lnTo>
                  <a:pt x="193139" y="170446"/>
                </a:lnTo>
                <a:lnTo>
                  <a:pt x="204473" y="159793"/>
                </a:lnTo>
                <a:lnTo>
                  <a:pt x="216488" y="149140"/>
                </a:lnTo>
                <a:lnTo>
                  <a:pt x="228729" y="139167"/>
                </a:lnTo>
                <a:lnTo>
                  <a:pt x="240743" y="129421"/>
                </a:lnTo>
                <a:lnTo>
                  <a:pt x="253438" y="119901"/>
                </a:lnTo>
                <a:lnTo>
                  <a:pt x="266133" y="110835"/>
                </a:lnTo>
                <a:lnTo>
                  <a:pt x="278600" y="102222"/>
                </a:lnTo>
                <a:lnTo>
                  <a:pt x="291748" y="93836"/>
                </a:lnTo>
                <a:lnTo>
                  <a:pt x="304896" y="85903"/>
                </a:lnTo>
                <a:lnTo>
                  <a:pt x="318271" y="78423"/>
                </a:lnTo>
                <a:lnTo>
                  <a:pt x="331646" y="71170"/>
                </a:lnTo>
                <a:lnTo>
                  <a:pt x="345020" y="64144"/>
                </a:lnTo>
                <a:lnTo>
                  <a:pt x="358848" y="57571"/>
                </a:lnTo>
                <a:lnTo>
                  <a:pt x="372676" y="51451"/>
                </a:lnTo>
                <a:lnTo>
                  <a:pt x="386504" y="45558"/>
                </a:lnTo>
                <a:lnTo>
                  <a:pt x="400559" y="40118"/>
                </a:lnTo>
                <a:lnTo>
                  <a:pt x="414840" y="34905"/>
                </a:lnTo>
                <a:lnTo>
                  <a:pt x="429122" y="30146"/>
                </a:lnTo>
                <a:lnTo>
                  <a:pt x="443403" y="25839"/>
                </a:lnTo>
                <a:lnTo>
                  <a:pt x="457911" y="21533"/>
                </a:lnTo>
                <a:lnTo>
                  <a:pt x="472419" y="17906"/>
                </a:lnTo>
                <a:lnTo>
                  <a:pt x="486927" y="14506"/>
                </a:lnTo>
                <a:lnTo>
                  <a:pt x="501435" y="11560"/>
                </a:lnTo>
                <a:lnTo>
                  <a:pt x="515944" y="8840"/>
                </a:lnTo>
                <a:lnTo>
                  <a:pt x="530678" y="6573"/>
                </a:lnTo>
                <a:lnTo>
                  <a:pt x="545413" y="4533"/>
                </a:lnTo>
                <a:lnTo>
                  <a:pt x="560148" y="3173"/>
                </a:lnTo>
                <a:lnTo>
                  <a:pt x="575109" y="1587"/>
                </a:lnTo>
                <a:lnTo>
                  <a:pt x="589844" y="907"/>
                </a:lnTo>
                <a:lnTo>
                  <a:pt x="604806" y="227"/>
                </a:lnTo>
                <a:lnTo>
                  <a:pt x="619540" y="0"/>
                </a:lnTo>
                <a:close/>
              </a:path>
            </a:pathLst>
          </a:custGeom>
          <a:solidFill>
            <a:srgbClr val="FFFFFF"/>
          </a:solidFill>
          <a:ln>
            <a:noFill/>
          </a:ln>
        </p:spPr>
        <p:txBody>
          <a:bodyPr lIns="68580" tIns="34290" rIns="68580" bIns="34290" anchor="ctr">
            <a:scene3d>
              <a:camera prst="orthographicFront"/>
              <a:lightRig rig="threePt" dir="t"/>
            </a:scene3d>
          </a:bodyPr>
          <a:lstStyle/>
          <a:p>
            <a:pPr algn="ctr">
              <a:defRPr/>
            </a:pPr>
            <a:endParaRPr lang="zh-CN" altLang="en-US" sz="1500">
              <a:solidFill>
                <a:schemeClr val="bg1"/>
              </a:solidFill>
              <a:latin typeface="微软雅黑" panose="020b0503020204020204" pitchFamily="34" charset="-122"/>
              <a:ea typeface="微软雅黑" panose="020b0503020204020204" pitchFamily="34" charset="-122"/>
            </a:endParaRPr>
          </a:p>
        </p:txBody>
      </p:sp>
      <p:sp>
        <p:nvSpPr>
          <p:cNvPr id="24" name="矩形 23"/>
          <p:cNvSpPr/>
          <p:nvPr/>
        </p:nvSpPr>
        <p:spPr>
          <a:xfrm>
            <a:off x="1351567" y="3044981"/>
            <a:ext cx="1565659" cy="346243"/>
          </a:xfrm>
          <a:prstGeom prst="rect">
            <a:avLst/>
          </a:prstGeom>
        </p:spPr>
        <p:txBody>
          <a:bodyPr wrap="square" lIns="68573" tIns="34287" rIns="68573" bIns="34287">
            <a:spAutoFit/>
          </a:bodyPr>
          <a:lstStyle/>
          <a:p>
            <a:pPr algn="ctr">
              <a:spcBef>
                <a:spcPct val="0"/>
              </a:spcBef>
              <a:buFont typeface="Arial" panose="020b0604020202020204" pitchFamily="34" charset="0"/>
              <a:buNone/>
            </a:pPr>
            <a:r>
              <a:rPr lang="zh-CN" altLang="en-US" b="1">
                <a:solidFill>
                  <a:schemeClr val="bg1"/>
                </a:solidFill>
                <a:latin typeface="微软雅黑" panose="020b0503020204020204" pitchFamily="34" charset="-122"/>
                <a:ea typeface="微软雅黑" panose="020b0503020204020204" pitchFamily="34" charset="-122"/>
                <a:cs typeface="Arial" panose="020b0604020202020204" pitchFamily="34" charset="0"/>
              </a:rPr>
              <a:t>知识技能</a:t>
            </a:r>
            <a:endParaRPr lang="zh-CN" altLang="en-US" b="1">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5" name="矩形 47"/>
          <p:cNvSpPr>
            <a:spLocks noChangeArrowheads="1"/>
          </p:cNvSpPr>
          <p:nvPr/>
        </p:nvSpPr>
        <p:spPr bwMode="auto">
          <a:xfrm>
            <a:off x="1263420" y="3483992"/>
            <a:ext cx="1869830" cy="678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100">
                <a:solidFill>
                  <a:schemeClr val="tx1">
                    <a:lumMod val="65000"/>
                    <a:lumOff val="35000"/>
                  </a:schemeClr>
                </a:solidFill>
                <a:sym typeface="微软雅黑" panose="020b0503020204020204" pitchFamily="34" charset="-122"/>
              </a:rPr>
              <a:t>在此录入上述图表的描述说明，在此录入上述图表的描述说明。</a:t>
            </a:r>
            <a:endParaRPr lang="zh-CN" altLang="en-US" sz="1100">
              <a:solidFill>
                <a:schemeClr val="tx1">
                  <a:lumMod val="65000"/>
                  <a:lumOff val="35000"/>
                </a:schemeClr>
              </a:solidFill>
              <a:sym typeface="微软雅黑" panose="020b0503020204020204" pitchFamily="34" charset="-122"/>
            </a:endParaRPr>
          </a:p>
        </p:txBody>
      </p:sp>
      <p:sp>
        <p:nvSpPr>
          <p:cNvPr id="26" name="矩形 25"/>
          <p:cNvSpPr/>
          <p:nvPr/>
        </p:nvSpPr>
        <p:spPr>
          <a:xfrm>
            <a:off x="5402017" y="1431764"/>
            <a:ext cx="2068654" cy="284687"/>
          </a:xfrm>
          <a:prstGeom prst="rect">
            <a:avLst/>
          </a:prstGeom>
        </p:spPr>
        <p:txBody>
          <a:bodyPr wrap="square" lIns="68573" tIns="34287" rIns="68573" bIns="34287">
            <a:spAutoFit/>
          </a:bodyPr>
          <a:lstStyle/>
          <a:p>
            <a:r>
              <a:rPr lang="zh-CN" altLang="en-US" sz="1400" b="1">
                <a:solidFill>
                  <a:schemeClr val="bg1">
                    <a:lumMod val="50000"/>
                  </a:schemeClr>
                </a:solidFill>
                <a:latin typeface="微软雅黑" panose="020b0503020204020204" pitchFamily="34" charset="-122"/>
                <a:ea typeface="微软雅黑" panose="020b0503020204020204" pitchFamily="34" charset="-122"/>
              </a:rPr>
              <a:t>初级注册会计师</a:t>
            </a:r>
            <a:endParaRPr lang="en-US" altLang="zh-CN" sz="1400" b="1">
              <a:solidFill>
                <a:schemeClr val="bg1">
                  <a:lumMod val="50000"/>
                </a:schemeClr>
              </a:solidFill>
              <a:latin typeface="微软雅黑" panose="020b0503020204020204" pitchFamily="34" charset="-122"/>
              <a:ea typeface="微软雅黑" panose="020b0503020204020204" pitchFamily="34" charset="-122"/>
            </a:endParaRPr>
          </a:p>
        </p:txBody>
      </p:sp>
      <p:sp>
        <p:nvSpPr>
          <p:cNvPr id="27" name="矩形 47"/>
          <p:cNvSpPr>
            <a:spLocks noChangeArrowheads="1"/>
          </p:cNvSpPr>
          <p:nvPr/>
        </p:nvSpPr>
        <p:spPr bwMode="auto">
          <a:xfrm>
            <a:off x="5401502" y="1657695"/>
            <a:ext cx="2268252" cy="422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000">
                <a:solidFill>
                  <a:schemeClr val="bg1">
                    <a:lumMod val="50000"/>
                  </a:schemeClr>
                </a:solidFill>
              </a:rPr>
              <a:t>具有一定会计专业水平，经考核取得证书、可以接受当事人委托。</a:t>
            </a:r>
            <a:endParaRPr lang="zh-CN" altLang="en-US" sz="1000">
              <a:solidFill>
                <a:schemeClr val="bg1">
                  <a:lumMod val="50000"/>
                </a:schemeClr>
              </a:solidFill>
              <a:sym typeface="微软雅黑" panose="020b0503020204020204" pitchFamily="34" charset="-122"/>
            </a:endParaRPr>
          </a:p>
        </p:txBody>
      </p:sp>
      <p:sp>
        <p:nvSpPr>
          <p:cNvPr id="28" name="矩形 27"/>
          <p:cNvSpPr/>
          <p:nvPr/>
        </p:nvSpPr>
        <p:spPr>
          <a:xfrm>
            <a:off x="5996083" y="2241854"/>
            <a:ext cx="2391101" cy="284687"/>
          </a:xfrm>
          <a:prstGeom prst="rect">
            <a:avLst/>
          </a:prstGeom>
        </p:spPr>
        <p:txBody>
          <a:bodyPr wrap="square" lIns="68573" tIns="34287" rIns="68573" bIns="34287">
            <a:spAutoFit/>
          </a:bodyPr>
          <a:lstStyle/>
          <a:p>
            <a:r>
              <a:rPr lang="zh-CN" altLang="en-US" sz="1400" b="1">
                <a:solidFill>
                  <a:schemeClr val="bg1">
                    <a:lumMod val="50000"/>
                  </a:schemeClr>
                </a:solidFill>
                <a:latin typeface="微软雅黑" panose="020b0503020204020204" pitchFamily="34" charset="-122"/>
                <a:ea typeface="微软雅黑" panose="020b0503020204020204" pitchFamily="34" charset="-122"/>
              </a:rPr>
              <a:t>英语六级证书</a:t>
            </a:r>
            <a:endParaRPr lang="en-US" altLang="zh-CN" sz="1400" b="1">
              <a:solidFill>
                <a:schemeClr val="bg1">
                  <a:lumMod val="50000"/>
                </a:schemeClr>
              </a:solidFill>
              <a:latin typeface="微软雅黑" panose="020b0503020204020204" pitchFamily="34" charset="-122"/>
              <a:ea typeface="微软雅黑" panose="020b0503020204020204" pitchFamily="34" charset="-122"/>
            </a:endParaRPr>
          </a:p>
        </p:txBody>
      </p:sp>
      <p:sp>
        <p:nvSpPr>
          <p:cNvPr id="29" name="矩形 47"/>
          <p:cNvSpPr>
            <a:spLocks noChangeArrowheads="1"/>
          </p:cNvSpPr>
          <p:nvPr/>
        </p:nvSpPr>
        <p:spPr bwMode="auto">
          <a:xfrm>
            <a:off x="5995568" y="2467785"/>
            <a:ext cx="2106234" cy="422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000">
                <a:solidFill>
                  <a:schemeClr val="bg1">
                    <a:lumMod val="50000"/>
                  </a:schemeClr>
                </a:solidFill>
                <a:sym typeface="微软雅黑" panose="020b0503020204020204" pitchFamily="34" charset="-122"/>
              </a:rPr>
              <a:t>日常基本口语基本没问题，口语和外国客户简单对话。</a:t>
            </a:r>
            <a:endParaRPr lang="zh-CN" altLang="en-US" sz="1000">
              <a:solidFill>
                <a:schemeClr val="bg1">
                  <a:lumMod val="50000"/>
                </a:schemeClr>
              </a:solidFill>
              <a:sym typeface="微软雅黑" panose="020b0503020204020204" pitchFamily="34" charset="-122"/>
            </a:endParaRPr>
          </a:p>
        </p:txBody>
      </p:sp>
      <p:sp>
        <p:nvSpPr>
          <p:cNvPr id="30" name="矩形 29"/>
          <p:cNvSpPr/>
          <p:nvPr/>
        </p:nvSpPr>
        <p:spPr>
          <a:xfrm>
            <a:off x="5402017" y="2882963"/>
            <a:ext cx="1592662" cy="284687"/>
          </a:xfrm>
          <a:prstGeom prst="rect">
            <a:avLst/>
          </a:prstGeom>
        </p:spPr>
        <p:txBody>
          <a:bodyPr wrap="square" lIns="68573" tIns="34287" rIns="68573" bIns="34287">
            <a:spAutoFit/>
          </a:bodyPr>
          <a:lstStyle/>
          <a:p>
            <a:r>
              <a:rPr lang="en-US" altLang="zh-CN" sz="1400" b="1">
                <a:solidFill>
                  <a:schemeClr val="bg1">
                    <a:lumMod val="50000"/>
                  </a:schemeClr>
                </a:solidFill>
                <a:latin typeface="微软雅黑" panose="020b0503020204020204" pitchFamily="34" charset="-122"/>
                <a:ea typeface="微软雅黑" panose="020b0503020204020204" pitchFamily="34" charset="-122"/>
              </a:rPr>
              <a:t>ADOBE</a:t>
            </a:r>
            <a:endParaRPr lang="en-US" altLang="zh-CN" sz="1400" b="1">
              <a:solidFill>
                <a:schemeClr val="bg1">
                  <a:lumMod val="50000"/>
                </a:schemeClr>
              </a:solidFill>
              <a:latin typeface="微软雅黑" panose="020b0503020204020204" pitchFamily="34" charset="-122"/>
              <a:ea typeface="微软雅黑" panose="020b0503020204020204" pitchFamily="34" charset="-122"/>
            </a:endParaRPr>
          </a:p>
        </p:txBody>
      </p:sp>
      <p:sp>
        <p:nvSpPr>
          <p:cNvPr id="31" name="矩形 47"/>
          <p:cNvSpPr>
            <a:spLocks noChangeArrowheads="1"/>
          </p:cNvSpPr>
          <p:nvPr/>
        </p:nvSpPr>
        <p:spPr bwMode="auto">
          <a:xfrm>
            <a:off x="5401502" y="3115857"/>
            <a:ext cx="2106234" cy="422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000">
                <a:solidFill>
                  <a:schemeClr val="bg1">
                    <a:lumMod val="50000"/>
                  </a:schemeClr>
                </a:solidFill>
                <a:sym typeface="微软雅黑" panose="020b0503020204020204" pitchFamily="34" charset="-122"/>
              </a:rPr>
              <a:t>获得美国</a:t>
            </a:r>
            <a:r>
              <a:rPr lang="en-US" altLang="zh-CN" sz="1000">
                <a:solidFill>
                  <a:schemeClr val="bg1">
                    <a:lumMod val="50000"/>
                  </a:schemeClr>
                </a:solidFill>
                <a:sym typeface="微软雅黑" panose="020b0503020204020204" pitchFamily="34" charset="-122"/>
              </a:rPr>
              <a:t>Adobe</a:t>
            </a:r>
            <a:r>
              <a:rPr lang="zh-CN" altLang="en-US" sz="1000">
                <a:solidFill>
                  <a:schemeClr val="bg1">
                    <a:lumMod val="50000"/>
                  </a:schemeClr>
                </a:solidFill>
                <a:sym typeface="微软雅黑" panose="020b0503020204020204" pitchFamily="34" charset="-122"/>
              </a:rPr>
              <a:t>公司平面技能证书，熟练掌握</a:t>
            </a:r>
            <a:r>
              <a:rPr lang="en-US" altLang="zh-CN" sz="1000" err="1">
                <a:solidFill>
                  <a:schemeClr val="bg1">
                    <a:lumMod val="50000"/>
                  </a:schemeClr>
                </a:solidFill>
                <a:sym typeface="微软雅黑" panose="020b0503020204020204" pitchFamily="34" charset="-122"/>
              </a:rPr>
              <a:t>photoshop</a:t>
            </a:r>
            <a:r>
              <a:rPr lang="zh-CN" altLang="en-US" sz="1000">
                <a:solidFill>
                  <a:schemeClr val="bg1">
                    <a:lumMod val="50000"/>
                  </a:schemeClr>
                </a:solidFill>
                <a:sym typeface="微软雅黑" panose="020b0503020204020204" pitchFamily="34" charset="-122"/>
              </a:rPr>
              <a:t>软件。</a:t>
            </a:r>
            <a:endParaRPr lang="zh-CN" altLang="en-US" sz="1000">
              <a:solidFill>
                <a:schemeClr val="bg1">
                  <a:lumMod val="50000"/>
                </a:schemeClr>
              </a:solidFill>
              <a:sym typeface="微软雅黑" panose="020b0503020204020204" pitchFamily="34" charset="-122"/>
            </a:endParaRPr>
          </a:p>
        </p:txBody>
      </p:sp>
      <p:sp>
        <p:nvSpPr>
          <p:cNvPr id="32" name="矩形 31"/>
          <p:cNvSpPr/>
          <p:nvPr/>
        </p:nvSpPr>
        <p:spPr>
          <a:xfrm>
            <a:off x="5942077" y="3646010"/>
            <a:ext cx="1674754" cy="284687"/>
          </a:xfrm>
          <a:prstGeom prst="rect">
            <a:avLst/>
          </a:prstGeom>
        </p:spPr>
        <p:txBody>
          <a:bodyPr wrap="square" lIns="68573" tIns="34287" rIns="68573" bIns="34287">
            <a:spAutoFit/>
          </a:bodyPr>
          <a:lstStyle/>
          <a:p>
            <a:r>
              <a:rPr lang="en-US" altLang="zh-CN" sz="1400" b="1">
                <a:solidFill>
                  <a:schemeClr val="bg1">
                    <a:lumMod val="50000"/>
                  </a:schemeClr>
                </a:solidFill>
                <a:latin typeface="微软雅黑" panose="020b0503020204020204" pitchFamily="34" charset="-122"/>
                <a:ea typeface="微软雅黑" panose="020b0503020204020204" pitchFamily="34" charset="-122"/>
              </a:rPr>
              <a:t>OFFICE</a:t>
            </a:r>
            <a:endParaRPr lang="en-US" altLang="zh-CN" sz="1400" b="1">
              <a:solidFill>
                <a:schemeClr val="bg1">
                  <a:lumMod val="50000"/>
                </a:schemeClr>
              </a:solidFill>
              <a:latin typeface="微软雅黑" panose="020b0503020204020204" pitchFamily="34" charset="-122"/>
              <a:ea typeface="微软雅黑" panose="020b0503020204020204" pitchFamily="34" charset="-122"/>
            </a:endParaRPr>
          </a:p>
        </p:txBody>
      </p:sp>
      <p:sp>
        <p:nvSpPr>
          <p:cNvPr id="33" name="矩形 47"/>
          <p:cNvSpPr>
            <a:spLocks noChangeArrowheads="1"/>
          </p:cNvSpPr>
          <p:nvPr/>
        </p:nvSpPr>
        <p:spPr bwMode="auto">
          <a:xfrm>
            <a:off x="5941562" y="3871941"/>
            <a:ext cx="2106234" cy="422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000">
                <a:solidFill>
                  <a:schemeClr val="bg1">
                    <a:lumMod val="50000"/>
                  </a:schemeClr>
                </a:solidFill>
                <a:sym typeface="微软雅黑" panose="020b0503020204020204" pitchFamily="34" charset="-122"/>
              </a:rPr>
              <a:t>熟练操作办公软件，能够独立完成会议</a:t>
            </a:r>
            <a:r>
              <a:rPr lang="en-US" altLang="zh-CN" sz="1000" err="1">
                <a:solidFill>
                  <a:schemeClr val="bg1">
                    <a:lumMod val="50000"/>
                  </a:schemeClr>
                </a:solidFill>
                <a:sym typeface="微软雅黑" panose="020b0503020204020204" pitchFamily="34" charset="-122"/>
              </a:rPr>
              <a:t>ppt</a:t>
            </a:r>
            <a:r>
              <a:rPr lang="zh-CN" altLang="en-US" sz="1000">
                <a:solidFill>
                  <a:schemeClr val="bg1">
                    <a:lumMod val="50000"/>
                  </a:schemeClr>
                </a:solidFill>
                <a:sym typeface="微软雅黑" panose="020b0503020204020204" pitchFamily="34" charset="-122"/>
              </a:rPr>
              <a:t>培训工作。</a:t>
            </a:r>
            <a:endParaRPr lang="zh-CN" altLang="en-US" sz="1000">
              <a:solidFill>
                <a:schemeClr val="bg1">
                  <a:lumMod val="50000"/>
                </a:schemeClr>
              </a:solidFill>
              <a:sym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32" presetClass="emph" presetSubtype="0" fill="hold" grpId="1" nodeType="afterEffect">
                                  <p:stCondLst>
                                    <p:cond delay="0"/>
                                  </p:stCondLst>
                                  <p:childTnLst>
                                    <p:animRot by="120000">
                                      <p:cBhvr>
                                        <p:cTn id="12" dur="100" fill="hold">
                                          <p:stCondLst>
                                            <p:cond delay="0"/>
                                          </p:stCondLst>
                                        </p:cTn>
                                        <p:tgtEl>
                                          <p:spTgt spid="22"/>
                                        </p:tgtEl>
                                        <p:attrNameLst>
                                          <p:attrName>r</p:attrName>
                                        </p:attrNameLst>
                                      </p:cBhvr>
                                    </p:animRot>
                                    <p:animRot by="-240000">
                                      <p:cBhvr>
                                        <p:cTn id="13" dur="200" fill="hold">
                                          <p:stCondLst>
                                            <p:cond delay="200"/>
                                          </p:stCondLst>
                                        </p:cTn>
                                        <p:tgtEl>
                                          <p:spTgt spid="22"/>
                                        </p:tgtEl>
                                        <p:attrNameLst>
                                          <p:attrName>r</p:attrName>
                                        </p:attrNameLst>
                                      </p:cBhvr>
                                    </p:animRot>
                                    <p:animRot by="240000">
                                      <p:cBhvr>
                                        <p:cTn id="14" dur="200" fill="hold">
                                          <p:stCondLst>
                                            <p:cond delay="400"/>
                                          </p:stCondLst>
                                        </p:cTn>
                                        <p:tgtEl>
                                          <p:spTgt spid="22"/>
                                        </p:tgtEl>
                                        <p:attrNameLst>
                                          <p:attrName>r</p:attrName>
                                        </p:attrNameLst>
                                      </p:cBhvr>
                                    </p:animRot>
                                    <p:animRot by="-240000">
                                      <p:cBhvr>
                                        <p:cTn id="15" dur="200" fill="hold">
                                          <p:stCondLst>
                                            <p:cond delay="600"/>
                                          </p:stCondLst>
                                        </p:cTn>
                                        <p:tgtEl>
                                          <p:spTgt spid="22"/>
                                        </p:tgtEl>
                                        <p:attrNameLst>
                                          <p:attrName>r</p:attrName>
                                        </p:attrNameLst>
                                      </p:cBhvr>
                                    </p:animRot>
                                    <p:animRot by="120000">
                                      <p:cBhvr>
                                        <p:cTn id="16" dur="200" fill="hold">
                                          <p:stCondLst>
                                            <p:cond delay="800"/>
                                          </p:stCondLst>
                                        </p:cTn>
                                        <p:tgtEl>
                                          <p:spTgt spid="22"/>
                                        </p:tgtEl>
                                        <p:attrNameLst>
                                          <p:attrName>r</p:attrName>
                                        </p:attrNameLst>
                                      </p:cBhvr>
                                    </p:animRot>
                                  </p:childTnLst>
                                </p:cTn>
                              </p:par>
                            </p:childTnLst>
                          </p:cTn>
                        </p:par>
                        <p:par>
                          <p:cTn id="17" fill="hold" nodeType="afterGroup">
                            <p:stCondLst>
                              <p:cond delay="2000"/>
                            </p:stCondLst>
                            <p:childTnLst>
                              <p:par>
                                <p:cTn id="18" presetID="53" presetClass="entr" presetSubtype="16"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 calcmode="lin" valueType="num">
                                      <p:cBhvr>
                                        <p:cTn id="20" dur="500" fill="hold"/>
                                        <p:tgtEl>
                                          <p:spTgt spid="23"/>
                                        </p:tgtEl>
                                        <p:attrNameLst>
                                          <p:attrName>ppt_w</p:attrName>
                                        </p:attrNameLst>
                                      </p:cBhvr>
                                      <p:tavLst>
                                        <p:tav tm="0">
                                          <p:val>
                                            <p:fltVal val="0"/>
                                          </p:val>
                                        </p:tav>
                                        <p:tav tm="100000">
                                          <p:val>
                                            <p:strVal val="#ppt_w"/>
                                          </p:val>
                                        </p:tav>
                                      </p:tavLst>
                                    </p:anim>
                                    <p:anim calcmode="lin" valueType="num">
                                      <p:cBhvr>
                                        <p:cTn id="21" dur="500" fill="hold"/>
                                        <p:tgtEl>
                                          <p:spTgt spid="23"/>
                                        </p:tgtEl>
                                        <p:attrNameLst>
                                          <p:attrName>ppt_h</p:attrName>
                                        </p:attrNameLst>
                                      </p:cBhvr>
                                      <p:tavLst>
                                        <p:tav tm="0">
                                          <p:val>
                                            <p:fltVal val="0"/>
                                          </p:val>
                                        </p:tav>
                                        <p:tav tm="100000">
                                          <p:val>
                                            <p:strVal val="#ppt_h"/>
                                          </p:val>
                                        </p:tav>
                                      </p:tavLst>
                                    </p:anim>
                                    <p:animEffect transition="in" filter="fade">
                                      <p:cBhvr>
                                        <p:cTn id="22" dur="500"/>
                                        <p:tgtEl>
                                          <p:spTgt spid="23"/>
                                        </p:tgtEl>
                                      </p:cBhvr>
                                    </p:animEffect>
                                  </p:childTnLst>
                                </p:cTn>
                              </p:par>
                              <p:par>
                                <p:cTn id="23" presetID="2" presetClass="entr" presetSubtype="4" fill="hold" grpId="0" nodeType="withEffect">
                                  <p:stCondLst>
                                    <p:cond delay="500"/>
                                  </p:stCondLst>
                                  <p:childTnLst>
                                    <p:set>
                                      <p:cBhvr>
                                        <p:cTn id="24" dur="1" fill="hold">
                                          <p:stCondLst>
                                            <p:cond delay="0"/>
                                          </p:stCondLst>
                                        </p:cTn>
                                        <p:tgtEl>
                                          <p:spTgt spid="24"/>
                                        </p:tgtEl>
                                        <p:attrNameLst>
                                          <p:attrName>style.visibility</p:attrName>
                                        </p:attrNameLst>
                                      </p:cBhvr>
                                      <p:to>
                                        <p:strVal val="visible"/>
                                      </p:to>
                                    </p:set>
                                    <p:anim calcmode="lin" valueType="num">
                                      <p:cBhvr additive="base">
                                        <p:cTn id="25" dur="500" fill="hold"/>
                                        <p:tgtEl>
                                          <p:spTgt spid="24"/>
                                        </p:tgtEl>
                                        <p:attrNameLst>
                                          <p:attrName>ppt_x</p:attrName>
                                        </p:attrNameLst>
                                      </p:cBhvr>
                                      <p:tavLst>
                                        <p:tav tm="0">
                                          <p:val>
                                            <p:strVal val="#ppt_x"/>
                                          </p:val>
                                        </p:tav>
                                        <p:tav tm="100000">
                                          <p:val>
                                            <p:strVal val="#ppt_x"/>
                                          </p:val>
                                        </p:tav>
                                      </p:tavLst>
                                    </p:anim>
                                    <p:anim calcmode="lin" valueType="num">
                                      <p:cBhvr additive="base">
                                        <p:cTn id="26" dur="500" fill="hold"/>
                                        <p:tgtEl>
                                          <p:spTgt spid="24"/>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50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fill="hold"/>
                                        <p:tgtEl>
                                          <p:spTgt spid="25"/>
                                        </p:tgtEl>
                                        <p:attrNameLst>
                                          <p:attrName>ppt_x</p:attrName>
                                        </p:attrNameLst>
                                      </p:cBhvr>
                                      <p:tavLst>
                                        <p:tav tm="0">
                                          <p:val>
                                            <p:strVal val="#ppt_x"/>
                                          </p:val>
                                        </p:tav>
                                        <p:tav tm="100000">
                                          <p:val>
                                            <p:strVal val="#ppt_x"/>
                                          </p:val>
                                        </p:tav>
                                      </p:tavLst>
                                    </p:anim>
                                    <p:anim calcmode="lin" valueType="num">
                                      <p:cBhvr additive="base">
                                        <p:cTn id="30" dur="500" fill="hold"/>
                                        <p:tgtEl>
                                          <p:spTgt spid="25"/>
                                        </p:tgtEl>
                                        <p:attrNameLst>
                                          <p:attrName>ppt_y</p:attrName>
                                        </p:attrNameLst>
                                      </p:cBhvr>
                                      <p:tavLst>
                                        <p:tav tm="0">
                                          <p:val>
                                            <p:strVal val="1+#ppt_h/2"/>
                                          </p:val>
                                        </p:tav>
                                        <p:tav tm="100000">
                                          <p:val>
                                            <p:strVal val="#ppt_y"/>
                                          </p:val>
                                        </p:tav>
                                      </p:tavLst>
                                    </p:anim>
                                  </p:childTnLst>
                                </p:cTn>
                              </p:par>
                            </p:childTnLst>
                          </p:cTn>
                        </p:par>
                        <p:par>
                          <p:cTn id="31" fill="hold" nodeType="afterGroup">
                            <p:stCondLst>
                              <p:cond delay="3000"/>
                            </p:stCondLst>
                            <p:childTnLst>
                              <p:par>
                                <p:cTn id="32" presetID="22" presetClass="entr" presetSubtype="4" fill="hold" nodeType="after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wipe(down)">
                                      <p:cBhvr>
                                        <p:cTn id="34" dur="500"/>
                                        <p:tgtEl>
                                          <p:spTgt spid="10"/>
                                        </p:tgtEl>
                                      </p:cBhvr>
                                    </p:animEffect>
                                  </p:childTnLst>
                                </p:cTn>
                              </p:par>
                              <p:par>
                                <p:cTn id="35" presetID="53" presetClass="entr" presetSubtype="16" fill="hold" grpId="0" nodeType="withEffect">
                                  <p:stCondLst>
                                    <p:cond delay="500"/>
                                  </p:stCondLst>
                                  <p:childTnLst>
                                    <p:set>
                                      <p:cBhvr>
                                        <p:cTn id="36" dur="1" fill="hold">
                                          <p:stCondLst>
                                            <p:cond delay="0"/>
                                          </p:stCondLst>
                                        </p:cTn>
                                        <p:tgtEl>
                                          <p:spTgt spid="12"/>
                                        </p:tgtEl>
                                        <p:attrNameLst>
                                          <p:attrName>style.visibility</p:attrName>
                                        </p:attrNameLst>
                                      </p:cBhvr>
                                      <p:to>
                                        <p:strVal val="visible"/>
                                      </p:to>
                                    </p:set>
                                    <p:anim calcmode="lin" valueType="num">
                                      <p:cBhvr>
                                        <p:cTn id="37" dur="500" fill="hold"/>
                                        <p:tgtEl>
                                          <p:spTgt spid="12"/>
                                        </p:tgtEl>
                                        <p:attrNameLst>
                                          <p:attrName>ppt_w</p:attrName>
                                        </p:attrNameLst>
                                      </p:cBhvr>
                                      <p:tavLst>
                                        <p:tav tm="0">
                                          <p:val>
                                            <p:fltVal val="0"/>
                                          </p:val>
                                        </p:tav>
                                        <p:tav tm="100000">
                                          <p:val>
                                            <p:strVal val="#ppt_w"/>
                                          </p:val>
                                        </p:tav>
                                      </p:tavLst>
                                    </p:anim>
                                    <p:anim calcmode="lin" valueType="num">
                                      <p:cBhvr>
                                        <p:cTn id="38" dur="500" fill="hold"/>
                                        <p:tgtEl>
                                          <p:spTgt spid="12"/>
                                        </p:tgtEl>
                                        <p:attrNameLst>
                                          <p:attrName>ppt_h</p:attrName>
                                        </p:attrNameLst>
                                      </p:cBhvr>
                                      <p:tavLst>
                                        <p:tav tm="0">
                                          <p:val>
                                            <p:fltVal val="0"/>
                                          </p:val>
                                        </p:tav>
                                        <p:tav tm="100000">
                                          <p:val>
                                            <p:strVal val="#ppt_h"/>
                                          </p:val>
                                        </p:tav>
                                      </p:tavLst>
                                    </p:anim>
                                    <p:animEffect transition="in" filter="fade">
                                      <p:cBhvr>
                                        <p:cTn id="39" dur="500"/>
                                        <p:tgtEl>
                                          <p:spTgt spid="12"/>
                                        </p:tgtEl>
                                      </p:cBhvr>
                                    </p:animEffect>
                                  </p:childTnLst>
                                </p:cTn>
                              </p:par>
                              <p:par>
                                <p:cTn id="40" presetID="53" presetClass="entr" presetSubtype="16" fill="hold" grpId="0" nodeType="withEffect">
                                  <p:stCondLst>
                                    <p:cond delay="500"/>
                                  </p:stCondLst>
                                  <p:childTnLst>
                                    <p:set>
                                      <p:cBhvr>
                                        <p:cTn id="41" dur="1" fill="hold">
                                          <p:stCondLst>
                                            <p:cond delay="0"/>
                                          </p:stCondLst>
                                        </p:cTn>
                                        <p:tgtEl>
                                          <p:spTgt spid="13"/>
                                        </p:tgtEl>
                                        <p:attrNameLst>
                                          <p:attrName>style.visibility</p:attrName>
                                        </p:attrNameLst>
                                      </p:cBhvr>
                                      <p:to>
                                        <p:strVal val="visible"/>
                                      </p:to>
                                    </p:set>
                                    <p:anim calcmode="lin" valueType="num">
                                      <p:cBhvr>
                                        <p:cTn id="42" dur="500" fill="hold"/>
                                        <p:tgtEl>
                                          <p:spTgt spid="13"/>
                                        </p:tgtEl>
                                        <p:attrNameLst>
                                          <p:attrName>ppt_w</p:attrName>
                                        </p:attrNameLst>
                                      </p:cBhvr>
                                      <p:tavLst>
                                        <p:tav tm="0">
                                          <p:val>
                                            <p:fltVal val="0"/>
                                          </p:val>
                                        </p:tav>
                                        <p:tav tm="100000">
                                          <p:val>
                                            <p:strVal val="#ppt_w"/>
                                          </p:val>
                                        </p:tav>
                                      </p:tavLst>
                                    </p:anim>
                                    <p:anim calcmode="lin" valueType="num">
                                      <p:cBhvr>
                                        <p:cTn id="43" dur="500" fill="hold"/>
                                        <p:tgtEl>
                                          <p:spTgt spid="13"/>
                                        </p:tgtEl>
                                        <p:attrNameLst>
                                          <p:attrName>ppt_h</p:attrName>
                                        </p:attrNameLst>
                                      </p:cBhvr>
                                      <p:tavLst>
                                        <p:tav tm="0">
                                          <p:val>
                                            <p:fltVal val="0"/>
                                          </p:val>
                                        </p:tav>
                                        <p:tav tm="100000">
                                          <p:val>
                                            <p:strVal val="#ppt_h"/>
                                          </p:val>
                                        </p:tav>
                                      </p:tavLst>
                                    </p:anim>
                                    <p:animEffect transition="in" filter="fade">
                                      <p:cBhvr>
                                        <p:cTn id="44" dur="500"/>
                                        <p:tgtEl>
                                          <p:spTgt spid="13"/>
                                        </p:tgtEl>
                                      </p:cBhvr>
                                    </p:animEffect>
                                  </p:childTnLst>
                                </p:cTn>
                              </p:par>
                              <p:par>
                                <p:cTn id="45" presetID="53" presetClass="entr" presetSubtype="16" fill="hold" grpId="0" nodeType="withEffect">
                                  <p:stCondLst>
                                    <p:cond delay="500"/>
                                  </p:stCondLst>
                                  <p:childTnLst>
                                    <p:set>
                                      <p:cBhvr>
                                        <p:cTn id="46" dur="1" fill="hold">
                                          <p:stCondLst>
                                            <p:cond delay="0"/>
                                          </p:stCondLst>
                                        </p:cTn>
                                        <p:tgtEl>
                                          <p:spTgt spid="26"/>
                                        </p:tgtEl>
                                        <p:attrNameLst>
                                          <p:attrName>style.visibility</p:attrName>
                                        </p:attrNameLst>
                                      </p:cBhvr>
                                      <p:to>
                                        <p:strVal val="visible"/>
                                      </p:to>
                                    </p:set>
                                    <p:anim calcmode="lin" valueType="num">
                                      <p:cBhvr>
                                        <p:cTn id="47" dur="500" fill="hold"/>
                                        <p:tgtEl>
                                          <p:spTgt spid="26"/>
                                        </p:tgtEl>
                                        <p:attrNameLst>
                                          <p:attrName>ppt_w</p:attrName>
                                        </p:attrNameLst>
                                      </p:cBhvr>
                                      <p:tavLst>
                                        <p:tav tm="0">
                                          <p:val>
                                            <p:fltVal val="0"/>
                                          </p:val>
                                        </p:tav>
                                        <p:tav tm="100000">
                                          <p:val>
                                            <p:strVal val="#ppt_w"/>
                                          </p:val>
                                        </p:tav>
                                      </p:tavLst>
                                    </p:anim>
                                    <p:anim calcmode="lin" valueType="num">
                                      <p:cBhvr>
                                        <p:cTn id="48" dur="500" fill="hold"/>
                                        <p:tgtEl>
                                          <p:spTgt spid="26"/>
                                        </p:tgtEl>
                                        <p:attrNameLst>
                                          <p:attrName>ppt_h</p:attrName>
                                        </p:attrNameLst>
                                      </p:cBhvr>
                                      <p:tavLst>
                                        <p:tav tm="0">
                                          <p:val>
                                            <p:fltVal val="0"/>
                                          </p:val>
                                        </p:tav>
                                        <p:tav tm="100000">
                                          <p:val>
                                            <p:strVal val="#ppt_h"/>
                                          </p:val>
                                        </p:tav>
                                      </p:tavLst>
                                    </p:anim>
                                    <p:animEffect transition="in" filter="fade">
                                      <p:cBhvr>
                                        <p:cTn id="49" dur="500"/>
                                        <p:tgtEl>
                                          <p:spTgt spid="26"/>
                                        </p:tgtEl>
                                      </p:cBhvr>
                                    </p:animEffect>
                                  </p:childTnLst>
                                </p:cTn>
                              </p:par>
                              <p:par>
                                <p:cTn id="50" presetID="53" presetClass="entr" presetSubtype="16" fill="hold" grpId="0" nodeType="withEffect">
                                  <p:stCondLst>
                                    <p:cond delay="500"/>
                                  </p:stCondLst>
                                  <p:childTnLst>
                                    <p:set>
                                      <p:cBhvr>
                                        <p:cTn id="51" dur="1" fill="hold">
                                          <p:stCondLst>
                                            <p:cond delay="0"/>
                                          </p:stCondLst>
                                        </p:cTn>
                                        <p:tgtEl>
                                          <p:spTgt spid="27"/>
                                        </p:tgtEl>
                                        <p:attrNameLst>
                                          <p:attrName>style.visibility</p:attrName>
                                        </p:attrNameLst>
                                      </p:cBhvr>
                                      <p:to>
                                        <p:strVal val="visible"/>
                                      </p:to>
                                    </p:set>
                                    <p:anim calcmode="lin" valueType="num">
                                      <p:cBhvr>
                                        <p:cTn id="52" dur="500" fill="hold"/>
                                        <p:tgtEl>
                                          <p:spTgt spid="27"/>
                                        </p:tgtEl>
                                        <p:attrNameLst>
                                          <p:attrName>ppt_w</p:attrName>
                                        </p:attrNameLst>
                                      </p:cBhvr>
                                      <p:tavLst>
                                        <p:tav tm="0">
                                          <p:val>
                                            <p:fltVal val="0"/>
                                          </p:val>
                                        </p:tav>
                                        <p:tav tm="100000">
                                          <p:val>
                                            <p:strVal val="#ppt_w"/>
                                          </p:val>
                                        </p:tav>
                                      </p:tavLst>
                                    </p:anim>
                                    <p:anim calcmode="lin" valueType="num">
                                      <p:cBhvr>
                                        <p:cTn id="53" dur="500" fill="hold"/>
                                        <p:tgtEl>
                                          <p:spTgt spid="27"/>
                                        </p:tgtEl>
                                        <p:attrNameLst>
                                          <p:attrName>ppt_h</p:attrName>
                                        </p:attrNameLst>
                                      </p:cBhvr>
                                      <p:tavLst>
                                        <p:tav tm="0">
                                          <p:val>
                                            <p:fltVal val="0"/>
                                          </p:val>
                                        </p:tav>
                                        <p:tav tm="100000">
                                          <p:val>
                                            <p:strVal val="#ppt_h"/>
                                          </p:val>
                                        </p:tav>
                                      </p:tavLst>
                                    </p:anim>
                                    <p:animEffect transition="in" filter="fade">
                                      <p:cBhvr>
                                        <p:cTn id="54" dur="500"/>
                                        <p:tgtEl>
                                          <p:spTgt spid="27"/>
                                        </p:tgtEl>
                                      </p:cBhvr>
                                    </p:animEffect>
                                  </p:childTnLst>
                                </p:cTn>
                              </p:par>
                            </p:childTnLst>
                          </p:cTn>
                        </p:par>
                        <p:par>
                          <p:cTn id="55" fill="hold" nodeType="afterGroup">
                            <p:stCondLst>
                              <p:cond delay="4000"/>
                            </p:stCondLst>
                            <p:childTnLst>
                              <p:par>
                                <p:cTn id="56" presetID="22" presetClass="entr" presetSubtype="4" fill="hold" nodeType="afterEffect">
                                  <p:stCondLst>
                                    <p:cond delay="0"/>
                                  </p:stCondLst>
                                  <p:childTnLst>
                                    <p:set>
                                      <p:cBhvr>
                                        <p:cTn id="57" dur="1" fill="hold">
                                          <p:stCondLst>
                                            <p:cond delay="0"/>
                                          </p:stCondLst>
                                        </p:cTn>
                                        <p:tgtEl>
                                          <p:spTgt spid="14"/>
                                        </p:tgtEl>
                                        <p:attrNameLst>
                                          <p:attrName>style.visibility</p:attrName>
                                        </p:attrNameLst>
                                      </p:cBhvr>
                                      <p:to>
                                        <p:strVal val="visible"/>
                                      </p:to>
                                    </p:set>
                                    <p:animEffect transition="in" filter="wipe(down)">
                                      <p:cBhvr>
                                        <p:cTn id="58" dur="500"/>
                                        <p:tgtEl>
                                          <p:spTgt spid="14"/>
                                        </p:tgtEl>
                                      </p:cBhvr>
                                    </p:animEffect>
                                  </p:childTnLst>
                                </p:cTn>
                              </p:par>
                              <p:par>
                                <p:cTn id="59" presetID="53" presetClass="entr" presetSubtype="16" fill="hold" grpId="0" nodeType="withEffect">
                                  <p:stCondLst>
                                    <p:cond delay="500"/>
                                  </p:stCondLst>
                                  <p:childTnLst>
                                    <p:set>
                                      <p:cBhvr>
                                        <p:cTn id="60" dur="1" fill="hold">
                                          <p:stCondLst>
                                            <p:cond delay="0"/>
                                          </p:stCondLst>
                                        </p:cTn>
                                        <p:tgtEl>
                                          <p:spTgt spid="16"/>
                                        </p:tgtEl>
                                        <p:attrNameLst>
                                          <p:attrName>style.visibility</p:attrName>
                                        </p:attrNameLst>
                                      </p:cBhvr>
                                      <p:to>
                                        <p:strVal val="visible"/>
                                      </p:to>
                                    </p:set>
                                    <p:anim calcmode="lin" valueType="num">
                                      <p:cBhvr>
                                        <p:cTn id="61" dur="500" fill="hold"/>
                                        <p:tgtEl>
                                          <p:spTgt spid="16"/>
                                        </p:tgtEl>
                                        <p:attrNameLst>
                                          <p:attrName>ppt_w</p:attrName>
                                        </p:attrNameLst>
                                      </p:cBhvr>
                                      <p:tavLst>
                                        <p:tav tm="0">
                                          <p:val>
                                            <p:fltVal val="0"/>
                                          </p:val>
                                        </p:tav>
                                        <p:tav tm="100000">
                                          <p:val>
                                            <p:strVal val="#ppt_w"/>
                                          </p:val>
                                        </p:tav>
                                      </p:tavLst>
                                    </p:anim>
                                    <p:anim calcmode="lin" valueType="num">
                                      <p:cBhvr>
                                        <p:cTn id="62" dur="500" fill="hold"/>
                                        <p:tgtEl>
                                          <p:spTgt spid="16"/>
                                        </p:tgtEl>
                                        <p:attrNameLst>
                                          <p:attrName>ppt_h</p:attrName>
                                        </p:attrNameLst>
                                      </p:cBhvr>
                                      <p:tavLst>
                                        <p:tav tm="0">
                                          <p:val>
                                            <p:fltVal val="0"/>
                                          </p:val>
                                        </p:tav>
                                        <p:tav tm="100000">
                                          <p:val>
                                            <p:strVal val="#ppt_h"/>
                                          </p:val>
                                        </p:tav>
                                      </p:tavLst>
                                    </p:anim>
                                    <p:animEffect transition="in" filter="fade">
                                      <p:cBhvr>
                                        <p:cTn id="63" dur="500"/>
                                        <p:tgtEl>
                                          <p:spTgt spid="16"/>
                                        </p:tgtEl>
                                      </p:cBhvr>
                                    </p:animEffect>
                                  </p:childTnLst>
                                </p:cTn>
                              </p:par>
                              <p:par>
                                <p:cTn id="64" presetID="53" presetClass="entr" presetSubtype="16" fill="hold" grpId="0" nodeType="withEffect">
                                  <p:stCondLst>
                                    <p:cond delay="500"/>
                                  </p:stCondLst>
                                  <p:childTnLst>
                                    <p:set>
                                      <p:cBhvr>
                                        <p:cTn id="65" dur="1" fill="hold">
                                          <p:stCondLst>
                                            <p:cond delay="0"/>
                                          </p:stCondLst>
                                        </p:cTn>
                                        <p:tgtEl>
                                          <p:spTgt spid="17"/>
                                        </p:tgtEl>
                                        <p:attrNameLst>
                                          <p:attrName>style.visibility</p:attrName>
                                        </p:attrNameLst>
                                      </p:cBhvr>
                                      <p:to>
                                        <p:strVal val="visible"/>
                                      </p:to>
                                    </p:set>
                                    <p:anim calcmode="lin" valueType="num">
                                      <p:cBhvr>
                                        <p:cTn id="66" dur="500" fill="hold"/>
                                        <p:tgtEl>
                                          <p:spTgt spid="17"/>
                                        </p:tgtEl>
                                        <p:attrNameLst>
                                          <p:attrName>ppt_w</p:attrName>
                                        </p:attrNameLst>
                                      </p:cBhvr>
                                      <p:tavLst>
                                        <p:tav tm="0">
                                          <p:val>
                                            <p:fltVal val="0"/>
                                          </p:val>
                                        </p:tav>
                                        <p:tav tm="100000">
                                          <p:val>
                                            <p:strVal val="#ppt_w"/>
                                          </p:val>
                                        </p:tav>
                                      </p:tavLst>
                                    </p:anim>
                                    <p:anim calcmode="lin" valueType="num">
                                      <p:cBhvr>
                                        <p:cTn id="67" dur="500" fill="hold"/>
                                        <p:tgtEl>
                                          <p:spTgt spid="17"/>
                                        </p:tgtEl>
                                        <p:attrNameLst>
                                          <p:attrName>ppt_h</p:attrName>
                                        </p:attrNameLst>
                                      </p:cBhvr>
                                      <p:tavLst>
                                        <p:tav tm="0">
                                          <p:val>
                                            <p:fltVal val="0"/>
                                          </p:val>
                                        </p:tav>
                                        <p:tav tm="100000">
                                          <p:val>
                                            <p:strVal val="#ppt_h"/>
                                          </p:val>
                                        </p:tav>
                                      </p:tavLst>
                                    </p:anim>
                                    <p:animEffect transition="in" filter="fade">
                                      <p:cBhvr>
                                        <p:cTn id="68" dur="500"/>
                                        <p:tgtEl>
                                          <p:spTgt spid="17"/>
                                        </p:tgtEl>
                                      </p:cBhvr>
                                    </p:animEffect>
                                  </p:childTnLst>
                                </p:cTn>
                              </p:par>
                              <p:par>
                                <p:cTn id="69" presetID="53" presetClass="entr" presetSubtype="16" fill="hold" grpId="0" nodeType="withEffect">
                                  <p:stCondLst>
                                    <p:cond delay="500"/>
                                  </p:stCondLst>
                                  <p:childTnLst>
                                    <p:set>
                                      <p:cBhvr>
                                        <p:cTn id="70" dur="1" fill="hold">
                                          <p:stCondLst>
                                            <p:cond delay="0"/>
                                          </p:stCondLst>
                                        </p:cTn>
                                        <p:tgtEl>
                                          <p:spTgt spid="28"/>
                                        </p:tgtEl>
                                        <p:attrNameLst>
                                          <p:attrName>style.visibility</p:attrName>
                                        </p:attrNameLst>
                                      </p:cBhvr>
                                      <p:to>
                                        <p:strVal val="visible"/>
                                      </p:to>
                                    </p:set>
                                    <p:anim calcmode="lin" valueType="num">
                                      <p:cBhvr>
                                        <p:cTn id="71" dur="500" fill="hold"/>
                                        <p:tgtEl>
                                          <p:spTgt spid="28"/>
                                        </p:tgtEl>
                                        <p:attrNameLst>
                                          <p:attrName>ppt_w</p:attrName>
                                        </p:attrNameLst>
                                      </p:cBhvr>
                                      <p:tavLst>
                                        <p:tav tm="0">
                                          <p:val>
                                            <p:fltVal val="0"/>
                                          </p:val>
                                        </p:tav>
                                        <p:tav tm="100000">
                                          <p:val>
                                            <p:strVal val="#ppt_w"/>
                                          </p:val>
                                        </p:tav>
                                      </p:tavLst>
                                    </p:anim>
                                    <p:anim calcmode="lin" valueType="num">
                                      <p:cBhvr>
                                        <p:cTn id="72" dur="500" fill="hold"/>
                                        <p:tgtEl>
                                          <p:spTgt spid="28"/>
                                        </p:tgtEl>
                                        <p:attrNameLst>
                                          <p:attrName>ppt_h</p:attrName>
                                        </p:attrNameLst>
                                      </p:cBhvr>
                                      <p:tavLst>
                                        <p:tav tm="0">
                                          <p:val>
                                            <p:fltVal val="0"/>
                                          </p:val>
                                        </p:tav>
                                        <p:tav tm="100000">
                                          <p:val>
                                            <p:strVal val="#ppt_h"/>
                                          </p:val>
                                        </p:tav>
                                      </p:tavLst>
                                    </p:anim>
                                    <p:animEffect transition="in" filter="fade">
                                      <p:cBhvr>
                                        <p:cTn id="73" dur="500"/>
                                        <p:tgtEl>
                                          <p:spTgt spid="28"/>
                                        </p:tgtEl>
                                      </p:cBhvr>
                                    </p:animEffect>
                                  </p:childTnLst>
                                </p:cTn>
                              </p:par>
                              <p:par>
                                <p:cTn id="74" presetID="53" presetClass="entr" presetSubtype="16" fill="hold" grpId="0" nodeType="withEffect">
                                  <p:stCondLst>
                                    <p:cond delay="500"/>
                                  </p:stCondLst>
                                  <p:childTnLst>
                                    <p:set>
                                      <p:cBhvr>
                                        <p:cTn id="75" dur="1" fill="hold">
                                          <p:stCondLst>
                                            <p:cond delay="0"/>
                                          </p:stCondLst>
                                        </p:cTn>
                                        <p:tgtEl>
                                          <p:spTgt spid="29"/>
                                        </p:tgtEl>
                                        <p:attrNameLst>
                                          <p:attrName>style.visibility</p:attrName>
                                        </p:attrNameLst>
                                      </p:cBhvr>
                                      <p:to>
                                        <p:strVal val="visible"/>
                                      </p:to>
                                    </p:set>
                                    <p:anim calcmode="lin" valueType="num">
                                      <p:cBhvr>
                                        <p:cTn id="76" dur="500" fill="hold"/>
                                        <p:tgtEl>
                                          <p:spTgt spid="29"/>
                                        </p:tgtEl>
                                        <p:attrNameLst>
                                          <p:attrName>ppt_w</p:attrName>
                                        </p:attrNameLst>
                                      </p:cBhvr>
                                      <p:tavLst>
                                        <p:tav tm="0">
                                          <p:val>
                                            <p:fltVal val="0"/>
                                          </p:val>
                                        </p:tav>
                                        <p:tav tm="100000">
                                          <p:val>
                                            <p:strVal val="#ppt_w"/>
                                          </p:val>
                                        </p:tav>
                                      </p:tavLst>
                                    </p:anim>
                                    <p:anim calcmode="lin" valueType="num">
                                      <p:cBhvr>
                                        <p:cTn id="77" dur="500" fill="hold"/>
                                        <p:tgtEl>
                                          <p:spTgt spid="29"/>
                                        </p:tgtEl>
                                        <p:attrNameLst>
                                          <p:attrName>ppt_h</p:attrName>
                                        </p:attrNameLst>
                                      </p:cBhvr>
                                      <p:tavLst>
                                        <p:tav tm="0">
                                          <p:val>
                                            <p:fltVal val="0"/>
                                          </p:val>
                                        </p:tav>
                                        <p:tav tm="100000">
                                          <p:val>
                                            <p:strVal val="#ppt_h"/>
                                          </p:val>
                                        </p:tav>
                                      </p:tavLst>
                                    </p:anim>
                                    <p:animEffect transition="in" filter="fade">
                                      <p:cBhvr>
                                        <p:cTn id="78" dur="500"/>
                                        <p:tgtEl>
                                          <p:spTgt spid="29"/>
                                        </p:tgtEl>
                                      </p:cBhvr>
                                    </p:animEffect>
                                  </p:childTnLst>
                                </p:cTn>
                              </p:par>
                            </p:childTnLst>
                          </p:cTn>
                        </p:par>
                        <p:par>
                          <p:cTn id="79" fill="hold" nodeType="afterGroup">
                            <p:stCondLst>
                              <p:cond delay="5000"/>
                            </p:stCondLst>
                            <p:childTnLst>
                              <p:par>
                                <p:cTn id="80" presetID="22" presetClass="entr" presetSubtype="8" fill="hold" nodeType="afterEffect">
                                  <p:stCondLst>
                                    <p:cond delay="0"/>
                                  </p:stCondLst>
                                  <p:childTnLst>
                                    <p:set>
                                      <p:cBhvr>
                                        <p:cTn id="81" dur="1" fill="hold">
                                          <p:stCondLst>
                                            <p:cond delay="0"/>
                                          </p:stCondLst>
                                        </p:cTn>
                                        <p:tgtEl>
                                          <p:spTgt spid="11"/>
                                        </p:tgtEl>
                                        <p:attrNameLst>
                                          <p:attrName>style.visibility</p:attrName>
                                        </p:attrNameLst>
                                      </p:cBhvr>
                                      <p:to>
                                        <p:strVal val="visible"/>
                                      </p:to>
                                    </p:set>
                                    <p:animEffect transition="in" filter="wipe(left)">
                                      <p:cBhvr>
                                        <p:cTn id="82" dur="500"/>
                                        <p:tgtEl>
                                          <p:spTgt spid="11"/>
                                        </p:tgtEl>
                                      </p:cBhvr>
                                    </p:animEffect>
                                  </p:childTnLst>
                                </p:cTn>
                              </p:par>
                              <p:par>
                                <p:cTn id="83" presetID="53" presetClass="entr" presetSubtype="16" fill="hold" grpId="0" nodeType="withEffect">
                                  <p:stCondLst>
                                    <p:cond delay="500"/>
                                  </p:stCondLst>
                                  <p:childTnLst>
                                    <p:set>
                                      <p:cBhvr>
                                        <p:cTn id="84" dur="1" fill="hold">
                                          <p:stCondLst>
                                            <p:cond delay="0"/>
                                          </p:stCondLst>
                                        </p:cTn>
                                        <p:tgtEl>
                                          <p:spTgt spid="18"/>
                                        </p:tgtEl>
                                        <p:attrNameLst>
                                          <p:attrName>style.visibility</p:attrName>
                                        </p:attrNameLst>
                                      </p:cBhvr>
                                      <p:to>
                                        <p:strVal val="visible"/>
                                      </p:to>
                                    </p:set>
                                    <p:anim calcmode="lin" valueType="num">
                                      <p:cBhvr>
                                        <p:cTn id="85" dur="500" fill="hold"/>
                                        <p:tgtEl>
                                          <p:spTgt spid="18"/>
                                        </p:tgtEl>
                                        <p:attrNameLst>
                                          <p:attrName>ppt_w</p:attrName>
                                        </p:attrNameLst>
                                      </p:cBhvr>
                                      <p:tavLst>
                                        <p:tav tm="0">
                                          <p:val>
                                            <p:fltVal val="0"/>
                                          </p:val>
                                        </p:tav>
                                        <p:tav tm="100000">
                                          <p:val>
                                            <p:strVal val="#ppt_w"/>
                                          </p:val>
                                        </p:tav>
                                      </p:tavLst>
                                    </p:anim>
                                    <p:anim calcmode="lin" valueType="num">
                                      <p:cBhvr>
                                        <p:cTn id="86" dur="500" fill="hold"/>
                                        <p:tgtEl>
                                          <p:spTgt spid="18"/>
                                        </p:tgtEl>
                                        <p:attrNameLst>
                                          <p:attrName>ppt_h</p:attrName>
                                        </p:attrNameLst>
                                      </p:cBhvr>
                                      <p:tavLst>
                                        <p:tav tm="0">
                                          <p:val>
                                            <p:fltVal val="0"/>
                                          </p:val>
                                        </p:tav>
                                        <p:tav tm="100000">
                                          <p:val>
                                            <p:strVal val="#ppt_h"/>
                                          </p:val>
                                        </p:tav>
                                      </p:tavLst>
                                    </p:anim>
                                    <p:animEffect transition="in" filter="fade">
                                      <p:cBhvr>
                                        <p:cTn id="87" dur="500"/>
                                        <p:tgtEl>
                                          <p:spTgt spid="18"/>
                                        </p:tgtEl>
                                      </p:cBhvr>
                                    </p:animEffect>
                                  </p:childTnLst>
                                </p:cTn>
                              </p:par>
                              <p:par>
                                <p:cTn id="88" presetID="53" presetClass="entr" presetSubtype="16" fill="hold" grpId="0" nodeType="withEffect">
                                  <p:stCondLst>
                                    <p:cond delay="500"/>
                                  </p:stCondLst>
                                  <p:childTnLst>
                                    <p:set>
                                      <p:cBhvr>
                                        <p:cTn id="89" dur="1" fill="hold">
                                          <p:stCondLst>
                                            <p:cond delay="0"/>
                                          </p:stCondLst>
                                        </p:cTn>
                                        <p:tgtEl>
                                          <p:spTgt spid="19"/>
                                        </p:tgtEl>
                                        <p:attrNameLst>
                                          <p:attrName>style.visibility</p:attrName>
                                        </p:attrNameLst>
                                      </p:cBhvr>
                                      <p:to>
                                        <p:strVal val="visible"/>
                                      </p:to>
                                    </p:set>
                                    <p:anim calcmode="lin" valueType="num">
                                      <p:cBhvr>
                                        <p:cTn id="90" dur="500" fill="hold"/>
                                        <p:tgtEl>
                                          <p:spTgt spid="19"/>
                                        </p:tgtEl>
                                        <p:attrNameLst>
                                          <p:attrName>ppt_w</p:attrName>
                                        </p:attrNameLst>
                                      </p:cBhvr>
                                      <p:tavLst>
                                        <p:tav tm="0">
                                          <p:val>
                                            <p:fltVal val="0"/>
                                          </p:val>
                                        </p:tav>
                                        <p:tav tm="100000">
                                          <p:val>
                                            <p:strVal val="#ppt_w"/>
                                          </p:val>
                                        </p:tav>
                                      </p:tavLst>
                                    </p:anim>
                                    <p:anim calcmode="lin" valueType="num">
                                      <p:cBhvr>
                                        <p:cTn id="91" dur="500" fill="hold"/>
                                        <p:tgtEl>
                                          <p:spTgt spid="19"/>
                                        </p:tgtEl>
                                        <p:attrNameLst>
                                          <p:attrName>ppt_h</p:attrName>
                                        </p:attrNameLst>
                                      </p:cBhvr>
                                      <p:tavLst>
                                        <p:tav tm="0">
                                          <p:val>
                                            <p:fltVal val="0"/>
                                          </p:val>
                                        </p:tav>
                                        <p:tav tm="100000">
                                          <p:val>
                                            <p:strVal val="#ppt_h"/>
                                          </p:val>
                                        </p:tav>
                                      </p:tavLst>
                                    </p:anim>
                                    <p:animEffect transition="in" filter="fade">
                                      <p:cBhvr>
                                        <p:cTn id="92" dur="500"/>
                                        <p:tgtEl>
                                          <p:spTgt spid="19"/>
                                        </p:tgtEl>
                                      </p:cBhvr>
                                    </p:animEffect>
                                  </p:childTnLst>
                                </p:cTn>
                              </p:par>
                              <p:par>
                                <p:cTn id="93" presetID="53" presetClass="entr" presetSubtype="16" fill="hold" grpId="0" nodeType="withEffect">
                                  <p:stCondLst>
                                    <p:cond delay="500"/>
                                  </p:stCondLst>
                                  <p:childTnLst>
                                    <p:set>
                                      <p:cBhvr>
                                        <p:cTn id="94" dur="1" fill="hold">
                                          <p:stCondLst>
                                            <p:cond delay="0"/>
                                          </p:stCondLst>
                                        </p:cTn>
                                        <p:tgtEl>
                                          <p:spTgt spid="30"/>
                                        </p:tgtEl>
                                        <p:attrNameLst>
                                          <p:attrName>style.visibility</p:attrName>
                                        </p:attrNameLst>
                                      </p:cBhvr>
                                      <p:to>
                                        <p:strVal val="visible"/>
                                      </p:to>
                                    </p:set>
                                    <p:anim calcmode="lin" valueType="num">
                                      <p:cBhvr>
                                        <p:cTn id="95" dur="500" fill="hold"/>
                                        <p:tgtEl>
                                          <p:spTgt spid="30"/>
                                        </p:tgtEl>
                                        <p:attrNameLst>
                                          <p:attrName>ppt_w</p:attrName>
                                        </p:attrNameLst>
                                      </p:cBhvr>
                                      <p:tavLst>
                                        <p:tav tm="0">
                                          <p:val>
                                            <p:fltVal val="0"/>
                                          </p:val>
                                        </p:tav>
                                        <p:tav tm="100000">
                                          <p:val>
                                            <p:strVal val="#ppt_w"/>
                                          </p:val>
                                        </p:tav>
                                      </p:tavLst>
                                    </p:anim>
                                    <p:anim calcmode="lin" valueType="num">
                                      <p:cBhvr>
                                        <p:cTn id="96" dur="500" fill="hold"/>
                                        <p:tgtEl>
                                          <p:spTgt spid="30"/>
                                        </p:tgtEl>
                                        <p:attrNameLst>
                                          <p:attrName>ppt_h</p:attrName>
                                        </p:attrNameLst>
                                      </p:cBhvr>
                                      <p:tavLst>
                                        <p:tav tm="0">
                                          <p:val>
                                            <p:fltVal val="0"/>
                                          </p:val>
                                        </p:tav>
                                        <p:tav tm="100000">
                                          <p:val>
                                            <p:strVal val="#ppt_h"/>
                                          </p:val>
                                        </p:tav>
                                      </p:tavLst>
                                    </p:anim>
                                    <p:animEffect transition="in" filter="fade">
                                      <p:cBhvr>
                                        <p:cTn id="97" dur="500"/>
                                        <p:tgtEl>
                                          <p:spTgt spid="30"/>
                                        </p:tgtEl>
                                      </p:cBhvr>
                                    </p:animEffect>
                                  </p:childTnLst>
                                </p:cTn>
                              </p:par>
                              <p:par>
                                <p:cTn id="98" presetID="53" presetClass="entr" presetSubtype="16" fill="hold" grpId="0" nodeType="withEffect">
                                  <p:stCondLst>
                                    <p:cond delay="500"/>
                                  </p:stCondLst>
                                  <p:childTnLst>
                                    <p:set>
                                      <p:cBhvr>
                                        <p:cTn id="99" dur="1" fill="hold">
                                          <p:stCondLst>
                                            <p:cond delay="0"/>
                                          </p:stCondLst>
                                        </p:cTn>
                                        <p:tgtEl>
                                          <p:spTgt spid="31"/>
                                        </p:tgtEl>
                                        <p:attrNameLst>
                                          <p:attrName>style.visibility</p:attrName>
                                        </p:attrNameLst>
                                      </p:cBhvr>
                                      <p:to>
                                        <p:strVal val="visible"/>
                                      </p:to>
                                    </p:set>
                                    <p:anim calcmode="lin" valueType="num">
                                      <p:cBhvr>
                                        <p:cTn id="100" dur="500" fill="hold"/>
                                        <p:tgtEl>
                                          <p:spTgt spid="31"/>
                                        </p:tgtEl>
                                        <p:attrNameLst>
                                          <p:attrName>ppt_w</p:attrName>
                                        </p:attrNameLst>
                                      </p:cBhvr>
                                      <p:tavLst>
                                        <p:tav tm="0">
                                          <p:val>
                                            <p:fltVal val="0"/>
                                          </p:val>
                                        </p:tav>
                                        <p:tav tm="100000">
                                          <p:val>
                                            <p:strVal val="#ppt_w"/>
                                          </p:val>
                                        </p:tav>
                                      </p:tavLst>
                                    </p:anim>
                                    <p:anim calcmode="lin" valueType="num">
                                      <p:cBhvr>
                                        <p:cTn id="101" dur="500" fill="hold"/>
                                        <p:tgtEl>
                                          <p:spTgt spid="31"/>
                                        </p:tgtEl>
                                        <p:attrNameLst>
                                          <p:attrName>ppt_h</p:attrName>
                                        </p:attrNameLst>
                                      </p:cBhvr>
                                      <p:tavLst>
                                        <p:tav tm="0">
                                          <p:val>
                                            <p:fltVal val="0"/>
                                          </p:val>
                                        </p:tav>
                                        <p:tav tm="100000">
                                          <p:val>
                                            <p:strVal val="#ppt_h"/>
                                          </p:val>
                                        </p:tav>
                                      </p:tavLst>
                                    </p:anim>
                                    <p:animEffect transition="in" filter="fade">
                                      <p:cBhvr>
                                        <p:cTn id="102" dur="500"/>
                                        <p:tgtEl>
                                          <p:spTgt spid="31"/>
                                        </p:tgtEl>
                                      </p:cBhvr>
                                    </p:animEffect>
                                  </p:childTnLst>
                                </p:cTn>
                              </p:par>
                            </p:childTnLst>
                          </p:cTn>
                        </p:par>
                        <p:par>
                          <p:cTn id="103" fill="hold" nodeType="afterGroup">
                            <p:stCondLst>
                              <p:cond delay="6000"/>
                            </p:stCondLst>
                            <p:childTnLst>
                              <p:par>
                                <p:cTn id="104" presetID="22" presetClass="entr" presetSubtype="8" fill="hold" nodeType="afterEffect">
                                  <p:stCondLst>
                                    <p:cond delay="0"/>
                                  </p:stCondLst>
                                  <p:childTnLst>
                                    <p:set>
                                      <p:cBhvr>
                                        <p:cTn id="105" dur="1" fill="hold">
                                          <p:stCondLst>
                                            <p:cond delay="0"/>
                                          </p:stCondLst>
                                        </p:cTn>
                                        <p:tgtEl>
                                          <p:spTgt spid="15"/>
                                        </p:tgtEl>
                                        <p:attrNameLst>
                                          <p:attrName>style.visibility</p:attrName>
                                        </p:attrNameLst>
                                      </p:cBhvr>
                                      <p:to>
                                        <p:strVal val="visible"/>
                                      </p:to>
                                    </p:set>
                                    <p:animEffect transition="in" filter="wipe(left)">
                                      <p:cBhvr>
                                        <p:cTn id="106" dur="500"/>
                                        <p:tgtEl>
                                          <p:spTgt spid="15"/>
                                        </p:tgtEl>
                                      </p:cBhvr>
                                    </p:animEffect>
                                  </p:childTnLst>
                                </p:cTn>
                              </p:par>
                              <p:par>
                                <p:cTn id="107" presetID="53" presetClass="entr" presetSubtype="16" fill="hold" grpId="0" nodeType="withEffect">
                                  <p:stCondLst>
                                    <p:cond delay="500"/>
                                  </p:stCondLst>
                                  <p:childTnLst>
                                    <p:set>
                                      <p:cBhvr>
                                        <p:cTn id="108" dur="1" fill="hold">
                                          <p:stCondLst>
                                            <p:cond delay="0"/>
                                          </p:stCondLst>
                                        </p:cTn>
                                        <p:tgtEl>
                                          <p:spTgt spid="20"/>
                                        </p:tgtEl>
                                        <p:attrNameLst>
                                          <p:attrName>style.visibility</p:attrName>
                                        </p:attrNameLst>
                                      </p:cBhvr>
                                      <p:to>
                                        <p:strVal val="visible"/>
                                      </p:to>
                                    </p:set>
                                    <p:anim calcmode="lin" valueType="num">
                                      <p:cBhvr>
                                        <p:cTn id="109" dur="500" fill="hold"/>
                                        <p:tgtEl>
                                          <p:spTgt spid="20"/>
                                        </p:tgtEl>
                                        <p:attrNameLst>
                                          <p:attrName>ppt_w</p:attrName>
                                        </p:attrNameLst>
                                      </p:cBhvr>
                                      <p:tavLst>
                                        <p:tav tm="0">
                                          <p:val>
                                            <p:fltVal val="0"/>
                                          </p:val>
                                        </p:tav>
                                        <p:tav tm="100000">
                                          <p:val>
                                            <p:strVal val="#ppt_w"/>
                                          </p:val>
                                        </p:tav>
                                      </p:tavLst>
                                    </p:anim>
                                    <p:anim calcmode="lin" valueType="num">
                                      <p:cBhvr>
                                        <p:cTn id="110" dur="500" fill="hold"/>
                                        <p:tgtEl>
                                          <p:spTgt spid="20"/>
                                        </p:tgtEl>
                                        <p:attrNameLst>
                                          <p:attrName>ppt_h</p:attrName>
                                        </p:attrNameLst>
                                      </p:cBhvr>
                                      <p:tavLst>
                                        <p:tav tm="0">
                                          <p:val>
                                            <p:fltVal val="0"/>
                                          </p:val>
                                        </p:tav>
                                        <p:tav tm="100000">
                                          <p:val>
                                            <p:strVal val="#ppt_h"/>
                                          </p:val>
                                        </p:tav>
                                      </p:tavLst>
                                    </p:anim>
                                    <p:animEffect transition="in" filter="fade">
                                      <p:cBhvr>
                                        <p:cTn id="111" dur="500"/>
                                        <p:tgtEl>
                                          <p:spTgt spid="20"/>
                                        </p:tgtEl>
                                      </p:cBhvr>
                                    </p:animEffect>
                                  </p:childTnLst>
                                </p:cTn>
                              </p:par>
                              <p:par>
                                <p:cTn id="112" presetID="53" presetClass="entr" presetSubtype="16" fill="hold" grpId="0" nodeType="withEffect">
                                  <p:stCondLst>
                                    <p:cond delay="500"/>
                                  </p:stCondLst>
                                  <p:childTnLst>
                                    <p:set>
                                      <p:cBhvr>
                                        <p:cTn id="113" dur="1" fill="hold">
                                          <p:stCondLst>
                                            <p:cond delay="0"/>
                                          </p:stCondLst>
                                        </p:cTn>
                                        <p:tgtEl>
                                          <p:spTgt spid="21"/>
                                        </p:tgtEl>
                                        <p:attrNameLst>
                                          <p:attrName>style.visibility</p:attrName>
                                        </p:attrNameLst>
                                      </p:cBhvr>
                                      <p:to>
                                        <p:strVal val="visible"/>
                                      </p:to>
                                    </p:set>
                                    <p:anim calcmode="lin" valueType="num">
                                      <p:cBhvr>
                                        <p:cTn id="114" dur="500" fill="hold"/>
                                        <p:tgtEl>
                                          <p:spTgt spid="21"/>
                                        </p:tgtEl>
                                        <p:attrNameLst>
                                          <p:attrName>ppt_w</p:attrName>
                                        </p:attrNameLst>
                                      </p:cBhvr>
                                      <p:tavLst>
                                        <p:tav tm="0">
                                          <p:val>
                                            <p:fltVal val="0"/>
                                          </p:val>
                                        </p:tav>
                                        <p:tav tm="100000">
                                          <p:val>
                                            <p:strVal val="#ppt_w"/>
                                          </p:val>
                                        </p:tav>
                                      </p:tavLst>
                                    </p:anim>
                                    <p:anim calcmode="lin" valueType="num">
                                      <p:cBhvr>
                                        <p:cTn id="115" dur="500" fill="hold"/>
                                        <p:tgtEl>
                                          <p:spTgt spid="21"/>
                                        </p:tgtEl>
                                        <p:attrNameLst>
                                          <p:attrName>ppt_h</p:attrName>
                                        </p:attrNameLst>
                                      </p:cBhvr>
                                      <p:tavLst>
                                        <p:tav tm="0">
                                          <p:val>
                                            <p:fltVal val="0"/>
                                          </p:val>
                                        </p:tav>
                                        <p:tav tm="100000">
                                          <p:val>
                                            <p:strVal val="#ppt_h"/>
                                          </p:val>
                                        </p:tav>
                                      </p:tavLst>
                                    </p:anim>
                                    <p:animEffect transition="in" filter="fade">
                                      <p:cBhvr>
                                        <p:cTn id="116" dur="500"/>
                                        <p:tgtEl>
                                          <p:spTgt spid="21"/>
                                        </p:tgtEl>
                                      </p:cBhvr>
                                    </p:animEffect>
                                  </p:childTnLst>
                                </p:cTn>
                              </p:par>
                              <p:par>
                                <p:cTn id="117" presetID="53" presetClass="entr" presetSubtype="16" fill="hold" grpId="0" nodeType="withEffect">
                                  <p:stCondLst>
                                    <p:cond delay="500"/>
                                  </p:stCondLst>
                                  <p:childTnLst>
                                    <p:set>
                                      <p:cBhvr>
                                        <p:cTn id="118" dur="1" fill="hold">
                                          <p:stCondLst>
                                            <p:cond delay="0"/>
                                          </p:stCondLst>
                                        </p:cTn>
                                        <p:tgtEl>
                                          <p:spTgt spid="32"/>
                                        </p:tgtEl>
                                        <p:attrNameLst>
                                          <p:attrName>style.visibility</p:attrName>
                                        </p:attrNameLst>
                                      </p:cBhvr>
                                      <p:to>
                                        <p:strVal val="visible"/>
                                      </p:to>
                                    </p:set>
                                    <p:anim calcmode="lin" valueType="num">
                                      <p:cBhvr>
                                        <p:cTn id="119" dur="500" fill="hold"/>
                                        <p:tgtEl>
                                          <p:spTgt spid="32"/>
                                        </p:tgtEl>
                                        <p:attrNameLst>
                                          <p:attrName>ppt_w</p:attrName>
                                        </p:attrNameLst>
                                      </p:cBhvr>
                                      <p:tavLst>
                                        <p:tav tm="0">
                                          <p:val>
                                            <p:fltVal val="0"/>
                                          </p:val>
                                        </p:tav>
                                        <p:tav tm="100000">
                                          <p:val>
                                            <p:strVal val="#ppt_w"/>
                                          </p:val>
                                        </p:tav>
                                      </p:tavLst>
                                    </p:anim>
                                    <p:anim calcmode="lin" valueType="num">
                                      <p:cBhvr>
                                        <p:cTn id="120" dur="500" fill="hold"/>
                                        <p:tgtEl>
                                          <p:spTgt spid="32"/>
                                        </p:tgtEl>
                                        <p:attrNameLst>
                                          <p:attrName>ppt_h</p:attrName>
                                        </p:attrNameLst>
                                      </p:cBhvr>
                                      <p:tavLst>
                                        <p:tav tm="0">
                                          <p:val>
                                            <p:fltVal val="0"/>
                                          </p:val>
                                        </p:tav>
                                        <p:tav tm="100000">
                                          <p:val>
                                            <p:strVal val="#ppt_h"/>
                                          </p:val>
                                        </p:tav>
                                      </p:tavLst>
                                    </p:anim>
                                    <p:animEffect transition="in" filter="fade">
                                      <p:cBhvr>
                                        <p:cTn id="121" dur="500"/>
                                        <p:tgtEl>
                                          <p:spTgt spid="32"/>
                                        </p:tgtEl>
                                      </p:cBhvr>
                                    </p:animEffect>
                                  </p:childTnLst>
                                </p:cTn>
                              </p:par>
                              <p:par>
                                <p:cTn id="122" presetID="53" presetClass="entr" presetSubtype="16" fill="hold" grpId="0" nodeType="withEffect">
                                  <p:stCondLst>
                                    <p:cond delay="500"/>
                                  </p:stCondLst>
                                  <p:childTnLst>
                                    <p:set>
                                      <p:cBhvr>
                                        <p:cTn id="123" dur="1" fill="hold">
                                          <p:stCondLst>
                                            <p:cond delay="0"/>
                                          </p:stCondLst>
                                        </p:cTn>
                                        <p:tgtEl>
                                          <p:spTgt spid="33"/>
                                        </p:tgtEl>
                                        <p:attrNameLst>
                                          <p:attrName>style.visibility</p:attrName>
                                        </p:attrNameLst>
                                      </p:cBhvr>
                                      <p:to>
                                        <p:strVal val="visible"/>
                                      </p:to>
                                    </p:set>
                                    <p:anim calcmode="lin" valueType="num">
                                      <p:cBhvr>
                                        <p:cTn id="124" dur="500" fill="hold"/>
                                        <p:tgtEl>
                                          <p:spTgt spid="33"/>
                                        </p:tgtEl>
                                        <p:attrNameLst>
                                          <p:attrName>ppt_w</p:attrName>
                                        </p:attrNameLst>
                                      </p:cBhvr>
                                      <p:tavLst>
                                        <p:tav tm="0">
                                          <p:val>
                                            <p:fltVal val="0"/>
                                          </p:val>
                                        </p:tav>
                                        <p:tav tm="100000">
                                          <p:val>
                                            <p:strVal val="#ppt_w"/>
                                          </p:val>
                                        </p:tav>
                                      </p:tavLst>
                                    </p:anim>
                                    <p:anim calcmode="lin" valueType="num">
                                      <p:cBhvr>
                                        <p:cTn id="125" dur="500" fill="hold"/>
                                        <p:tgtEl>
                                          <p:spTgt spid="33"/>
                                        </p:tgtEl>
                                        <p:attrNameLst>
                                          <p:attrName>ppt_h</p:attrName>
                                        </p:attrNameLst>
                                      </p:cBhvr>
                                      <p:tavLst>
                                        <p:tav tm="0">
                                          <p:val>
                                            <p:fltVal val="0"/>
                                          </p:val>
                                        </p:tav>
                                        <p:tav tm="100000">
                                          <p:val>
                                            <p:strVal val="#ppt_h"/>
                                          </p:val>
                                        </p:tav>
                                      </p:tavLst>
                                    </p:anim>
                                    <p:animEffect transition="in" filter="fade">
                                      <p:cBhvr>
                                        <p:cTn id="126"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6" grpId="0" animBg="1"/>
      <p:bldP spid="17" grpId="0"/>
      <p:bldP spid="18" grpId="0" animBg="1"/>
      <p:bldP spid="19" grpId="0"/>
      <p:bldP spid="20" grpId="0" animBg="1"/>
      <p:bldP spid="21" grpId="0"/>
      <p:bldP spid="22" grpId="0" animBg="1"/>
      <p:bldP spid="22" grpId="1" animBg="1"/>
      <p:bldP spid="23" grpId="0" animBg="1"/>
      <p:bldP spid="24" grpId="0"/>
      <p:bldP spid="25" grpId="0"/>
      <p:bldP spid="26" grpId="0"/>
      <p:bldP spid="27" grpId="0"/>
      <p:bldP spid="28" grpId="0"/>
      <p:bldP spid="29" grpId="0"/>
      <p:bldP spid="30" grpId="0"/>
      <p:bldP spid="31" grpId="0"/>
      <p:bldP spid="32" grpId="0"/>
      <p:bldP spid="33" grpId="0"/>
    </p:bldLst>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5" name="Freeform 6"/>
          <p:cNvSpPr>
            <a:spLocks noChangeArrowheads="1"/>
          </p:cNvSpPr>
          <p:nvPr/>
        </p:nvSpPr>
        <p:spPr bwMode="auto">
          <a:xfrm>
            <a:off x="3340139" y="3105776"/>
            <a:ext cx="2331547" cy="209501"/>
          </a:xfrm>
          <a:custGeom>
            <a:gdLst>
              <a:gd name="T0" fmla="*/ 3061 w 3061"/>
              <a:gd name="T1" fmla="*/ 0 h 274"/>
              <a:gd name="T2" fmla="*/ 1623 w 3061"/>
              <a:gd name="T3" fmla="*/ 0 h 274"/>
              <a:gd name="T4" fmla="*/ 471 w 3061"/>
              <a:gd name="T5" fmla="*/ 0 h 274"/>
              <a:gd name="T6" fmla="*/ 0 w 3061"/>
              <a:gd name="T7" fmla="*/ 274 h 274"/>
              <a:gd name="T8" fmla="*/ 2592 w 3061"/>
              <a:gd name="T9" fmla="*/ 274 h 274"/>
              <a:gd name="T10" fmla="*/ 3061 w 3061"/>
              <a:gd name="T11" fmla="*/ 0 h 274"/>
            </a:gdLst>
            <a:cxnLst>
              <a:cxn ang="0">
                <a:pos x="T0" y="T1"/>
              </a:cxn>
              <a:cxn ang="0">
                <a:pos x="T2" y="T3"/>
              </a:cxn>
              <a:cxn ang="0">
                <a:pos x="T4" y="T5"/>
              </a:cxn>
              <a:cxn ang="0">
                <a:pos x="T6" y="T7"/>
              </a:cxn>
              <a:cxn ang="0">
                <a:pos x="T8" y="T9"/>
              </a:cxn>
              <a:cxn ang="0">
                <a:pos x="T10" y="T11"/>
              </a:cxn>
            </a:cxnLst>
            <a:rect l="0" t="0" r="r" b="b"/>
            <a:pathLst>
              <a:path w="3061" h="274">
                <a:moveTo>
                  <a:pt x="3061" y="0"/>
                </a:moveTo>
                <a:cubicBezTo>
                  <a:pt x="1623" y="0"/>
                  <a:pt x="1623" y="0"/>
                  <a:pt x="1623" y="0"/>
                </a:cubicBezTo>
                <a:cubicBezTo>
                  <a:pt x="471" y="0"/>
                  <a:pt x="471" y="0"/>
                  <a:pt x="471" y="0"/>
                </a:cubicBezTo>
                <a:cubicBezTo>
                  <a:pt x="0" y="274"/>
                  <a:pt x="0" y="274"/>
                  <a:pt x="0" y="274"/>
                </a:cubicBezTo>
                <a:cubicBezTo>
                  <a:pt x="2592" y="274"/>
                  <a:pt x="2592" y="274"/>
                  <a:pt x="2592" y="274"/>
                </a:cubicBezTo>
                <a:cubicBezTo>
                  <a:pt x="2592" y="274"/>
                  <a:pt x="3043" y="9"/>
                  <a:pt x="3061" y="0"/>
                </a:cubicBezTo>
              </a:path>
            </a:pathLst>
          </a:custGeom>
          <a:solidFill>
            <a:schemeClr val="bg1">
              <a:lumMod val="85000"/>
            </a:schemeClr>
          </a:solidFill>
          <a:ln>
            <a:noFill/>
          </a:ln>
        </p:spPr>
        <p:txBody>
          <a:bodyPr lIns="68571" tIns="34285" rIns="68571" bIns="34285"/>
          <a:lstStyle/>
          <a:p>
            <a:endParaRPr lang="zh-CN" altLang="en-US">
              <a:solidFill>
                <a:srgbClr val="000000"/>
              </a:solidFill>
            </a:endParaRPr>
          </a:p>
        </p:txBody>
      </p:sp>
      <p:sp>
        <p:nvSpPr>
          <p:cNvPr id="6" name="Freeform 14"/>
          <p:cNvSpPr>
            <a:spLocks noChangeArrowheads="1"/>
          </p:cNvSpPr>
          <p:nvPr/>
        </p:nvSpPr>
        <p:spPr bwMode="auto">
          <a:xfrm>
            <a:off x="3790253" y="2428467"/>
            <a:ext cx="1489665" cy="133319"/>
          </a:xfrm>
          <a:custGeom>
            <a:gdLst>
              <a:gd name="T0" fmla="*/ 1955 w 1955"/>
              <a:gd name="T1" fmla="*/ 0 h 175"/>
              <a:gd name="T2" fmla="*/ 301 w 1955"/>
              <a:gd name="T3" fmla="*/ 0 h 175"/>
              <a:gd name="T4" fmla="*/ 0 w 1955"/>
              <a:gd name="T5" fmla="*/ 175 h 175"/>
              <a:gd name="T6" fmla="*/ 1655 w 1955"/>
              <a:gd name="T7" fmla="*/ 175 h 175"/>
              <a:gd name="T8" fmla="*/ 1955 w 1955"/>
              <a:gd name="T9" fmla="*/ 0 h 175"/>
            </a:gdLst>
            <a:cxnLst>
              <a:cxn ang="0">
                <a:pos x="T0" y="T1"/>
              </a:cxn>
              <a:cxn ang="0">
                <a:pos x="T2" y="T3"/>
              </a:cxn>
              <a:cxn ang="0">
                <a:pos x="T4" y="T5"/>
              </a:cxn>
              <a:cxn ang="0">
                <a:pos x="T6" y="T7"/>
              </a:cxn>
              <a:cxn ang="0">
                <a:pos x="T8" y="T9"/>
              </a:cxn>
            </a:cxnLst>
            <a:rect l="0" t="0" r="r" b="b"/>
            <a:pathLst>
              <a:path w="1954" h="175">
                <a:moveTo>
                  <a:pt x="1955" y="0"/>
                </a:moveTo>
                <a:cubicBezTo>
                  <a:pt x="301" y="0"/>
                  <a:pt x="301" y="0"/>
                  <a:pt x="301" y="0"/>
                </a:cubicBezTo>
                <a:cubicBezTo>
                  <a:pt x="0" y="175"/>
                  <a:pt x="0" y="175"/>
                  <a:pt x="0" y="175"/>
                </a:cubicBezTo>
                <a:cubicBezTo>
                  <a:pt x="1655" y="175"/>
                  <a:pt x="1655" y="175"/>
                  <a:pt x="1655" y="175"/>
                </a:cubicBezTo>
                <a:cubicBezTo>
                  <a:pt x="1655" y="175"/>
                  <a:pt x="1954" y="0"/>
                  <a:pt x="1955" y="0"/>
                </a:cubicBezTo>
              </a:path>
            </a:pathLst>
          </a:custGeom>
          <a:solidFill>
            <a:schemeClr val="bg1">
              <a:lumMod val="85000"/>
            </a:schemeClr>
          </a:solidFill>
          <a:ln>
            <a:noFill/>
          </a:ln>
        </p:spPr>
        <p:txBody>
          <a:bodyPr lIns="68571" tIns="34285" rIns="68571" bIns="34285"/>
          <a:lstStyle/>
          <a:p>
            <a:endParaRPr lang="zh-CN" altLang="en-US">
              <a:solidFill>
                <a:srgbClr val="000000"/>
              </a:solidFill>
            </a:endParaRPr>
          </a:p>
        </p:txBody>
      </p:sp>
      <p:sp>
        <p:nvSpPr>
          <p:cNvPr id="7" name="Freeform 16"/>
          <p:cNvSpPr>
            <a:spLocks noChangeArrowheads="1"/>
          </p:cNvSpPr>
          <p:nvPr/>
        </p:nvSpPr>
        <p:spPr bwMode="auto">
          <a:xfrm>
            <a:off x="4184401" y="1746398"/>
            <a:ext cx="702560" cy="135700"/>
          </a:xfrm>
          <a:custGeom>
            <a:gdLst>
              <a:gd name="T0" fmla="*/ 921 w 922"/>
              <a:gd name="T1" fmla="*/ 0 h 179"/>
              <a:gd name="T2" fmla="*/ 298 w 922"/>
              <a:gd name="T3" fmla="*/ 0 h 179"/>
              <a:gd name="T4" fmla="*/ 0 w 922"/>
              <a:gd name="T5" fmla="*/ 179 h 179"/>
              <a:gd name="T6" fmla="*/ 626 w 922"/>
              <a:gd name="T7" fmla="*/ 179 h 179"/>
              <a:gd name="T8" fmla="*/ 921 w 922"/>
              <a:gd name="T9" fmla="*/ 0 h 179"/>
            </a:gdLst>
            <a:cxnLst>
              <a:cxn ang="0">
                <a:pos x="T0" y="T1"/>
              </a:cxn>
              <a:cxn ang="0">
                <a:pos x="T2" y="T3"/>
              </a:cxn>
              <a:cxn ang="0">
                <a:pos x="T4" y="T5"/>
              </a:cxn>
              <a:cxn ang="0">
                <a:pos x="T6" y="T7"/>
              </a:cxn>
              <a:cxn ang="0">
                <a:pos x="T8" y="T9"/>
              </a:cxn>
            </a:cxnLst>
            <a:rect l="0" t="0" r="r" b="b"/>
            <a:pathLst>
              <a:path w="922" h="179">
                <a:moveTo>
                  <a:pt x="921" y="0"/>
                </a:moveTo>
                <a:cubicBezTo>
                  <a:pt x="298" y="0"/>
                  <a:pt x="298" y="0"/>
                  <a:pt x="298" y="0"/>
                </a:cubicBezTo>
                <a:cubicBezTo>
                  <a:pt x="298" y="0"/>
                  <a:pt x="2" y="179"/>
                  <a:pt x="0" y="179"/>
                </a:cubicBezTo>
                <a:cubicBezTo>
                  <a:pt x="626" y="179"/>
                  <a:pt x="626" y="179"/>
                  <a:pt x="626" y="179"/>
                </a:cubicBezTo>
                <a:cubicBezTo>
                  <a:pt x="626" y="179"/>
                  <a:pt x="922" y="0"/>
                  <a:pt x="921" y="0"/>
                </a:cubicBezTo>
              </a:path>
            </a:pathLst>
          </a:custGeom>
          <a:solidFill>
            <a:schemeClr val="bg1">
              <a:lumMod val="85000"/>
            </a:schemeClr>
          </a:solidFill>
          <a:ln>
            <a:noFill/>
          </a:ln>
        </p:spPr>
        <p:txBody>
          <a:bodyPr lIns="68571" tIns="34285" rIns="68571" bIns="34285"/>
          <a:lstStyle/>
          <a:p>
            <a:endParaRPr lang="zh-CN" altLang="en-US">
              <a:solidFill>
                <a:srgbClr val="000000"/>
              </a:solidFill>
            </a:endParaRPr>
          </a:p>
        </p:txBody>
      </p:sp>
      <p:sp>
        <p:nvSpPr>
          <p:cNvPr id="9" name="Freeform 7"/>
          <p:cNvSpPr>
            <a:spLocks noChangeArrowheads="1"/>
          </p:cNvSpPr>
          <p:nvPr/>
        </p:nvSpPr>
        <p:spPr bwMode="auto">
          <a:xfrm>
            <a:off x="2856682" y="3315278"/>
            <a:ext cx="3421111" cy="853480"/>
          </a:xfrm>
          <a:custGeom>
            <a:gdLst>
              <a:gd name="T0" fmla="*/ 508 w 3590"/>
              <a:gd name="T1" fmla="*/ 0 h 895"/>
              <a:gd name="T2" fmla="*/ 0 w 3590"/>
              <a:gd name="T3" fmla="*/ 895 h 895"/>
              <a:gd name="T4" fmla="*/ 1795 w 3590"/>
              <a:gd name="T5" fmla="*/ 895 h 895"/>
              <a:gd name="T6" fmla="*/ 3590 w 3590"/>
              <a:gd name="T7" fmla="*/ 895 h 895"/>
              <a:gd name="T8" fmla="*/ 3082 w 3590"/>
              <a:gd name="T9" fmla="*/ 0 h 895"/>
              <a:gd name="T10" fmla="*/ 508 w 3590"/>
              <a:gd name="T11" fmla="*/ 0 h 895"/>
            </a:gdLst>
            <a:cxnLst>
              <a:cxn ang="0">
                <a:pos x="T0" y="T1"/>
              </a:cxn>
              <a:cxn ang="0">
                <a:pos x="T2" y="T3"/>
              </a:cxn>
              <a:cxn ang="0">
                <a:pos x="T4" y="T5"/>
              </a:cxn>
              <a:cxn ang="0">
                <a:pos x="T6" y="T7"/>
              </a:cxn>
              <a:cxn ang="0">
                <a:pos x="T8" y="T9"/>
              </a:cxn>
              <a:cxn ang="0">
                <a:pos x="T10" y="T11"/>
              </a:cxn>
            </a:cxnLst>
            <a:rect l="0" t="0" r="r" b="b"/>
            <a:pathLst>
              <a:path w="3589" h="895">
                <a:moveTo>
                  <a:pt x="508" y="0"/>
                </a:moveTo>
                <a:lnTo>
                  <a:pt x="0" y="895"/>
                </a:lnTo>
                <a:lnTo>
                  <a:pt x="1795" y="895"/>
                </a:lnTo>
                <a:lnTo>
                  <a:pt x="3590" y="895"/>
                </a:lnTo>
                <a:lnTo>
                  <a:pt x="3082" y="0"/>
                </a:lnTo>
                <a:lnTo>
                  <a:pt x="508" y="0"/>
                </a:lnTo>
                <a:close/>
              </a:path>
            </a:pathLst>
          </a:custGeom>
          <a:solidFill>
            <a:schemeClr val="accent4"/>
          </a:solidFill>
          <a:ln>
            <a:noFill/>
          </a:ln>
        </p:spPr>
        <p:txBody>
          <a:bodyPr lIns="68571" tIns="34285" rIns="68571" bIns="34285"/>
          <a:lstStyle/>
          <a:p>
            <a:endParaRPr lang="zh-CN" altLang="en-US">
              <a:solidFill>
                <a:srgbClr val="000000"/>
              </a:solidFill>
            </a:endParaRPr>
          </a:p>
        </p:txBody>
      </p:sp>
      <p:sp>
        <p:nvSpPr>
          <p:cNvPr id="10" name="Freeform 8"/>
          <p:cNvSpPr>
            <a:spLocks noChangeArrowheads="1"/>
          </p:cNvSpPr>
          <p:nvPr/>
        </p:nvSpPr>
        <p:spPr bwMode="auto">
          <a:xfrm>
            <a:off x="4266565" y="1203598"/>
            <a:ext cx="620396" cy="542799"/>
          </a:xfrm>
          <a:custGeom>
            <a:gdLst>
              <a:gd name="T0" fmla="*/ 651 w 651"/>
              <a:gd name="T1" fmla="*/ 570 h 570"/>
              <a:gd name="T2" fmla="*/ 325 w 651"/>
              <a:gd name="T3" fmla="*/ 0 h 570"/>
              <a:gd name="T4" fmla="*/ 0 w 651"/>
              <a:gd name="T5" fmla="*/ 570 h 570"/>
              <a:gd name="T6" fmla="*/ 651 w 651"/>
              <a:gd name="T7" fmla="*/ 570 h 570"/>
            </a:gdLst>
            <a:cxnLst>
              <a:cxn ang="0">
                <a:pos x="T0" y="T1"/>
              </a:cxn>
              <a:cxn ang="0">
                <a:pos x="T2" y="T3"/>
              </a:cxn>
              <a:cxn ang="0">
                <a:pos x="T4" y="T5"/>
              </a:cxn>
              <a:cxn ang="0">
                <a:pos x="T6" y="T7"/>
              </a:cxn>
            </a:cxnLst>
            <a:rect l="0" t="0" r="r" b="b"/>
            <a:pathLst>
              <a:path w="651" h="570">
                <a:moveTo>
                  <a:pt x="651" y="570"/>
                </a:moveTo>
                <a:lnTo>
                  <a:pt x="325" y="0"/>
                </a:lnTo>
                <a:lnTo>
                  <a:pt x="0" y="570"/>
                </a:lnTo>
                <a:lnTo>
                  <a:pt x="651" y="570"/>
                </a:lnTo>
                <a:close/>
              </a:path>
            </a:pathLst>
          </a:custGeom>
          <a:solidFill>
            <a:schemeClr val="accent1"/>
          </a:solidFill>
          <a:ln>
            <a:noFill/>
          </a:ln>
        </p:spPr>
        <p:txBody>
          <a:bodyPr lIns="68571" tIns="34285" rIns="68571" bIns="34285"/>
          <a:lstStyle/>
          <a:p>
            <a:endParaRPr lang="zh-CN" altLang="en-US">
              <a:solidFill>
                <a:srgbClr val="000000"/>
              </a:solidFill>
            </a:endParaRPr>
          </a:p>
        </p:txBody>
      </p:sp>
      <p:sp>
        <p:nvSpPr>
          <p:cNvPr id="11" name="Freeform 10"/>
          <p:cNvSpPr>
            <a:spLocks noChangeArrowheads="1"/>
          </p:cNvSpPr>
          <p:nvPr/>
        </p:nvSpPr>
        <p:spPr bwMode="auto">
          <a:xfrm>
            <a:off x="3872417" y="1882097"/>
            <a:ext cx="1407502" cy="546370"/>
          </a:xfrm>
          <a:custGeom>
            <a:gdLst>
              <a:gd name="T0" fmla="*/ 1313 w 1477"/>
              <a:gd name="T1" fmla="*/ 287 h 573"/>
              <a:gd name="T2" fmla="*/ 1150 w 1477"/>
              <a:gd name="T3" fmla="*/ 0 h 573"/>
              <a:gd name="T4" fmla="*/ 327 w 1477"/>
              <a:gd name="T5" fmla="*/ 0 h 573"/>
              <a:gd name="T6" fmla="*/ 164 w 1477"/>
              <a:gd name="T7" fmla="*/ 287 h 573"/>
              <a:gd name="T8" fmla="*/ 0 w 1477"/>
              <a:gd name="T9" fmla="*/ 573 h 573"/>
              <a:gd name="T10" fmla="*/ 1477 w 1477"/>
              <a:gd name="T11" fmla="*/ 573 h 573"/>
              <a:gd name="T12" fmla="*/ 1313 w 1477"/>
              <a:gd name="T13" fmla="*/ 287 h 573"/>
            </a:gdLst>
            <a:cxnLst>
              <a:cxn ang="0">
                <a:pos x="T0" y="T1"/>
              </a:cxn>
              <a:cxn ang="0">
                <a:pos x="T2" y="T3"/>
              </a:cxn>
              <a:cxn ang="0">
                <a:pos x="T4" y="T5"/>
              </a:cxn>
              <a:cxn ang="0">
                <a:pos x="T6" y="T7"/>
              </a:cxn>
              <a:cxn ang="0">
                <a:pos x="T8" y="T9"/>
              </a:cxn>
              <a:cxn ang="0">
                <a:pos x="T10" y="T11"/>
              </a:cxn>
              <a:cxn ang="0">
                <a:pos x="T12" y="T13"/>
              </a:cxn>
            </a:cxnLst>
            <a:rect l="0" t="0" r="r" b="b"/>
            <a:pathLst>
              <a:path w="1477" h="573">
                <a:moveTo>
                  <a:pt x="1313" y="287"/>
                </a:moveTo>
                <a:lnTo>
                  <a:pt x="1150" y="0"/>
                </a:lnTo>
                <a:lnTo>
                  <a:pt x="327" y="0"/>
                </a:lnTo>
                <a:lnTo>
                  <a:pt x="164" y="287"/>
                </a:lnTo>
                <a:lnTo>
                  <a:pt x="0" y="573"/>
                </a:lnTo>
                <a:lnTo>
                  <a:pt x="1477" y="573"/>
                </a:lnTo>
                <a:lnTo>
                  <a:pt x="1313" y="287"/>
                </a:lnTo>
              </a:path>
            </a:pathLst>
          </a:custGeom>
          <a:solidFill>
            <a:schemeClr val="accent2"/>
          </a:solidFill>
          <a:ln>
            <a:noFill/>
          </a:ln>
        </p:spPr>
        <p:txBody>
          <a:bodyPr lIns="68571" tIns="34285" rIns="68571" bIns="34285"/>
          <a:lstStyle/>
          <a:p>
            <a:endParaRPr lang="zh-CN" altLang="en-US">
              <a:solidFill>
                <a:srgbClr val="000000"/>
              </a:solidFill>
            </a:endParaRPr>
          </a:p>
        </p:txBody>
      </p:sp>
      <p:sp>
        <p:nvSpPr>
          <p:cNvPr id="12" name="Freeform 12"/>
          <p:cNvSpPr>
            <a:spLocks noChangeArrowheads="1"/>
          </p:cNvSpPr>
          <p:nvPr/>
        </p:nvSpPr>
        <p:spPr bwMode="auto">
          <a:xfrm>
            <a:off x="3480650" y="2559406"/>
            <a:ext cx="2191035" cy="546371"/>
          </a:xfrm>
          <a:custGeom>
            <a:gdLst>
              <a:gd name="T0" fmla="*/ 325 w 2299"/>
              <a:gd name="T1" fmla="*/ 0 h 574"/>
              <a:gd name="T2" fmla="*/ 0 w 2299"/>
              <a:gd name="T3" fmla="*/ 574 h 574"/>
              <a:gd name="T4" fmla="*/ 1149 w 2299"/>
              <a:gd name="T5" fmla="*/ 574 h 574"/>
              <a:gd name="T6" fmla="*/ 2299 w 2299"/>
              <a:gd name="T7" fmla="*/ 574 h 574"/>
              <a:gd name="T8" fmla="*/ 1974 w 2299"/>
              <a:gd name="T9" fmla="*/ 0 h 574"/>
              <a:gd name="T10" fmla="*/ 325 w 2299"/>
              <a:gd name="T11" fmla="*/ 0 h 574"/>
            </a:gdLst>
            <a:cxnLst>
              <a:cxn ang="0">
                <a:pos x="T0" y="T1"/>
              </a:cxn>
              <a:cxn ang="0">
                <a:pos x="T2" y="T3"/>
              </a:cxn>
              <a:cxn ang="0">
                <a:pos x="T4" y="T5"/>
              </a:cxn>
              <a:cxn ang="0">
                <a:pos x="T6" y="T7"/>
              </a:cxn>
              <a:cxn ang="0">
                <a:pos x="T8" y="T9"/>
              </a:cxn>
              <a:cxn ang="0">
                <a:pos x="T10" y="T11"/>
              </a:cxn>
            </a:cxnLst>
            <a:rect l="0" t="0" r="r" b="b"/>
            <a:pathLst>
              <a:path w="2299" h="574">
                <a:moveTo>
                  <a:pt x="325" y="0"/>
                </a:moveTo>
                <a:lnTo>
                  <a:pt x="0" y="574"/>
                </a:lnTo>
                <a:lnTo>
                  <a:pt x="1149" y="574"/>
                </a:lnTo>
                <a:lnTo>
                  <a:pt x="2299" y="574"/>
                </a:lnTo>
                <a:lnTo>
                  <a:pt x="1974" y="0"/>
                </a:lnTo>
                <a:lnTo>
                  <a:pt x="325" y="0"/>
                </a:lnTo>
              </a:path>
            </a:pathLst>
          </a:custGeom>
          <a:solidFill>
            <a:schemeClr val="accent3"/>
          </a:solidFill>
          <a:ln>
            <a:noFill/>
          </a:ln>
        </p:spPr>
        <p:txBody>
          <a:bodyPr lIns="68571" tIns="34285" rIns="68571" bIns="34285"/>
          <a:lstStyle/>
          <a:p>
            <a:endParaRPr lang="zh-CN" altLang="en-US">
              <a:solidFill>
                <a:srgbClr val="000000"/>
              </a:solidFill>
            </a:endParaRPr>
          </a:p>
        </p:txBody>
      </p:sp>
      <p:grpSp>
        <p:nvGrpSpPr>
          <p:cNvPr id="4" name="组合 12"/>
          <p:cNvGrpSpPr/>
          <p:nvPr/>
        </p:nvGrpSpPr>
        <p:grpSpPr>
          <a:xfrm>
            <a:off x="4469885" y="1384682"/>
            <a:ext cx="188553" cy="279292"/>
            <a:chOff x="1788810" y="2276744"/>
            <a:chExt cx="392113" cy="581026"/>
          </a:xfrm>
          <a:solidFill>
            <a:srgbClr val="FEFEFE"/>
          </a:solidFill>
        </p:grpSpPr>
        <p:sp>
          <p:nvSpPr>
            <p:cNvPr id="14" name="Freeform 9"/>
            <p:cNvSpPr>
              <a:spLocks noEditPoints="1"/>
            </p:cNvSpPr>
            <p:nvPr/>
          </p:nvSpPr>
          <p:spPr bwMode="auto">
            <a:xfrm>
              <a:off x="1788810" y="2276744"/>
              <a:ext cx="392113" cy="430213"/>
            </a:xfrm>
            <a:custGeom>
              <a:gdLst>
                <a:gd name="T0" fmla="*/ 108 w 149"/>
                <a:gd name="T1" fmla="*/ 163 h 163"/>
                <a:gd name="T2" fmla="*/ 35 w 149"/>
                <a:gd name="T3" fmla="*/ 163 h 163"/>
                <a:gd name="T4" fmla="*/ 35 w 149"/>
                <a:gd name="T5" fmla="*/ 158 h 163"/>
                <a:gd name="T6" fmla="*/ 30 w 149"/>
                <a:gd name="T7" fmla="*/ 142 h 163"/>
                <a:gd name="T8" fmla="*/ 21 w 149"/>
                <a:gd name="T9" fmla="*/ 127 h 163"/>
                <a:gd name="T10" fmla="*/ 0 w 149"/>
                <a:gd name="T11" fmla="*/ 74 h 163"/>
                <a:gd name="T12" fmla="*/ 74 w 149"/>
                <a:gd name="T13" fmla="*/ 0 h 163"/>
                <a:gd name="T14" fmla="*/ 149 w 149"/>
                <a:gd name="T15" fmla="*/ 74 h 163"/>
                <a:gd name="T16" fmla="*/ 127 w 149"/>
                <a:gd name="T17" fmla="*/ 127 h 163"/>
                <a:gd name="T18" fmla="*/ 118 w 149"/>
                <a:gd name="T19" fmla="*/ 142 h 163"/>
                <a:gd name="T20" fmla="*/ 114 w 149"/>
                <a:gd name="T21" fmla="*/ 158 h 163"/>
                <a:gd name="T22" fmla="*/ 113 w 149"/>
                <a:gd name="T23" fmla="*/ 163 h 163"/>
                <a:gd name="T24" fmla="*/ 108 w 149"/>
                <a:gd name="T25" fmla="*/ 163 h 163"/>
                <a:gd name="T26" fmla="*/ 46 w 149"/>
                <a:gd name="T27" fmla="*/ 151 h 163"/>
                <a:gd name="T28" fmla="*/ 103 w 149"/>
                <a:gd name="T29" fmla="*/ 151 h 163"/>
                <a:gd name="T30" fmla="*/ 108 w 149"/>
                <a:gd name="T31" fmla="*/ 136 h 163"/>
                <a:gd name="T32" fmla="*/ 117 w 149"/>
                <a:gd name="T33" fmla="*/ 120 h 163"/>
                <a:gd name="T34" fmla="*/ 136 w 149"/>
                <a:gd name="T35" fmla="*/ 74 h 163"/>
                <a:gd name="T36" fmla="*/ 74 w 149"/>
                <a:gd name="T37" fmla="*/ 12 h 163"/>
                <a:gd name="T38" fmla="*/ 12 w 149"/>
                <a:gd name="T39" fmla="*/ 74 h 163"/>
                <a:gd name="T40" fmla="*/ 31 w 149"/>
                <a:gd name="T41" fmla="*/ 120 h 163"/>
                <a:gd name="T42" fmla="*/ 41 w 149"/>
                <a:gd name="T43" fmla="*/ 136 h 163"/>
                <a:gd name="T44" fmla="*/ 46 w 149"/>
                <a:gd name="T45" fmla="*/ 151 h 1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63">
                  <a:moveTo>
                    <a:pt x="108" y="163"/>
                  </a:moveTo>
                  <a:cubicBezTo>
                    <a:pt x="35" y="163"/>
                    <a:pt x="35" y="163"/>
                    <a:pt x="35" y="163"/>
                  </a:cubicBezTo>
                  <a:cubicBezTo>
                    <a:pt x="35" y="158"/>
                    <a:pt x="35" y="158"/>
                    <a:pt x="35" y="158"/>
                  </a:cubicBezTo>
                  <a:cubicBezTo>
                    <a:pt x="34" y="153"/>
                    <a:pt x="32" y="144"/>
                    <a:pt x="30" y="142"/>
                  </a:cubicBezTo>
                  <a:cubicBezTo>
                    <a:pt x="28" y="137"/>
                    <a:pt x="24" y="132"/>
                    <a:pt x="21" y="127"/>
                  </a:cubicBezTo>
                  <a:cubicBezTo>
                    <a:pt x="11" y="112"/>
                    <a:pt x="0" y="95"/>
                    <a:pt x="0" y="74"/>
                  </a:cubicBezTo>
                  <a:cubicBezTo>
                    <a:pt x="0" y="33"/>
                    <a:pt x="33" y="0"/>
                    <a:pt x="74" y="0"/>
                  </a:cubicBezTo>
                  <a:cubicBezTo>
                    <a:pt x="115" y="0"/>
                    <a:pt x="149" y="33"/>
                    <a:pt x="149" y="74"/>
                  </a:cubicBezTo>
                  <a:cubicBezTo>
                    <a:pt x="149" y="95"/>
                    <a:pt x="138" y="112"/>
                    <a:pt x="127" y="127"/>
                  </a:cubicBezTo>
                  <a:cubicBezTo>
                    <a:pt x="124" y="132"/>
                    <a:pt x="121" y="137"/>
                    <a:pt x="118" y="142"/>
                  </a:cubicBezTo>
                  <a:cubicBezTo>
                    <a:pt x="117" y="144"/>
                    <a:pt x="115" y="153"/>
                    <a:pt x="114" y="158"/>
                  </a:cubicBezTo>
                  <a:cubicBezTo>
                    <a:pt x="113" y="163"/>
                    <a:pt x="113" y="163"/>
                    <a:pt x="113" y="163"/>
                  </a:cubicBezTo>
                  <a:lnTo>
                    <a:pt x="108" y="163"/>
                  </a:lnTo>
                  <a:close/>
                  <a:moveTo>
                    <a:pt x="46" y="151"/>
                  </a:moveTo>
                  <a:cubicBezTo>
                    <a:pt x="103" y="151"/>
                    <a:pt x="103" y="151"/>
                    <a:pt x="103" y="151"/>
                  </a:cubicBezTo>
                  <a:cubicBezTo>
                    <a:pt x="104" y="146"/>
                    <a:pt x="105" y="139"/>
                    <a:pt x="108" y="136"/>
                  </a:cubicBezTo>
                  <a:cubicBezTo>
                    <a:pt x="111" y="130"/>
                    <a:pt x="114" y="125"/>
                    <a:pt x="117" y="120"/>
                  </a:cubicBezTo>
                  <a:cubicBezTo>
                    <a:pt x="127" y="106"/>
                    <a:pt x="136" y="92"/>
                    <a:pt x="136" y="74"/>
                  </a:cubicBezTo>
                  <a:cubicBezTo>
                    <a:pt x="136" y="40"/>
                    <a:pt x="109" y="12"/>
                    <a:pt x="74" y="12"/>
                  </a:cubicBezTo>
                  <a:cubicBezTo>
                    <a:pt x="40" y="12"/>
                    <a:pt x="12" y="40"/>
                    <a:pt x="12" y="74"/>
                  </a:cubicBezTo>
                  <a:cubicBezTo>
                    <a:pt x="12" y="92"/>
                    <a:pt x="21" y="106"/>
                    <a:pt x="31" y="120"/>
                  </a:cubicBezTo>
                  <a:cubicBezTo>
                    <a:pt x="35" y="125"/>
                    <a:pt x="38" y="130"/>
                    <a:pt x="41" y="136"/>
                  </a:cubicBezTo>
                  <a:cubicBezTo>
                    <a:pt x="43" y="139"/>
                    <a:pt x="45" y="146"/>
                    <a:pt x="46" y="1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solidFill>
                  <a:prstClr val="white"/>
                </a:solidFill>
              </a:endParaRPr>
            </a:p>
          </p:txBody>
        </p:sp>
        <p:sp>
          <p:nvSpPr>
            <p:cNvPr id="15" name="Freeform 10"/>
            <p:cNvSpPr/>
            <p:nvPr/>
          </p:nvSpPr>
          <p:spPr bwMode="auto">
            <a:xfrm>
              <a:off x="1884060" y="2729182"/>
              <a:ext cx="195263" cy="128588"/>
            </a:xfrm>
            <a:custGeom>
              <a:gdLst>
                <a:gd name="T0" fmla="*/ 0 w 74"/>
                <a:gd name="T1" fmla="*/ 0 h 49"/>
                <a:gd name="T2" fmla="*/ 0 w 74"/>
                <a:gd name="T3" fmla="*/ 20 h 49"/>
                <a:gd name="T4" fmla="*/ 37 w 74"/>
                <a:gd name="T5" fmla="*/ 49 h 49"/>
                <a:gd name="T6" fmla="*/ 41 w 74"/>
                <a:gd name="T7" fmla="*/ 49 h 49"/>
                <a:gd name="T8" fmla="*/ 74 w 74"/>
                <a:gd name="T9" fmla="*/ 20 h 49"/>
                <a:gd name="T10" fmla="*/ 74 w 74"/>
                <a:gd name="T11" fmla="*/ 0 h 49"/>
                <a:gd name="T12" fmla="*/ 0 w 74"/>
                <a:gd name="T13" fmla="*/ 0 h 49"/>
              </a:gdLst>
              <a:cxnLst>
                <a:cxn ang="0">
                  <a:pos x="T0" y="T1"/>
                </a:cxn>
                <a:cxn ang="0">
                  <a:pos x="T2" y="T3"/>
                </a:cxn>
                <a:cxn ang="0">
                  <a:pos x="T4" y="T5"/>
                </a:cxn>
                <a:cxn ang="0">
                  <a:pos x="T6" y="T7"/>
                </a:cxn>
                <a:cxn ang="0">
                  <a:pos x="T8" y="T9"/>
                </a:cxn>
                <a:cxn ang="0">
                  <a:pos x="T10" y="T11"/>
                </a:cxn>
                <a:cxn ang="0">
                  <a:pos x="T12" y="T13"/>
                </a:cxn>
              </a:cxnLst>
              <a:rect l="0" t="0" r="r" b="b"/>
              <a:pathLst>
                <a:path w="74" h="49">
                  <a:moveTo>
                    <a:pt x="0" y="0"/>
                  </a:moveTo>
                  <a:cubicBezTo>
                    <a:pt x="0" y="20"/>
                    <a:pt x="0" y="20"/>
                    <a:pt x="0" y="20"/>
                  </a:cubicBezTo>
                  <a:cubicBezTo>
                    <a:pt x="0" y="36"/>
                    <a:pt x="17" y="49"/>
                    <a:pt x="37" y="49"/>
                  </a:cubicBezTo>
                  <a:cubicBezTo>
                    <a:pt x="41" y="49"/>
                    <a:pt x="41" y="49"/>
                    <a:pt x="41" y="49"/>
                  </a:cubicBezTo>
                  <a:cubicBezTo>
                    <a:pt x="61" y="49"/>
                    <a:pt x="74" y="36"/>
                    <a:pt x="74" y="20"/>
                  </a:cubicBezTo>
                  <a:cubicBezTo>
                    <a:pt x="74" y="0"/>
                    <a:pt x="74" y="0"/>
                    <a:pt x="74" y="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solidFill>
                  <a:prstClr val="white"/>
                </a:solidFill>
              </a:endParaRPr>
            </a:p>
          </p:txBody>
        </p:sp>
        <p:sp>
          <p:nvSpPr>
            <p:cNvPr id="16" name="Freeform 11"/>
            <p:cNvSpPr/>
            <p:nvPr/>
          </p:nvSpPr>
          <p:spPr bwMode="auto">
            <a:xfrm>
              <a:off x="1872947" y="2459307"/>
              <a:ext cx="223838" cy="179388"/>
            </a:xfrm>
            <a:custGeom>
              <a:gdLst>
                <a:gd name="T0" fmla="*/ 83 w 85"/>
                <a:gd name="T1" fmla="*/ 9 h 68"/>
                <a:gd name="T2" fmla="*/ 62 w 85"/>
                <a:gd name="T3" fmla="*/ 66 h 68"/>
                <a:gd name="T4" fmla="*/ 62 w 85"/>
                <a:gd name="T5" fmla="*/ 68 h 68"/>
                <a:gd name="T6" fmla="*/ 52 w 85"/>
                <a:gd name="T7" fmla="*/ 68 h 68"/>
                <a:gd name="T8" fmla="*/ 53 w 85"/>
                <a:gd name="T9" fmla="*/ 66 h 68"/>
                <a:gd name="T10" fmla="*/ 67 w 85"/>
                <a:gd name="T11" fmla="*/ 17 h 68"/>
                <a:gd name="T12" fmla="*/ 67 w 85"/>
                <a:gd name="T13" fmla="*/ 17 h 68"/>
                <a:gd name="T14" fmla="*/ 66 w 85"/>
                <a:gd name="T15" fmla="*/ 17 h 68"/>
                <a:gd name="T16" fmla="*/ 55 w 85"/>
                <a:gd name="T17" fmla="*/ 13 h 68"/>
                <a:gd name="T18" fmla="*/ 44 w 85"/>
                <a:gd name="T19" fmla="*/ 17 h 68"/>
                <a:gd name="T20" fmla="*/ 30 w 85"/>
                <a:gd name="T21" fmla="*/ 12 h 68"/>
                <a:gd name="T22" fmla="*/ 17 w 85"/>
                <a:gd name="T23" fmla="*/ 16 h 68"/>
                <a:gd name="T24" fmla="*/ 30 w 85"/>
                <a:gd name="T25" fmla="*/ 66 h 68"/>
                <a:gd name="T26" fmla="*/ 31 w 85"/>
                <a:gd name="T27" fmla="*/ 68 h 68"/>
                <a:gd name="T28" fmla="*/ 21 w 85"/>
                <a:gd name="T29" fmla="*/ 68 h 68"/>
                <a:gd name="T30" fmla="*/ 21 w 85"/>
                <a:gd name="T31" fmla="*/ 66 h 68"/>
                <a:gd name="T32" fmla="*/ 2 w 85"/>
                <a:gd name="T33" fmla="*/ 9 h 68"/>
                <a:gd name="T34" fmla="*/ 2 w 85"/>
                <a:gd name="T35" fmla="*/ 9 h 68"/>
                <a:gd name="T36" fmla="*/ 1 w 85"/>
                <a:gd name="T37" fmla="*/ 8 h 68"/>
                <a:gd name="T38" fmla="*/ 1 w 85"/>
                <a:gd name="T39" fmla="*/ 8 h 68"/>
                <a:gd name="T40" fmla="*/ 1 w 85"/>
                <a:gd name="T41" fmla="*/ 7 h 68"/>
                <a:gd name="T42" fmla="*/ 2 w 85"/>
                <a:gd name="T43" fmla="*/ 1 h 68"/>
                <a:gd name="T44" fmla="*/ 9 w 85"/>
                <a:gd name="T45" fmla="*/ 3 h 68"/>
                <a:gd name="T46" fmla="*/ 9 w 85"/>
                <a:gd name="T47" fmla="*/ 3 h 68"/>
                <a:gd name="T48" fmla="*/ 16 w 85"/>
                <a:gd name="T49" fmla="*/ 7 h 68"/>
                <a:gd name="T50" fmla="*/ 27 w 85"/>
                <a:gd name="T51" fmla="*/ 2 h 68"/>
                <a:gd name="T52" fmla="*/ 31 w 85"/>
                <a:gd name="T53" fmla="*/ 1 h 68"/>
                <a:gd name="T54" fmla="*/ 34 w 85"/>
                <a:gd name="T55" fmla="*/ 3 h 68"/>
                <a:gd name="T56" fmla="*/ 43 w 85"/>
                <a:gd name="T57" fmla="*/ 8 h 68"/>
                <a:gd name="T58" fmla="*/ 52 w 85"/>
                <a:gd name="T59" fmla="*/ 3 h 68"/>
                <a:gd name="T60" fmla="*/ 55 w 85"/>
                <a:gd name="T61" fmla="*/ 1 h 68"/>
                <a:gd name="T62" fmla="*/ 59 w 85"/>
                <a:gd name="T63" fmla="*/ 3 h 68"/>
                <a:gd name="T64" fmla="*/ 66 w 85"/>
                <a:gd name="T65" fmla="*/ 8 h 68"/>
                <a:gd name="T66" fmla="*/ 66 w 85"/>
                <a:gd name="T67" fmla="*/ 8 h 68"/>
                <a:gd name="T68" fmla="*/ 76 w 85"/>
                <a:gd name="T69" fmla="*/ 3 h 68"/>
                <a:gd name="T70" fmla="*/ 82 w 85"/>
                <a:gd name="T71" fmla="*/ 2 h 68"/>
                <a:gd name="T72" fmla="*/ 83 w 85"/>
                <a:gd name="T73" fmla="*/ 9 h 6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68">
                  <a:moveTo>
                    <a:pt x="83" y="9"/>
                  </a:moveTo>
                  <a:cubicBezTo>
                    <a:pt x="71" y="25"/>
                    <a:pt x="64" y="44"/>
                    <a:pt x="62" y="66"/>
                  </a:cubicBezTo>
                  <a:cubicBezTo>
                    <a:pt x="62" y="68"/>
                    <a:pt x="62" y="68"/>
                    <a:pt x="62" y="68"/>
                  </a:cubicBezTo>
                  <a:cubicBezTo>
                    <a:pt x="52" y="68"/>
                    <a:pt x="52" y="68"/>
                    <a:pt x="52" y="68"/>
                  </a:cubicBezTo>
                  <a:cubicBezTo>
                    <a:pt x="53" y="66"/>
                    <a:pt x="53" y="66"/>
                    <a:pt x="53" y="66"/>
                  </a:cubicBezTo>
                  <a:cubicBezTo>
                    <a:pt x="55" y="48"/>
                    <a:pt x="59" y="32"/>
                    <a:pt x="67" y="17"/>
                  </a:cubicBezTo>
                  <a:cubicBezTo>
                    <a:pt x="67" y="17"/>
                    <a:pt x="67" y="17"/>
                    <a:pt x="67" y="17"/>
                  </a:cubicBezTo>
                  <a:cubicBezTo>
                    <a:pt x="66" y="17"/>
                    <a:pt x="66" y="17"/>
                    <a:pt x="66" y="17"/>
                  </a:cubicBezTo>
                  <a:cubicBezTo>
                    <a:pt x="63" y="17"/>
                    <a:pt x="59" y="16"/>
                    <a:pt x="55" y="13"/>
                  </a:cubicBezTo>
                  <a:cubicBezTo>
                    <a:pt x="52" y="16"/>
                    <a:pt x="48" y="17"/>
                    <a:pt x="44" y="17"/>
                  </a:cubicBezTo>
                  <a:cubicBezTo>
                    <a:pt x="39" y="17"/>
                    <a:pt x="34" y="16"/>
                    <a:pt x="30" y="12"/>
                  </a:cubicBezTo>
                  <a:cubicBezTo>
                    <a:pt x="26" y="15"/>
                    <a:pt x="21" y="17"/>
                    <a:pt x="17" y="16"/>
                  </a:cubicBezTo>
                  <a:cubicBezTo>
                    <a:pt x="28" y="38"/>
                    <a:pt x="30" y="59"/>
                    <a:pt x="30" y="66"/>
                  </a:cubicBezTo>
                  <a:cubicBezTo>
                    <a:pt x="31" y="68"/>
                    <a:pt x="31" y="68"/>
                    <a:pt x="31" y="68"/>
                  </a:cubicBezTo>
                  <a:cubicBezTo>
                    <a:pt x="21" y="68"/>
                    <a:pt x="21" y="68"/>
                    <a:pt x="21" y="68"/>
                  </a:cubicBezTo>
                  <a:cubicBezTo>
                    <a:pt x="21" y="66"/>
                    <a:pt x="21" y="66"/>
                    <a:pt x="21" y="66"/>
                  </a:cubicBezTo>
                  <a:cubicBezTo>
                    <a:pt x="21" y="58"/>
                    <a:pt x="17" y="31"/>
                    <a:pt x="2" y="9"/>
                  </a:cubicBezTo>
                  <a:cubicBezTo>
                    <a:pt x="2" y="9"/>
                    <a:pt x="2" y="9"/>
                    <a:pt x="2" y="9"/>
                  </a:cubicBezTo>
                  <a:cubicBezTo>
                    <a:pt x="1" y="8"/>
                    <a:pt x="1" y="8"/>
                    <a:pt x="1" y="8"/>
                  </a:cubicBezTo>
                  <a:cubicBezTo>
                    <a:pt x="1" y="8"/>
                    <a:pt x="1" y="8"/>
                    <a:pt x="1" y="8"/>
                  </a:cubicBezTo>
                  <a:cubicBezTo>
                    <a:pt x="1" y="7"/>
                    <a:pt x="1" y="7"/>
                    <a:pt x="1" y="7"/>
                  </a:cubicBezTo>
                  <a:cubicBezTo>
                    <a:pt x="0" y="5"/>
                    <a:pt x="0" y="3"/>
                    <a:pt x="2" y="1"/>
                  </a:cubicBezTo>
                  <a:cubicBezTo>
                    <a:pt x="5" y="0"/>
                    <a:pt x="7" y="1"/>
                    <a:pt x="9" y="3"/>
                  </a:cubicBezTo>
                  <a:cubicBezTo>
                    <a:pt x="9" y="3"/>
                    <a:pt x="9" y="3"/>
                    <a:pt x="9" y="3"/>
                  </a:cubicBezTo>
                  <a:cubicBezTo>
                    <a:pt x="11" y="5"/>
                    <a:pt x="14" y="7"/>
                    <a:pt x="16" y="7"/>
                  </a:cubicBezTo>
                  <a:cubicBezTo>
                    <a:pt x="20" y="7"/>
                    <a:pt x="23" y="6"/>
                    <a:pt x="27" y="2"/>
                  </a:cubicBezTo>
                  <a:cubicBezTo>
                    <a:pt x="28" y="1"/>
                    <a:pt x="29" y="1"/>
                    <a:pt x="31" y="1"/>
                  </a:cubicBezTo>
                  <a:cubicBezTo>
                    <a:pt x="32" y="1"/>
                    <a:pt x="33" y="2"/>
                    <a:pt x="34" y="3"/>
                  </a:cubicBezTo>
                  <a:cubicBezTo>
                    <a:pt x="37" y="6"/>
                    <a:pt x="40" y="8"/>
                    <a:pt x="43" y="8"/>
                  </a:cubicBezTo>
                  <a:cubicBezTo>
                    <a:pt x="47" y="8"/>
                    <a:pt x="50" y="5"/>
                    <a:pt x="52" y="3"/>
                  </a:cubicBezTo>
                  <a:cubicBezTo>
                    <a:pt x="53" y="2"/>
                    <a:pt x="54" y="1"/>
                    <a:pt x="55" y="1"/>
                  </a:cubicBezTo>
                  <a:cubicBezTo>
                    <a:pt x="57" y="1"/>
                    <a:pt x="58" y="2"/>
                    <a:pt x="59" y="3"/>
                  </a:cubicBezTo>
                  <a:cubicBezTo>
                    <a:pt x="61" y="6"/>
                    <a:pt x="63" y="8"/>
                    <a:pt x="66" y="8"/>
                  </a:cubicBezTo>
                  <a:cubicBezTo>
                    <a:pt x="66" y="8"/>
                    <a:pt x="66" y="8"/>
                    <a:pt x="66" y="8"/>
                  </a:cubicBezTo>
                  <a:cubicBezTo>
                    <a:pt x="70" y="8"/>
                    <a:pt x="73" y="6"/>
                    <a:pt x="76" y="3"/>
                  </a:cubicBezTo>
                  <a:cubicBezTo>
                    <a:pt x="78" y="1"/>
                    <a:pt x="81" y="1"/>
                    <a:pt x="82" y="2"/>
                  </a:cubicBezTo>
                  <a:cubicBezTo>
                    <a:pt x="84" y="4"/>
                    <a:pt x="85" y="7"/>
                    <a:pt x="83" y="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noProof="1">
                <a:solidFill>
                  <a:prstClr val="white"/>
                </a:solidFill>
              </a:endParaRPr>
            </a:p>
          </p:txBody>
        </p:sp>
      </p:grpSp>
      <p:sp>
        <p:nvSpPr>
          <p:cNvPr id="17" name="Freeform 13"/>
          <p:cNvSpPr>
            <a:spLocks noEditPoints="1"/>
          </p:cNvSpPr>
          <p:nvPr/>
        </p:nvSpPr>
        <p:spPr bwMode="auto">
          <a:xfrm>
            <a:off x="4494004" y="2010655"/>
            <a:ext cx="164328" cy="282112"/>
          </a:xfrm>
          <a:custGeom>
            <a:gdLst>
              <a:gd name="T0" fmla="*/ 73 w 130"/>
              <a:gd name="T1" fmla="*/ 98 h 222"/>
              <a:gd name="T2" fmla="*/ 118 w 130"/>
              <a:gd name="T3" fmla="*/ 116 h 222"/>
              <a:gd name="T4" fmla="*/ 130 w 130"/>
              <a:gd name="T5" fmla="*/ 149 h 222"/>
              <a:gd name="T6" fmla="*/ 115 w 130"/>
              <a:gd name="T7" fmla="*/ 186 h 222"/>
              <a:gd name="T8" fmla="*/ 73 w 130"/>
              <a:gd name="T9" fmla="*/ 203 h 222"/>
              <a:gd name="T10" fmla="*/ 73 w 130"/>
              <a:gd name="T11" fmla="*/ 222 h 222"/>
              <a:gd name="T12" fmla="*/ 58 w 130"/>
              <a:gd name="T13" fmla="*/ 222 h 222"/>
              <a:gd name="T14" fmla="*/ 58 w 130"/>
              <a:gd name="T15" fmla="*/ 203 h 222"/>
              <a:gd name="T16" fmla="*/ 0 w 130"/>
              <a:gd name="T17" fmla="*/ 150 h 222"/>
              <a:gd name="T18" fmla="*/ 26 w 130"/>
              <a:gd name="T19" fmla="*/ 150 h 222"/>
              <a:gd name="T20" fmla="*/ 58 w 130"/>
              <a:gd name="T21" fmla="*/ 185 h 222"/>
              <a:gd name="T22" fmla="*/ 58 w 130"/>
              <a:gd name="T23" fmla="*/ 117 h 222"/>
              <a:gd name="T24" fmla="*/ 4 w 130"/>
              <a:gd name="T25" fmla="*/ 69 h 222"/>
              <a:gd name="T26" fmla="*/ 19 w 130"/>
              <a:gd name="T27" fmla="*/ 34 h 222"/>
              <a:gd name="T28" fmla="*/ 58 w 130"/>
              <a:gd name="T29" fmla="*/ 19 h 222"/>
              <a:gd name="T30" fmla="*/ 58 w 130"/>
              <a:gd name="T31" fmla="*/ 0 h 222"/>
              <a:gd name="T32" fmla="*/ 73 w 130"/>
              <a:gd name="T33" fmla="*/ 0 h 222"/>
              <a:gd name="T34" fmla="*/ 73 w 130"/>
              <a:gd name="T35" fmla="*/ 19 h 222"/>
              <a:gd name="T36" fmla="*/ 125 w 130"/>
              <a:gd name="T37" fmla="*/ 63 h 222"/>
              <a:gd name="T38" fmla="*/ 99 w 130"/>
              <a:gd name="T39" fmla="*/ 63 h 222"/>
              <a:gd name="T40" fmla="*/ 73 w 130"/>
              <a:gd name="T41" fmla="*/ 37 h 222"/>
              <a:gd name="T42" fmla="*/ 73 w 130"/>
              <a:gd name="T43" fmla="*/ 98 h 222"/>
              <a:gd name="T44" fmla="*/ 58 w 130"/>
              <a:gd name="T45" fmla="*/ 96 h 222"/>
              <a:gd name="T46" fmla="*/ 58 w 130"/>
              <a:gd name="T47" fmla="*/ 37 h 222"/>
              <a:gd name="T48" fmla="*/ 30 w 130"/>
              <a:gd name="T49" fmla="*/ 67 h 222"/>
              <a:gd name="T50" fmla="*/ 38 w 130"/>
              <a:gd name="T51" fmla="*/ 86 h 222"/>
              <a:gd name="T52" fmla="*/ 58 w 130"/>
              <a:gd name="T53" fmla="*/ 96 h 222"/>
              <a:gd name="T54" fmla="*/ 73 w 130"/>
              <a:gd name="T55" fmla="*/ 185 h 222"/>
              <a:gd name="T56" fmla="*/ 104 w 130"/>
              <a:gd name="T57" fmla="*/ 150 h 222"/>
              <a:gd name="T58" fmla="*/ 97 w 130"/>
              <a:gd name="T59" fmla="*/ 131 h 222"/>
              <a:gd name="T60" fmla="*/ 73 w 130"/>
              <a:gd name="T61" fmla="*/ 120 h 222"/>
              <a:gd name="T62" fmla="*/ 73 w 130"/>
              <a:gd name="T63" fmla="*/ 185 h 2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21">
                <a:moveTo>
                  <a:pt x="73" y="98"/>
                </a:moveTo>
                <a:cubicBezTo>
                  <a:pt x="95" y="103"/>
                  <a:pt x="110" y="109"/>
                  <a:pt x="118" y="116"/>
                </a:cubicBezTo>
                <a:cubicBezTo>
                  <a:pt x="126" y="124"/>
                  <a:pt x="130" y="135"/>
                  <a:pt x="130" y="149"/>
                </a:cubicBezTo>
                <a:cubicBezTo>
                  <a:pt x="130" y="163"/>
                  <a:pt x="125" y="175"/>
                  <a:pt x="115" y="186"/>
                </a:cubicBezTo>
                <a:cubicBezTo>
                  <a:pt x="105" y="196"/>
                  <a:pt x="91" y="202"/>
                  <a:pt x="73" y="203"/>
                </a:cubicBezTo>
                <a:cubicBezTo>
                  <a:pt x="73" y="222"/>
                  <a:pt x="73" y="222"/>
                  <a:pt x="73" y="222"/>
                </a:cubicBezTo>
                <a:cubicBezTo>
                  <a:pt x="58" y="222"/>
                  <a:pt x="58" y="222"/>
                  <a:pt x="58" y="222"/>
                </a:cubicBezTo>
                <a:cubicBezTo>
                  <a:pt x="58" y="203"/>
                  <a:pt x="58" y="203"/>
                  <a:pt x="58" y="203"/>
                </a:cubicBezTo>
                <a:cubicBezTo>
                  <a:pt x="22" y="200"/>
                  <a:pt x="2" y="182"/>
                  <a:pt x="0" y="150"/>
                </a:cubicBezTo>
                <a:cubicBezTo>
                  <a:pt x="26" y="150"/>
                  <a:pt x="26" y="150"/>
                  <a:pt x="26" y="150"/>
                </a:cubicBezTo>
                <a:cubicBezTo>
                  <a:pt x="28" y="170"/>
                  <a:pt x="39" y="182"/>
                  <a:pt x="58" y="185"/>
                </a:cubicBezTo>
                <a:cubicBezTo>
                  <a:pt x="58" y="117"/>
                  <a:pt x="58" y="117"/>
                  <a:pt x="58" y="117"/>
                </a:cubicBezTo>
                <a:cubicBezTo>
                  <a:pt x="22" y="110"/>
                  <a:pt x="4" y="94"/>
                  <a:pt x="4" y="69"/>
                </a:cubicBezTo>
                <a:cubicBezTo>
                  <a:pt x="4" y="54"/>
                  <a:pt x="9" y="43"/>
                  <a:pt x="19" y="34"/>
                </a:cubicBezTo>
                <a:cubicBezTo>
                  <a:pt x="28" y="25"/>
                  <a:pt x="42" y="20"/>
                  <a:pt x="58" y="19"/>
                </a:cubicBezTo>
                <a:cubicBezTo>
                  <a:pt x="58" y="0"/>
                  <a:pt x="58" y="0"/>
                  <a:pt x="58" y="0"/>
                </a:cubicBezTo>
                <a:cubicBezTo>
                  <a:pt x="73" y="0"/>
                  <a:pt x="73" y="0"/>
                  <a:pt x="73" y="0"/>
                </a:cubicBezTo>
                <a:cubicBezTo>
                  <a:pt x="73" y="19"/>
                  <a:pt x="73" y="19"/>
                  <a:pt x="73" y="19"/>
                </a:cubicBezTo>
                <a:cubicBezTo>
                  <a:pt x="105" y="21"/>
                  <a:pt x="122" y="35"/>
                  <a:pt x="125" y="63"/>
                </a:cubicBezTo>
                <a:cubicBezTo>
                  <a:pt x="99" y="63"/>
                  <a:pt x="99" y="63"/>
                  <a:pt x="99" y="63"/>
                </a:cubicBezTo>
                <a:cubicBezTo>
                  <a:pt x="98" y="48"/>
                  <a:pt x="89" y="39"/>
                  <a:pt x="73" y="37"/>
                </a:cubicBezTo>
                <a:lnTo>
                  <a:pt x="73" y="98"/>
                </a:lnTo>
                <a:close/>
                <a:moveTo>
                  <a:pt x="58" y="96"/>
                </a:moveTo>
                <a:cubicBezTo>
                  <a:pt x="58" y="37"/>
                  <a:pt x="58" y="37"/>
                  <a:pt x="58" y="37"/>
                </a:cubicBezTo>
                <a:cubicBezTo>
                  <a:pt x="39" y="40"/>
                  <a:pt x="30" y="50"/>
                  <a:pt x="30" y="67"/>
                </a:cubicBezTo>
                <a:cubicBezTo>
                  <a:pt x="30" y="76"/>
                  <a:pt x="33" y="82"/>
                  <a:pt x="38" y="86"/>
                </a:cubicBezTo>
                <a:cubicBezTo>
                  <a:pt x="43" y="91"/>
                  <a:pt x="50" y="94"/>
                  <a:pt x="58" y="96"/>
                </a:cubicBezTo>
                <a:close/>
                <a:moveTo>
                  <a:pt x="73" y="185"/>
                </a:moveTo>
                <a:cubicBezTo>
                  <a:pt x="93" y="182"/>
                  <a:pt x="104" y="171"/>
                  <a:pt x="104" y="150"/>
                </a:cubicBezTo>
                <a:cubicBezTo>
                  <a:pt x="104" y="142"/>
                  <a:pt x="102" y="135"/>
                  <a:pt x="97" y="131"/>
                </a:cubicBezTo>
                <a:cubicBezTo>
                  <a:pt x="93" y="126"/>
                  <a:pt x="85" y="122"/>
                  <a:pt x="73" y="120"/>
                </a:cubicBezTo>
                <a:lnTo>
                  <a:pt x="73" y="185"/>
                </a:ln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5" rIns="68571" bIns="34285" anchor="ctr"/>
          <a:lstStyle/>
          <a:p>
            <a:pPr algn="ctr" fontAlgn="auto"/>
            <a:endParaRPr lang="zh-CN" altLang="en-US" noProof="1">
              <a:solidFill>
                <a:prstClr val="white"/>
              </a:solidFill>
            </a:endParaRPr>
          </a:p>
        </p:txBody>
      </p:sp>
      <p:sp>
        <p:nvSpPr>
          <p:cNvPr id="18" name="Freeform 19"/>
          <p:cNvSpPr>
            <a:spLocks noEditPoints="1"/>
          </p:cNvSpPr>
          <p:nvPr/>
        </p:nvSpPr>
        <p:spPr bwMode="auto">
          <a:xfrm>
            <a:off x="4451136" y="2718913"/>
            <a:ext cx="232202" cy="233308"/>
          </a:xfrm>
          <a:custGeom>
            <a:gdLst>
              <a:gd name="T0" fmla="*/ 281 w 311"/>
              <a:gd name="T1" fmla="*/ 130 h 312"/>
              <a:gd name="T2" fmla="*/ 311 w 311"/>
              <a:gd name="T3" fmla="*/ 116 h 312"/>
              <a:gd name="T4" fmla="*/ 294 w 311"/>
              <a:gd name="T5" fmla="*/ 75 h 312"/>
              <a:gd name="T6" fmla="*/ 263 w 311"/>
              <a:gd name="T7" fmla="*/ 86 h 312"/>
              <a:gd name="T8" fmla="*/ 226 w 311"/>
              <a:gd name="T9" fmla="*/ 48 h 312"/>
              <a:gd name="T10" fmla="*/ 237 w 311"/>
              <a:gd name="T11" fmla="*/ 17 h 312"/>
              <a:gd name="T12" fmla="*/ 197 w 311"/>
              <a:gd name="T13" fmla="*/ 0 h 312"/>
              <a:gd name="T14" fmla="*/ 183 w 311"/>
              <a:gd name="T15" fmla="*/ 30 h 312"/>
              <a:gd name="T16" fmla="*/ 129 w 311"/>
              <a:gd name="T17" fmla="*/ 30 h 312"/>
              <a:gd name="T18" fmla="*/ 115 w 311"/>
              <a:gd name="T19" fmla="*/ 0 h 312"/>
              <a:gd name="T20" fmla="*/ 75 w 311"/>
              <a:gd name="T21" fmla="*/ 17 h 312"/>
              <a:gd name="T22" fmla="*/ 86 w 311"/>
              <a:gd name="T23" fmla="*/ 48 h 312"/>
              <a:gd name="T24" fmla="*/ 48 w 311"/>
              <a:gd name="T25" fmla="*/ 85 h 312"/>
              <a:gd name="T26" fmla="*/ 17 w 311"/>
              <a:gd name="T27" fmla="*/ 74 h 312"/>
              <a:gd name="T28" fmla="*/ 0 w 311"/>
              <a:gd name="T29" fmla="*/ 114 h 312"/>
              <a:gd name="T30" fmla="*/ 30 w 311"/>
              <a:gd name="T31" fmla="*/ 129 h 312"/>
              <a:gd name="T32" fmla="*/ 30 w 311"/>
              <a:gd name="T33" fmla="*/ 182 h 312"/>
              <a:gd name="T34" fmla="*/ 0 w 311"/>
              <a:gd name="T35" fmla="*/ 196 h 312"/>
              <a:gd name="T36" fmla="*/ 16 w 311"/>
              <a:gd name="T37" fmla="*/ 236 h 312"/>
              <a:gd name="T38" fmla="*/ 47 w 311"/>
              <a:gd name="T39" fmla="*/ 225 h 312"/>
              <a:gd name="T40" fmla="*/ 85 w 311"/>
              <a:gd name="T41" fmla="*/ 263 h 312"/>
              <a:gd name="T42" fmla="*/ 73 w 311"/>
              <a:gd name="T43" fmla="*/ 294 h 312"/>
              <a:gd name="T44" fmla="*/ 114 w 311"/>
              <a:gd name="T45" fmla="*/ 311 h 312"/>
              <a:gd name="T46" fmla="*/ 128 w 311"/>
              <a:gd name="T47" fmla="*/ 281 h 312"/>
              <a:gd name="T48" fmla="*/ 181 w 311"/>
              <a:gd name="T49" fmla="*/ 282 h 312"/>
              <a:gd name="T50" fmla="*/ 195 w 311"/>
              <a:gd name="T51" fmla="*/ 312 h 312"/>
              <a:gd name="T52" fmla="*/ 236 w 311"/>
              <a:gd name="T53" fmla="*/ 295 h 312"/>
              <a:gd name="T54" fmla="*/ 225 w 311"/>
              <a:gd name="T55" fmla="*/ 264 h 312"/>
              <a:gd name="T56" fmla="*/ 263 w 311"/>
              <a:gd name="T57" fmla="*/ 226 h 312"/>
              <a:gd name="T58" fmla="*/ 294 w 311"/>
              <a:gd name="T59" fmla="*/ 238 h 312"/>
              <a:gd name="T60" fmla="*/ 311 w 311"/>
              <a:gd name="T61" fmla="*/ 197 h 312"/>
              <a:gd name="T62" fmla="*/ 281 w 311"/>
              <a:gd name="T63" fmla="*/ 183 h 312"/>
              <a:gd name="T64" fmla="*/ 281 w 311"/>
              <a:gd name="T65" fmla="*/ 130 h 312"/>
              <a:gd name="T66" fmla="*/ 155 w 311"/>
              <a:gd name="T67" fmla="*/ 254 h 312"/>
              <a:gd name="T68" fmla="*/ 57 w 311"/>
              <a:gd name="T69" fmla="*/ 156 h 312"/>
              <a:gd name="T70" fmla="*/ 155 w 311"/>
              <a:gd name="T71" fmla="*/ 57 h 312"/>
              <a:gd name="T72" fmla="*/ 254 w 311"/>
              <a:gd name="T73" fmla="*/ 156 h 312"/>
              <a:gd name="T74" fmla="*/ 155 w 311"/>
              <a:gd name="T75" fmla="*/ 254 h 3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312">
                <a:moveTo>
                  <a:pt x="281" y="130"/>
                </a:moveTo>
                <a:cubicBezTo>
                  <a:pt x="311" y="116"/>
                  <a:pt x="311" y="116"/>
                  <a:pt x="311" y="116"/>
                </a:cubicBezTo>
                <a:cubicBezTo>
                  <a:pt x="294" y="75"/>
                  <a:pt x="294" y="75"/>
                  <a:pt x="294" y="75"/>
                </a:cubicBezTo>
                <a:cubicBezTo>
                  <a:pt x="263" y="86"/>
                  <a:pt x="263" y="86"/>
                  <a:pt x="263" y="86"/>
                </a:cubicBezTo>
                <a:cubicBezTo>
                  <a:pt x="253" y="71"/>
                  <a:pt x="240" y="58"/>
                  <a:pt x="226" y="48"/>
                </a:cubicBezTo>
                <a:cubicBezTo>
                  <a:pt x="237" y="17"/>
                  <a:pt x="237" y="17"/>
                  <a:pt x="237" y="17"/>
                </a:cubicBezTo>
                <a:cubicBezTo>
                  <a:pt x="197" y="0"/>
                  <a:pt x="197" y="0"/>
                  <a:pt x="197" y="0"/>
                </a:cubicBezTo>
                <a:cubicBezTo>
                  <a:pt x="183" y="30"/>
                  <a:pt x="183" y="30"/>
                  <a:pt x="183" y="30"/>
                </a:cubicBezTo>
                <a:cubicBezTo>
                  <a:pt x="165" y="27"/>
                  <a:pt x="147" y="26"/>
                  <a:pt x="129" y="30"/>
                </a:cubicBezTo>
                <a:cubicBezTo>
                  <a:pt x="115" y="0"/>
                  <a:pt x="115" y="0"/>
                  <a:pt x="115" y="0"/>
                </a:cubicBezTo>
                <a:cubicBezTo>
                  <a:pt x="75" y="17"/>
                  <a:pt x="75" y="17"/>
                  <a:pt x="75" y="17"/>
                </a:cubicBezTo>
                <a:cubicBezTo>
                  <a:pt x="86" y="48"/>
                  <a:pt x="86" y="48"/>
                  <a:pt x="86" y="48"/>
                </a:cubicBezTo>
                <a:cubicBezTo>
                  <a:pt x="70" y="58"/>
                  <a:pt x="58" y="71"/>
                  <a:pt x="48" y="85"/>
                </a:cubicBezTo>
                <a:cubicBezTo>
                  <a:pt x="17" y="74"/>
                  <a:pt x="17" y="74"/>
                  <a:pt x="17" y="74"/>
                </a:cubicBezTo>
                <a:cubicBezTo>
                  <a:pt x="0" y="114"/>
                  <a:pt x="0" y="114"/>
                  <a:pt x="0" y="114"/>
                </a:cubicBezTo>
                <a:cubicBezTo>
                  <a:pt x="30" y="129"/>
                  <a:pt x="30" y="129"/>
                  <a:pt x="30" y="129"/>
                </a:cubicBezTo>
                <a:cubicBezTo>
                  <a:pt x="26" y="146"/>
                  <a:pt x="26" y="164"/>
                  <a:pt x="30" y="182"/>
                </a:cubicBezTo>
                <a:cubicBezTo>
                  <a:pt x="0" y="196"/>
                  <a:pt x="0" y="196"/>
                  <a:pt x="0" y="196"/>
                </a:cubicBezTo>
                <a:cubicBezTo>
                  <a:pt x="16" y="236"/>
                  <a:pt x="16" y="236"/>
                  <a:pt x="16" y="236"/>
                </a:cubicBezTo>
                <a:cubicBezTo>
                  <a:pt x="47" y="225"/>
                  <a:pt x="47" y="225"/>
                  <a:pt x="47" y="225"/>
                </a:cubicBezTo>
                <a:cubicBezTo>
                  <a:pt x="57" y="241"/>
                  <a:pt x="70" y="253"/>
                  <a:pt x="85" y="263"/>
                </a:cubicBezTo>
                <a:cubicBezTo>
                  <a:pt x="73" y="294"/>
                  <a:pt x="73" y="294"/>
                  <a:pt x="73" y="294"/>
                </a:cubicBezTo>
                <a:cubicBezTo>
                  <a:pt x="114" y="311"/>
                  <a:pt x="114" y="311"/>
                  <a:pt x="114" y="311"/>
                </a:cubicBezTo>
                <a:cubicBezTo>
                  <a:pt x="128" y="281"/>
                  <a:pt x="128" y="281"/>
                  <a:pt x="128" y="281"/>
                </a:cubicBezTo>
                <a:cubicBezTo>
                  <a:pt x="145" y="285"/>
                  <a:pt x="163" y="285"/>
                  <a:pt x="181" y="282"/>
                </a:cubicBezTo>
                <a:cubicBezTo>
                  <a:pt x="195" y="312"/>
                  <a:pt x="195" y="312"/>
                  <a:pt x="195" y="312"/>
                </a:cubicBezTo>
                <a:cubicBezTo>
                  <a:pt x="236" y="295"/>
                  <a:pt x="236" y="295"/>
                  <a:pt x="236" y="295"/>
                </a:cubicBezTo>
                <a:cubicBezTo>
                  <a:pt x="225" y="264"/>
                  <a:pt x="225" y="264"/>
                  <a:pt x="225" y="264"/>
                </a:cubicBezTo>
                <a:cubicBezTo>
                  <a:pt x="240" y="254"/>
                  <a:pt x="253" y="241"/>
                  <a:pt x="263" y="226"/>
                </a:cubicBezTo>
                <a:cubicBezTo>
                  <a:pt x="294" y="238"/>
                  <a:pt x="294" y="238"/>
                  <a:pt x="294" y="238"/>
                </a:cubicBezTo>
                <a:cubicBezTo>
                  <a:pt x="311" y="197"/>
                  <a:pt x="311" y="197"/>
                  <a:pt x="311" y="197"/>
                </a:cubicBezTo>
                <a:cubicBezTo>
                  <a:pt x="281" y="183"/>
                  <a:pt x="281" y="183"/>
                  <a:pt x="281" y="183"/>
                </a:cubicBezTo>
                <a:cubicBezTo>
                  <a:pt x="285" y="166"/>
                  <a:pt x="285" y="148"/>
                  <a:pt x="281" y="130"/>
                </a:cubicBezTo>
                <a:close/>
                <a:moveTo>
                  <a:pt x="155" y="254"/>
                </a:moveTo>
                <a:cubicBezTo>
                  <a:pt x="101" y="254"/>
                  <a:pt x="57" y="210"/>
                  <a:pt x="57" y="156"/>
                </a:cubicBezTo>
                <a:cubicBezTo>
                  <a:pt x="57" y="101"/>
                  <a:pt x="101" y="57"/>
                  <a:pt x="155" y="57"/>
                </a:cubicBezTo>
                <a:cubicBezTo>
                  <a:pt x="210" y="57"/>
                  <a:pt x="254" y="101"/>
                  <a:pt x="254" y="156"/>
                </a:cubicBezTo>
                <a:cubicBezTo>
                  <a:pt x="254" y="210"/>
                  <a:pt x="210" y="254"/>
                  <a:pt x="155" y="254"/>
                </a:cubicBez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5" rIns="68571" bIns="34285" anchor="ctr"/>
          <a:lstStyle/>
          <a:p>
            <a:pPr algn="ctr" fontAlgn="auto"/>
            <a:endParaRPr lang="zh-CN" altLang="en-US" noProof="1">
              <a:solidFill>
                <a:prstClr val="white"/>
              </a:solidFill>
            </a:endParaRPr>
          </a:p>
        </p:txBody>
      </p:sp>
      <p:grpSp>
        <p:nvGrpSpPr>
          <p:cNvPr id="13" name="组合 18"/>
          <p:cNvGrpSpPr/>
          <p:nvPr/>
        </p:nvGrpSpPr>
        <p:grpSpPr>
          <a:xfrm>
            <a:off x="4340385" y="3515438"/>
            <a:ext cx="471215" cy="452999"/>
            <a:chOff x="2607983" y="4241292"/>
            <a:chExt cx="490600" cy="471805"/>
          </a:xfrm>
          <a:solidFill>
            <a:srgbClr val="FEFEFE"/>
          </a:solidFill>
        </p:grpSpPr>
        <p:sp>
          <p:nvSpPr>
            <p:cNvPr id="20" name="Oval 131"/>
            <p:cNvSpPr>
              <a:spLocks noChangeArrowheads="1"/>
            </p:cNvSpPr>
            <p:nvPr/>
          </p:nvSpPr>
          <p:spPr bwMode="auto">
            <a:xfrm>
              <a:off x="2742898" y="4241292"/>
              <a:ext cx="220770" cy="22359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noProof="1">
                <a:solidFill>
                  <a:prstClr val="black"/>
                </a:solidFill>
              </a:endParaRPr>
            </a:p>
          </p:txBody>
        </p:sp>
        <p:sp>
          <p:nvSpPr>
            <p:cNvPr id="21" name="Freeform 134"/>
            <p:cNvSpPr/>
            <p:nvPr/>
          </p:nvSpPr>
          <p:spPr bwMode="auto">
            <a:xfrm>
              <a:off x="2607983" y="4499759"/>
              <a:ext cx="490600" cy="213338"/>
            </a:xfrm>
            <a:custGeom>
              <a:gdLst>
                <a:gd name="T0" fmla="*/ 35 w 200"/>
                <a:gd name="T1" fmla="*/ 87 h 87"/>
                <a:gd name="T2" fmla="*/ 35 w 200"/>
                <a:gd name="T3" fmla="*/ 72 h 87"/>
                <a:gd name="T4" fmla="*/ 46 w 200"/>
                <a:gd name="T5" fmla="*/ 72 h 87"/>
                <a:gd name="T6" fmla="*/ 46 w 200"/>
                <a:gd name="T7" fmla="*/ 87 h 87"/>
                <a:gd name="T8" fmla="*/ 155 w 200"/>
                <a:gd name="T9" fmla="*/ 87 h 87"/>
                <a:gd name="T10" fmla="*/ 155 w 200"/>
                <a:gd name="T11" fmla="*/ 72 h 87"/>
                <a:gd name="T12" fmla="*/ 166 w 200"/>
                <a:gd name="T13" fmla="*/ 72 h 87"/>
                <a:gd name="T14" fmla="*/ 166 w 200"/>
                <a:gd name="T15" fmla="*/ 87 h 87"/>
                <a:gd name="T16" fmla="*/ 199 w 200"/>
                <a:gd name="T17" fmla="*/ 87 h 87"/>
                <a:gd name="T18" fmla="*/ 200 w 200"/>
                <a:gd name="T19" fmla="*/ 43 h 87"/>
                <a:gd name="T20" fmla="*/ 156 w 200"/>
                <a:gd name="T21" fmla="*/ 0 h 87"/>
                <a:gd name="T22" fmla="*/ 156 w 200"/>
                <a:gd name="T23" fmla="*/ 0 h 87"/>
                <a:gd name="T24" fmla="*/ 156 w 200"/>
                <a:gd name="T25" fmla="*/ 0 h 87"/>
                <a:gd name="T26" fmla="*/ 140 w 200"/>
                <a:gd name="T27" fmla="*/ 0 h 87"/>
                <a:gd name="T28" fmla="*/ 100 w 200"/>
                <a:gd name="T29" fmla="*/ 80 h 87"/>
                <a:gd name="T30" fmla="*/ 60 w 200"/>
                <a:gd name="T31" fmla="*/ 0 h 87"/>
                <a:gd name="T32" fmla="*/ 45 w 200"/>
                <a:gd name="T33" fmla="*/ 0 h 87"/>
                <a:gd name="T34" fmla="*/ 45 w 200"/>
                <a:gd name="T35" fmla="*/ 0 h 87"/>
                <a:gd name="T36" fmla="*/ 44 w 200"/>
                <a:gd name="T37" fmla="*/ 0 h 87"/>
                <a:gd name="T38" fmla="*/ 1 w 200"/>
                <a:gd name="T39" fmla="*/ 43 h 87"/>
                <a:gd name="T40" fmla="*/ 0 w 200"/>
                <a:gd name="T41" fmla="*/ 87 h 87"/>
                <a:gd name="T42" fmla="*/ 35 w 200"/>
                <a:gd name="T43" fmla="*/ 87 h 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87">
                  <a:moveTo>
                    <a:pt x="35" y="87"/>
                  </a:moveTo>
                  <a:cubicBezTo>
                    <a:pt x="35" y="72"/>
                    <a:pt x="35" y="72"/>
                    <a:pt x="35" y="72"/>
                  </a:cubicBezTo>
                  <a:cubicBezTo>
                    <a:pt x="46" y="72"/>
                    <a:pt x="46" y="72"/>
                    <a:pt x="46" y="72"/>
                  </a:cubicBezTo>
                  <a:cubicBezTo>
                    <a:pt x="46" y="87"/>
                    <a:pt x="46" y="87"/>
                    <a:pt x="46" y="87"/>
                  </a:cubicBezTo>
                  <a:cubicBezTo>
                    <a:pt x="155" y="87"/>
                    <a:pt x="155" y="87"/>
                    <a:pt x="155" y="87"/>
                  </a:cubicBezTo>
                  <a:cubicBezTo>
                    <a:pt x="155" y="72"/>
                    <a:pt x="155" y="72"/>
                    <a:pt x="155" y="72"/>
                  </a:cubicBezTo>
                  <a:cubicBezTo>
                    <a:pt x="166" y="72"/>
                    <a:pt x="166" y="72"/>
                    <a:pt x="166" y="72"/>
                  </a:cubicBezTo>
                  <a:cubicBezTo>
                    <a:pt x="166" y="87"/>
                    <a:pt x="166" y="87"/>
                    <a:pt x="166" y="87"/>
                  </a:cubicBezTo>
                  <a:cubicBezTo>
                    <a:pt x="199" y="87"/>
                    <a:pt x="199" y="87"/>
                    <a:pt x="199" y="87"/>
                  </a:cubicBezTo>
                  <a:cubicBezTo>
                    <a:pt x="199" y="47"/>
                    <a:pt x="200" y="43"/>
                    <a:pt x="200" y="43"/>
                  </a:cubicBezTo>
                  <a:cubicBezTo>
                    <a:pt x="200" y="19"/>
                    <a:pt x="180" y="0"/>
                    <a:pt x="156" y="0"/>
                  </a:cubicBezTo>
                  <a:cubicBezTo>
                    <a:pt x="156" y="0"/>
                    <a:pt x="156" y="0"/>
                    <a:pt x="156" y="0"/>
                  </a:cubicBezTo>
                  <a:cubicBezTo>
                    <a:pt x="156" y="0"/>
                    <a:pt x="156" y="0"/>
                    <a:pt x="156" y="0"/>
                  </a:cubicBezTo>
                  <a:cubicBezTo>
                    <a:pt x="140" y="0"/>
                    <a:pt x="140" y="0"/>
                    <a:pt x="140" y="0"/>
                  </a:cubicBezTo>
                  <a:cubicBezTo>
                    <a:pt x="100" y="80"/>
                    <a:pt x="100" y="80"/>
                    <a:pt x="100" y="80"/>
                  </a:cubicBezTo>
                  <a:cubicBezTo>
                    <a:pt x="60" y="0"/>
                    <a:pt x="60" y="0"/>
                    <a:pt x="60" y="0"/>
                  </a:cubicBezTo>
                  <a:cubicBezTo>
                    <a:pt x="45" y="0"/>
                    <a:pt x="45" y="0"/>
                    <a:pt x="45" y="0"/>
                  </a:cubicBezTo>
                  <a:cubicBezTo>
                    <a:pt x="45" y="0"/>
                    <a:pt x="45" y="0"/>
                    <a:pt x="45" y="0"/>
                  </a:cubicBezTo>
                  <a:cubicBezTo>
                    <a:pt x="45" y="0"/>
                    <a:pt x="44" y="0"/>
                    <a:pt x="44" y="0"/>
                  </a:cubicBezTo>
                  <a:cubicBezTo>
                    <a:pt x="20" y="0"/>
                    <a:pt x="1" y="19"/>
                    <a:pt x="1" y="43"/>
                  </a:cubicBezTo>
                  <a:cubicBezTo>
                    <a:pt x="1" y="43"/>
                    <a:pt x="0" y="47"/>
                    <a:pt x="0" y="87"/>
                  </a:cubicBezTo>
                  <a:lnTo>
                    <a:pt x="35" y="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noProof="1">
                <a:solidFill>
                  <a:prstClr val="black"/>
                </a:solidFill>
              </a:endParaRPr>
            </a:p>
          </p:txBody>
        </p:sp>
      </p:grpSp>
      <p:sp>
        <p:nvSpPr>
          <p:cNvPr id="22" name="文本框 60"/>
          <p:cNvSpPr>
            <a:spLocks noChangeArrowheads="1"/>
          </p:cNvSpPr>
          <p:nvPr/>
        </p:nvSpPr>
        <p:spPr bwMode="auto">
          <a:xfrm>
            <a:off x="703751" y="1615459"/>
            <a:ext cx="2506117" cy="1131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1" tIns="34285" rIns="68571" bIns="34285">
            <a:spAutoFit/>
          </a:bodyPr>
          <a:lstStyle/>
          <a:p>
            <a:r>
              <a:rPr lang="en-US" altLang="en-US" b="1">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MORE  THAN  TEMPLATE</a:t>
            </a:r>
            <a:endParaRPr lang="zh-CN" altLang="en-US" b="1">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r>
              <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Click here to add  you to the </a:t>
            </a:r>
            <a:endParaRPr lang="zh-CN"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r>
              <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Center of the  narrative thought</a:t>
            </a:r>
            <a:endPar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endParaRPr lang="zh-CN" altLang="en-US" sz="1100">
              <a:solidFill>
                <a:schemeClr val="bg1">
                  <a:lumMod val="50000"/>
                </a:schemeClr>
              </a:solidFill>
              <a:sym typeface="Calibri" panose="020f0502020204030204" pitchFamily="34" charset="0"/>
            </a:endParaRPr>
          </a:p>
          <a:p>
            <a:endParaRPr lang="zh-CN" altLang="en-US">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3" name="文本框 60"/>
          <p:cNvSpPr>
            <a:spLocks noChangeArrowheads="1"/>
          </p:cNvSpPr>
          <p:nvPr/>
        </p:nvSpPr>
        <p:spPr bwMode="auto">
          <a:xfrm>
            <a:off x="703751" y="3435503"/>
            <a:ext cx="2506117" cy="1131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1" tIns="34285" rIns="68571" bIns="34285">
            <a:spAutoFit/>
          </a:bodyPr>
          <a:lstStyle/>
          <a:p>
            <a:r>
              <a:rPr lang="en-US" altLang="en-US" b="1">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MORE  THAN  TEMPLATE</a:t>
            </a:r>
            <a:endParaRPr lang="zh-CN" altLang="en-US" b="1">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r>
              <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Click here to add  you to the </a:t>
            </a:r>
            <a:endParaRPr lang="zh-CN"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r>
              <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Center of the  narrative thought</a:t>
            </a:r>
            <a:endPar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endParaRPr lang="zh-CN" altLang="en-US" sz="1100">
              <a:solidFill>
                <a:schemeClr val="bg1">
                  <a:lumMod val="50000"/>
                </a:schemeClr>
              </a:solidFill>
              <a:sym typeface="Calibri" panose="020f0502020204030204" pitchFamily="34" charset="0"/>
            </a:endParaRPr>
          </a:p>
          <a:p>
            <a:endParaRPr lang="zh-CN" altLang="en-US">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 name="文本框 60"/>
          <p:cNvSpPr>
            <a:spLocks noChangeArrowheads="1"/>
          </p:cNvSpPr>
          <p:nvPr/>
        </p:nvSpPr>
        <p:spPr bwMode="auto">
          <a:xfrm>
            <a:off x="6228184" y="1628553"/>
            <a:ext cx="2506117" cy="1131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1" tIns="34285" rIns="68571" bIns="34285">
            <a:spAutoFit/>
          </a:bodyPr>
          <a:lstStyle/>
          <a:p>
            <a:r>
              <a:rPr lang="en-US" altLang="en-US" b="1">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MORE  THAN  TEMPLATE</a:t>
            </a:r>
            <a:endParaRPr lang="zh-CN" altLang="en-US" b="1">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r>
              <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Click here to add  you to the </a:t>
            </a:r>
            <a:endParaRPr lang="zh-CN"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r>
              <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Center of the  narrative thought</a:t>
            </a:r>
            <a:endPar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endParaRPr lang="zh-CN" altLang="en-US" sz="1100">
              <a:solidFill>
                <a:schemeClr val="bg1">
                  <a:lumMod val="50000"/>
                </a:schemeClr>
              </a:solidFill>
              <a:sym typeface="Calibri" panose="020f0502020204030204" pitchFamily="34" charset="0"/>
            </a:endParaRPr>
          </a:p>
          <a:p>
            <a:endParaRPr lang="zh-CN" altLang="en-US">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5" name="文本框 60"/>
          <p:cNvSpPr>
            <a:spLocks noChangeArrowheads="1"/>
          </p:cNvSpPr>
          <p:nvPr/>
        </p:nvSpPr>
        <p:spPr bwMode="auto">
          <a:xfrm>
            <a:off x="6228184" y="3447407"/>
            <a:ext cx="2506117" cy="1131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1" tIns="34285" rIns="68571" bIns="34285">
            <a:spAutoFit/>
          </a:bodyPr>
          <a:lstStyle/>
          <a:p>
            <a:r>
              <a:rPr lang="en-US" altLang="en-US" b="1">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MORE  THAN  TEMPLATE</a:t>
            </a:r>
            <a:endParaRPr lang="zh-CN" altLang="en-US" b="1">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r>
              <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Click here to add  you to the </a:t>
            </a:r>
            <a:endParaRPr lang="zh-CN"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r>
              <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rPr>
              <a:t>Center of the  narrative thought</a:t>
            </a:r>
            <a:endParaRPr lang="en-US" altLang="en-US" sz="1100">
              <a:solidFill>
                <a:schemeClr val="bg1">
                  <a:lumMod val="50000"/>
                </a:schemeClr>
              </a:solidFill>
              <a:latin typeface="方正姚体" panose="02010601030101010101" pitchFamily="2" charset="-122"/>
              <a:ea typeface="方正姚体" panose="02010601030101010101" pitchFamily="2" charset="-122"/>
              <a:sym typeface="方正姚体" panose="02010601030101010101" pitchFamily="2" charset="-122"/>
            </a:endParaRPr>
          </a:p>
          <a:p>
            <a:endParaRPr lang="zh-CN" altLang="en-US" sz="1100">
              <a:solidFill>
                <a:schemeClr val="bg1">
                  <a:lumMod val="50000"/>
                </a:schemeClr>
              </a:solidFill>
              <a:sym typeface="Calibri" panose="020f0502020204030204" pitchFamily="34" charset="0"/>
            </a:endParaRPr>
          </a:p>
          <a:p>
            <a:endParaRPr lang="zh-CN" altLang="en-US">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anim calcmode="lin" valueType="num">
                                      <p:cBhvr>
                                        <p:cTn id="8" dur="250" fill="hold"/>
                                        <p:tgtEl>
                                          <p:spTgt spid="5"/>
                                        </p:tgtEl>
                                        <p:attrNameLst>
                                          <p:attrName>ppt_x</p:attrName>
                                        </p:attrNameLst>
                                      </p:cBhvr>
                                      <p:tavLst>
                                        <p:tav tm="0">
                                          <p:val>
                                            <p:strVal val="#ppt_x"/>
                                          </p:val>
                                        </p:tav>
                                        <p:tav tm="100000">
                                          <p:val>
                                            <p:strVal val="#ppt_x"/>
                                          </p:val>
                                        </p:tav>
                                      </p:tavLst>
                                    </p:anim>
                                    <p:anim calcmode="lin" valueType="num">
                                      <p:cBhvr>
                                        <p:cTn id="9" dur="250" fill="hold"/>
                                        <p:tgtEl>
                                          <p:spTgt spid="5"/>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250"/>
                            </p:stCondLst>
                            <p:childTnLst>
                              <p:par>
                                <p:cTn id="11" presetID="42"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50"/>
                                        <p:tgtEl>
                                          <p:spTgt spid="6"/>
                                        </p:tgtEl>
                                      </p:cBhvr>
                                    </p:animEffect>
                                    <p:anim calcmode="lin" valueType="num">
                                      <p:cBhvr>
                                        <p:cTn id="14" dur="250" fill="hold"/>
                                        <p:tgtEl>
                                          <p:spTgt spid="6"/>
                                        </p:tgtEl>
                                        <p:attrNameLst>
                                          <p:attrName>ppt_x</p:attrName>
                                        </p:attrNameLst>
                                      </p:cBhvr>
                                      <p:tavLst>
                                        <p:tav tm="0">
                                          <p:val>
                                            <p:strVal val="#ppt_x"/>
                                          </p:val>
                                        </p:tav>
                                        <p:tav tm="100000">
                                          <p:val>
                                            <p:strVal val="#ppt_x"/>
                                          </p:val>
                                        </p:tav>
                                      </p:tavLst>
                                    </p:anim>
                                    <p:anim calcmode="lin" valueType="num">
                                      <p:cBhvr>
                                        <p:cTn id="15" dur="250" fill="hold"/>
                                        <p:tgtEl>
                                          <p:spTgt spid="6"/>
                                        </p:tgtEl>
                                        <p:attrNameLst>
                                          <p:attrName>ppt_y</p:attrName>
                                        </p:attrNameLst>
                                      </p:cBhvr>
                                      <p:tavLst>
                                        <p:tav tm="0">
                                          <p:val>
                                            <p:strVal val="#ppt_y+.1"/>
                                          </p:val>
                                        </p:tav>
                                        <p:tav tm="100000">
                                          <p:val>
                                            <p:strVal val="#ppt_y"/>
                                          </p:val>
                                        </p:tav>
                                      </p:tavLst>
                                    </p:anim>
                                  </p:childTnLst>
                                </p:cTn>
                              </p:par>
                            </p:childTnLst>
                          </p:cTn>
                        </p:par>
                        <p:par>
                          <p:cTn id="16" fill="hold" nodeType="afterGroup">
                            <p:stCondLst>
                              <p:cond delay="500"/>
                            </p:stCondLst>
                            <p:childTnLst>
                              <p:par>
                                <p:cTn id="17" presetID="42"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250"/>
                                        <p:tgtEl>
                                          <p:spTgt spid="7"/>
                                        </p:tgtEl>
                                      </p:cBhvr>
                                    </p:animEffect>
                                    <p:anim calcmode="lin" valueType="num">
                                      <p:cBhvr>
                                        <p:cTn id="20" dur="250" fill="hold"/>
                                        <p:tgtEl>
                                          <p:spTgt spid="7"/>
                                        </p:tgtEl>
                                        <p:attrNameLst>
                                          <p:attrName>ppt_x</p:attrName>
                                        </p:attrNameLst>
                                      </p:cBhvr>
                                      <p:tavLst>
                                        <p:tav tm="0">
                                          <p:val>
                                            <p:strVal val="#ppt_x"/>
                                          </p:val>
                                        </p:tav>
                                        <p:tav tm="100000">
                                          <p:val>
                                            <p:strVal val="#ppt_x"/>
                                          </p:val>
                                        </p:tav>
                                      </p:tavLst>
                                    </p:anim>
                                    <p:anim calcmode="lin" valueType="num">
                                      <p:cBhvr>
                                        <p:cTn id="21" dur="250" fill="hold"/>
                                        <p:tgtEl>
                                          <p:spTgt spid="7"/>
                                        </p:tgtEl>
                                        <p:attrNameLst>
                                          <p:attrName>ppt_y</p:attrName>
                                        </p:attrNameLst>
                                      </p:cBhvr>
                                      <p:tavLst>
                                        <p:tav tm="0">
                                          <p:val>
                                            <p:strVal val="#ppt_y+.1"/>
                                          </p:val>
                                        </p:tav>
                                        <p:tav tm="100000">
                                          <p:val>
                                            <p:strVal val="#ppt_y"/>
                                          </p:val>
                                        </p:tav>
                                      </p:tavLst>
                                    </p:anim>
                                  </p:childTnLst>
                                </p:cTn>
                              </p:par>
                            </p:childTnLst>
                          </p:cTn>
                        </p:par>
                        <p:par>
                          <p:cTn id="22" fill="hold" nodeType="afterGroup">
                            <p:stCondLst>
                              <p:cond delay="750"/>
                            </p:stCondLst>
                            <p:childTnLst>
                              <p:par>
                                <p:cTn id="23" presetID="42" presetClass="entr" presetSubtype="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250"/>
                                        <p:tgtEl>
                                          <p:spTgt spid="9"/>
                                        </p:tgtEl>
                                      </p:cBhvr>
                                    </p:animEffect>
                                    <p:anim calcmode="lin" valueType="num">
                                      <p:cBhvr>
                                        <p:cTn id="26" dur="250" fill="hold"/>
                                        <p:tgtEl>
                                          <p:spTgt spid="9"/>
                                        </p:tgtEl>
                                        <p:attrNameLst>
                                          <p:attrName>ppt_x</p:attrName>
                                        </p:attrNameLst>
                                      </p:cBhvr>
                                      <p:tavLst>
                                        <p:tav tm="0">
                                          <p:val>
                                            <p:strVal val="#ppt_x"/>
                                          </p:val>
                                        </p:tav>
                                        <p:tav tm="100000">
                                          <p:val>
                                            <p:strVal val="#ppt_x"/>
                                          </p:val>
                                        </p:tav>
                                      </p:tavLst>
                                    </p:anim>
                                    <p:anim calcmode="lin" valueType="num">
                                      <p:cBhvr>
                                        <p:cTn id="27" dur="250" fill="hold"/>
                                        <p:tgtEl>
                                          <p:spTgt spid="9"/>
                                        </p:tgtEl>
                                        <p:attrNameLst>
                                          <p:attrName>ppt_y</p:attrName>
                                        </p:attrNameLst>
                                      </p:cBhvr>
                                      <p:tavLst>
                                        <p:tav tm="0">
                                          <p:val>
                                            <p:strVal val="#ppt_y+.1"/>
                                          </p:val>
                                        </p:tav>
                                        <p:tav tm="100000">
                                          <p:val>
                                            <p:strVal val="#ppt_y"/>
                                          </p:val>
                                        </p:tav>
                                      </p:tavLst>
                                    </p:anim>
                                  </p:childTnLst>
                                </p:cTn>
                              </p:par>
                            </p:childTnLst>
                          </p:cTn>
                        </p:par>
                        <p:par>
                          <p:cTn id="28" fill="hold" nodeType="afterGroup">
                            <p:stCondLst>
                              <p:cond delay="1000"/>
                            </p:stCondLst>
                            <p:childTnLst>
                              <p:par>
                                <p:cTn id="29" presetID="42" presetClass="entr" presetSubtype="0"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50"/>
                                        <p:tgtEl>
                                          <p:spTgt spid="10"/>
                                        </p:tgtEl>
                                      </p:cBhvr>
                                    </p:animEffect>
                                    <p:anim calcmode="lin" valueType="num">
                                      <p:cBhvr>
                                        <p:cTn id="32" dur="250" fill="hold"/>
                                        <p:tgtEl>
                                          <p:spTgt spid="10"/>
                                        </p:tgtEl>
                                        <p:attrNameLst>
                                          <p:attrName>ppt_x</p:attrName>
                                        </p:attrNameLst>
                                      </p:cBhvr>
                                      <p:tavLst>
                                        <p:tav tm="0">
                                          <p:val>
                                            <p:strVal val="#ppt_x"/>
                                          </p:val>
                                        </p:tav>
                                        <p:tav tm="100000">
                                          <p:val>
                                            <p:strVal val="#ppt_x"/>
                                          </p:val>
                                        </p:tav>
                                      </p:tavLst>
                                    </p:anim>
                                    <p:anim calcmode="lin" valueType="num">
                                      <p:cBhvr>
                                        <p:cTn id="33" dur="250" fill="hold"/>
                                        <p:tgtEl>
                                          <p:spTgt spid="10"/>
                                        </p:tgtEl>
                                        <p:attrNameLst>
                                          <p:attrName>ppt_y</p:attrName>
                                        </p:attrNameLst>
                                      </p:cBhvr>
                                      <p:tavLst>
                                        <p:tav tm="0">
                                          <p:val>
                                            <p:strVal val="#ppt_y+.1"/>
                                          </p:val>
                                        </p:tav>
                                        <p:tav tm="100000">
                                          <p:val>
                                            <p:strVal val="#ppt_y"/>
                                          </p:val>
                                        </p:tav>
                                      </p:tavLst>
                                    </p:anim>
                                  </p:childTnLst>
                                </p:cTn>
                              </p:par>
                            </p:childTnLst>
                          </p:cTn>
                        </p:par>
                        <p:par>
                          <p:cTn id="34" fill="hold" nodeType="afterGroup">
                            <p:stCondLst>
                              <p:cond delay="1250"/>
                            </p:stCondLst>
                            <p:childTnLst>
                              <p:par>
                                <p:cTn id="35" presetID="42" presetClass="entr" presetSubtype="0" fill="hold" grpId="0" nodeType="after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250"/>
                                        <p:tgtEl>
                                          <p:spTgt spid="11"/>
                                        </p:tgtEl>
                                      </p:cBhvr>
                                    </p:animEffect>
                                    <p:anim calcmode="lin" valueType="num">
                                      <p:cBhvr>
                                        <p:cTn id="38" dur="250" fill="hold"/>
                                        <p:tgtEl>
                                          <p:spTgt spid="11"/>
                                        </p:tgtEl>
                                        <p:attrNameLst>
                                          <p:attrName>ppt_x</p:attrName>
                                        </p:attrNameLst>
                                      </p:cBhvr>
                                      <p:tavLst>
                                        <p:tav tm="0">
                                          <p:val>
                                            <p:strVal val="#ppt_x"/>
                                          </p:val>
                                        </p:tav>
                                        <p:tav tm="100000">
                                          <p:val>
                                            <p:strVal val="#ppt_x"/>
                                          </p:val>
                                        </p:tav>
                                      </p:tavLst>
                                    </p:anim>
                                    <p:anim calcmode="lin" valueType="num">
                                      <p:cBhvr>
                                        <p:cTn id="39" dur="250" fill="hold"/>
                                        <p:tgtEl>
                                          <p:spTgt spid="11"/>
                                        </p:tgtEl>
                                        <p:attrNameLst>
                                          <p:attrName>ppt_y</p:attrName>
                                        </p:attrNameLst>
                                      </p:cBhvr>
                                      <p:tavLst>
                                        <p:tav tm="0">
                                          <p:val>
                                            <p:strVal val="#ppt_y+.1"/>
                                          </p:val>
                                        </p:tav>
                                        <p:tav tm="100000">
                                          <p:val>
                                            <p:strVal val="#ppt_y"/>
                                          </p:val>
                                        </p:tav>
                                      </p:tavLst>
                                    </p:anim>
                                  </p:childTnLst>
                                </p:cTn>
                              </p:par>
                            </p:childTnLst>
                          </p:cTn>
                        </p:par>
                        <p:par>
                          <p:cTn id="40" fill="hold" nodeType="afterGroup">
                            <p:stCondLst>
                              <p:cond delay="1500"/>
                            </p:stCondLst>
                            <p:childTnLst>
                              <p:par>
                                <p:cTn id="41" presetID="42" presetClass="entr" presetSubtype="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250"/>
                                        <p:tgtEl>
                                          <p:spTgt spid="12"/>
                                        </p:tgtEl>
                                      </p:cBhvr>
                                    </p:animEffect>
                                    <p:anim calcmode="lin" valueType="num">
                                      <p:cBhvr>
                                        <p:cTn id="44" dur="250" fill="hold"/>
                                        <p:tgtEl>
                                          <p:spTgt spid="12"/>
                                        </p:tgtEl>
                                        <p:attrNameLst>
                                          <p:attrName>ppt_x</p:attrName>
                                        </p:attrNameLst>
                                      </p:cBhvr>
                                      <p:tavLst>
                                        <p:tav tm="0">
                                          <p:val>
                                            <p:strVal val="#ppt_x"/>
                                          </p:val>
                                        </p:tav>
                                        <p:tav tm="100000">
                                          <p:val>
                                            <p:strVal val="#ppt_x"/>
                                          </p:val>
                                        </p:tav>
                                      </p:tavLst>
                                    </p:anim>
                                    <p:anim calcmode="lin" valueType="num">
                                      <p:cBhvr>
                                        <p:cTn id="45" dur="250" fill="hold"/>
                                        <p:tgtEl>
                                          <p:spTgt spid="12"/>
                                        </p:tgtEl>
                                        <p:attrNameLst>
                                          <p:attrName>ppt_y</p:attrName>
                                        </p:attrNameLst>
                                      </p:cBhvr>
                                      <p:tavLst>
                                        <p:tav tm="0">
                                          <p:val>
                                            <p:strVal val="#ppt_y+.1"/>
                                          </p:val>
                                        </p:tav>
                                        <p:tav tm="100000">
                                          <p:val>
                                            <p:strVal val="#ppt_y"/>
                                          </p:val>
                                        </p:tav>
                                      </p:tavLst>
                                    </p:anim>
                                  </p:childTnLst>
                                </p:cTn>
                              </p:par>
                            </p:childTnLst>
                          </p:cTn>
                        </p:par>
                        <p:par>
                          <p:cTn id="46" fill="hold" nodeType="afterGroup">
                            <p:stCondLst>
                              <p:cond delay="1750"/>
                            </p:stCondLst>
                            <p:childTnLst>
                              <p:par>
                                <p:cTn id="47" presetID="42" presetClass="entr" presetSubtype="0" fill="hold" nodeType="after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250"/>
                                        <p:tgtEl>
                                          <p:spTgt spid="4"/>
                                        </p:tgtEl>
                                      </p:cBhvr>
                                    </p:animEffect>
                                    <p:anim calcmode="lin" valueType="num">
                                      <p:cBhvr>
                                        <p:cTn id="50" dur="250" fill="hold"/>
                                        <p:tgtEl>
                                          <p:spTgt spid="4"/>
                                        </p:tgtEl>
                                        <p:attrNameLst>
                                          <p:attrName>ppt_x</p:attrName>
                                        </p:attrNameLst>
                                      </p:cBhvr>
                                      <p:tavLst>
                                        <p:tav tm="0">
                                          <p:val>
                                            <p:strVal val="#ppt_x"/>
                                          </p:val>
                                        </p:tav>
                                        <p:tav tm="100000">
                                          <p:val>
                                            <p:strVal val="#ppt_x"/>
                                          </p:val>
                                        </p:tav>
                                      </p:tavLst>
                                    </p:anim>
                                    <p:anim calcmode="lin" valueType="num">
                                      <p:cBhvr>
                                        <p:cTn id="51" dur="250" fill="hold"/>
                                        <p:tgtEl>
                                          <p:spTgt spid="4"/>
                                        </p:tgtEl>
                                        <p:attrNameLst>
                                          <p:attrName>ppt_y</p:attrName>
                                        </p:attrNameLst>
                                      </p:cBhvr>
                                      <p:tavLst>
                                        <p:tav tm="0">
                                          <p:val>
                                            <p:strVal val="#ppt_y+.1"/>
                                          </p:val>
                                        </p:tav>
                                        <p:tav tm="100000">
                                          <p:val>
                                            <p:strVal val="#ppt_y"/>
                                          </p:val>
                                        </p:tav>
                                      </p:tavLst>
                                    </p:anim>
                                  </p:childTnLst>
                                </p:cTn>
                              </p:par>
                            </p:childTnLst>
                          </p:cTn>
                        </p:par>
                        <p:par>
                          <p:cTn id="52" fill="hold" nodeType="afterGroup">
                            <p:stCondLst>
                              <p:cond delay="2000"/>
                            </p:stCondLst>
                            <p:childTnLst>
                              <p:par>
                                <p:cTn id="53" presetID="42" presetClass="entr" presetSubtype="0" fill="hold" grpId="0" nodeType="after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250"/>
                                        <p:tgtEl>
                                          <p:spTgt spid="17"/>
                                        </p:tgtEl>
                                      </p:cBhvr>
                                    </p:animEffect>
                                    <p:anim calcmode="lin" valueType="num">
                                      <p:cBhvr>
                                        <p:cTn id="56" dur="250" fill="hold"/>
                                        <p:tgtEl>
                                          <p:spTgt spid="17"/>
                                        </p:tgtEl>
                                        <p:attrNameLst>
                                          <p:attrName>ppt_x</p:attrName>
                                        </p:attrNameLst>
                                      </p:cBhvr>
                                      <p:tavLst>
                                        <p:tav tm="0">
                                          <p:val>
                                            <p:strVal val="#ppt_x"/>
                                          </p:val>
                                        </p:tav>
                                        <p:tav tm="100000">
                                          <p:val>
                                            <p:strVal val="#ppt_x"/>
                                          </p:val>
                                        </p:tav>
                                      </p:tavLst>
                                    </p:anim>
                                    <p:anim calcmode="lin" valueType="num">
                                      <p:cBhvr>
                                        <p:cTn id="57" dur="250" fill="hold"/>
                                        <p:tgtEl>
                                          <p:spTgt spid="17"/>
                                        </p:tgtEl>
                                        <p:attrNameLst>
                                          <p:attrName>ppt_y</p:attrName>
                                        </p:attrNameLst>
                                      </p:cBhvr>
                                      <p:tavLst>
                                        <p:tav tm="0">
                                          <p:val>
                                            <p:strVal val="#ppt_y+.1"/>
                                          </p:val>
                                        </p:tav>
                                        <p:tav tm="100000">
                                          <p:val>
                                            <p:strVal val="#ppt_y"/>
                                          </p:val>
                                        </p:tav>
                                      </p:tavLst>
                                    </p:anim>
                                  </p:childTnLst>
                                </p:cTn>
                              </p:par>
                            </p:childTnLst>
                          </p:cTn>
                        </p:par>
                        <p:par>
                          <p:cTn id="58" fill="hold" nodeType="afterGroup">
                            <p:stCondLst>
                              <p:cond delay="2250"/>
                            </p:stCondLst>
                            <p:childTnLst>
                              <p:par>
                                <p:cTn id="59" presetID="42" presetClass="entr" presetSubtype="0" fill="hold" grpId="0" nodeType="afterEffect">
                                  <p:stCondLst>
                                    <p:cond delay="0"/>
                                  </p:stCondLst>
                                  <p:childTnLst>
                                    <p:set>
                                      <p:cBhvr>
                                        <p:cTn id="60" dur="1" fill="hold">
                                          <p:stCondLst>
                                            <p:cond delay="0"/>
                                          </p:stCondLst>
                                        </p:cTn>
                                        <p:tgtEl>
                                          <p:spTgt spid="18"/>
                                        </p:tgtEl>
                                        <p:attrNameLst>
                                          <p:attrName>style.visibility</p:attrName>
                                        </p:attrNameLst>
                                      </p:cBhvr>
                                      <p:to>
                                        <p:strVal val="visible"/>
                                      </p:to>
                                    </p:set>
                                    <p:animEffect transition="in" filter="fade">
                                      <p:cBhvr>
                                        <p:cTn id="61" dur="250"/>
                                        <p:tgtEl>
                                          <p:spTgt spid="18"/>
                                        </p:tgtEl>
                                      </p:cBhvr>
                                    </p:animEffect>
                                    <p:anim calcmode="lin" valueType="num">
                                      <p:cBhvr>
                                        <p:cTn id="62" dur="250" fill="hold"/>
                                        <p:tgtEl>
                                          <p:spTgt spid="18"/>
                                        </p:tgtEl>
                                        <p:attrNameLst>
                                          <p:attrName>ppt_x</p:attrName>
                                        </p:attrNameLst>
                                      </p:cBhvr>
                                      <p:tavLst>
                                        <p:tav tm="0">
                                          <p:val>
                                            <p:strVal val="#ppt_x"/>
                                          </p:val>
                                        </p:tav>
                                        <p:tav tm="100000">
                                          <p:val>
                                            <p:strVal val="#ppt_x"/>
                                          </p:val>
                                        </p:tav>
                                      </p:tavLst>
                                    </p:anim>
                                    <p:anim calcmode="lin" valueType="num">
                                      <p:cBhvr>
                                        <p:cTn id="63" dur="250" fill="hold"/>
                                        <p:tgtEl>
                                          <p:spTgt spid="18"/>
                                        </p:tgtEl>
                                        <p:attrNameLst>
                                          <p:attrName>ppt_y</p:attrName>
                                        </p:attrNameLst>
                                      </p:cBhvr>
                                      <p:tavLst>
                                        <p:tav tm="0">
                                          <p:val>
                                            <p:strVal val="#ppt_y+.1"/>
                                          </p:val>
                                        </p:tav>
                                        <p:tav tm="100000">
                                          <p:val>
                                            <p:strVal val="#ppt_y"/>
                                          </p:val>
                                        </p:tav>
                                      </p:tavLst>
                                    </p:anim>
                                  </p:childTnLst>
                                </p:cTn>
                              </p:par>
                            </p:childTnLst>
                          </p:cTn>
                        </p:par>
                        <p:par>
                          <p:cTn id="64" fill="hold" nodeType="afterGroup">
                            <p:stCondLst>
                              <p:cond delay="2500"/>
                            </p:stCondLst>
                            <p:childTnLst>
                              <p:par>
                                <p:cTn id="65" presetID="42" presetClass="entr" presetSubtype="0" fill="hold" nodeType="afterEffect">
                                  <p:stCondLst>
                                    <p:cond delay="0"/>
                                  </p:stCondLst>
                                  <p:childTnLst>
                                    <p:set>
                                      <p:cBhvr>
                                        <p:cTn id="66" dur="1" fill="hold">
                                          <p:stCondLst>
                                            <p:cond delay="0"/>
                                          </p:stCondLst>
                                        </p:cTn>
                                        <p:tgtEl>
                                          <p:spTgt spid="13"/>
                                        </p:tgtEl>
                                        <p:attrNameLst>
                                          <p:attrName>style.visibility</p:attrName>
                                        </p:attrNameLst>
                                      </p:cBhvr>
                                      <p:to>
                                        <p:strVal val="visible"/>
                                      </p:to>
                                    </p:set>
                                    <p:animEffect transition="in" filter="fade">
                                      <p:cBhvr>
                                        <p:cTn id="67" dur="250"/>
                                        <p:tgtEl>
                                          <p:spTgt spid="13"/>
                                        </p:tgtEl>
                                      </p:cBhvr>
                                    </p:animEffect>
                                    <p:anim calcmode="lin" valueType="num">
                                      <p:cBhvr>
                                        <p:cTn id="68" dur="250" fill="hold"/>
                                        <p:tgtEl>
                                          <p:spTgt spid="13"/>
                                        </p:tgtEl>
                                        <p:attrNameLst>
                                          <p:attrName>ppt_x</p:attrName>
                                        </p:attrNameLst>
                                      </p:cBhvr>
                                      <p:tavLst>
                                        <p:tav tm="0">
                                          <p:val>
                                            <p:strVal val="#ppt_x"/>
                                          </p:val>
                                        </p:tav>
                                        <p:tav tm="100000">
                                          <p:val>
                                            <p:strVal val="#ppt_x"/>
                                          </p:val>
                                        </p:tav>
                                      </p:tavLst>
                                    </p:anim>
                                    <p:anim calcmode="lin" valueType="num">
                                      <p:cBhvr>
                                        <p:cTn id="69" dur="250" fill="hold"/>
                                        <p:tgtEl>
                                          <p:spTgt spid="13"/>
                                        </p:tgtEl>
                                        <p:attrNameLst>
                                          <p:attrName>ppt_y</p:attrName>
                                        </p:attrNameLst>
                                      </p:cBhvr>
                                      <p:tavLst>
                                        <p:tav tm="0">
                                          <p:val>
                                            <p:strVal val="#ppt_y+.1"/>
                                          </p:val>
                                        </p:tav>
                                        <p:tav tm="100000">
                                          <p:val>
                                            <p:strVal val="#ppt_y"/>
                                          </p:val>
                                        </p:tav>
                                      </p:tavLst>
                                    </p:anim>
                                  </p:childTnLst>
                                </p:cTn>
                              </p:par>
                            </p:childTnLst>
                          </p:cTn>
                        </p:par>
                        <p:par>
                          <p:cTn id="70" fill="hold" nodeType="afterGroup">
                            <p:stCondLst>
                              <p:cond delay="2750"/>
                            </p:stCondLst>
                            <p:childTnLst>
                              <p:par>
                                <p:cTn id="71" presetID="42" presetClass="entr" presetSubtype="0" fill="hold" grpId="0" nodeType="afterEffect">
                                  <p:stCondLst>
                                    <p:cond delay="0"/>
                                  </p:stCondLst>
                                  <p:childTnLst>
                                    <p:set>
                                      <p:cBhvr>
                                        <p:cTn id="72" dur="1" fill="hold">
                                          <p:stCondLst>
                                            <p:cond delay="0"/>
                                          </p:stCondLst>
                                        </p:cTn>
                                        <p:tgtEl>
                                          <p:spTgt spid="22"/>
                                        </p:tgtEl>
                                        <p:attrNameLst>
                                          <p:attrName>style.visibility</p:attrName>
                                        </p:attrNameLst>
                                      </p:cBhvr>
                                      <p:to>
                                        <p:strVal val="visible"/>
                                      </p:to>
                                    </p:set>
                                    <p:animEffect transition="in" filter="fade">
                                      <p:cBhvr>
                                        <p:cTn id="73" dur="250"/>
                                        <p:tgtEl>
                                          <p:spTgt spid="22"/>
                                        </p:tgtEl>
                                      </p:cBhvr>
                                    </p:animEffect>
                                    <p:anim calcmode="lin" valueType="num">
                                      <p:cBhvr>
                                        <p:cTn id="74" dur="250" fill="hold"/>
                                        <p:tgtEl>
                                          <p:spTgt spid="22"/>
                                        </p:tgtEl>
                                        <p:attrNameLst>
                                          <p:attrName>ppt_x</p:attrName>
                                        </p:attrNameLst>
                                      </p:cBhvr>
                                      <p:tavLst>
                                        <p:tav tm="0">
                                          <p:val>
                                            <p:strVal val="#ppt_x"/>
                                          </p:val>
                                        </p:tav>
                                        <p:tav tm="100000">
                                          <p:val>
                                            <p:strVal val="#ppt_x"/>
                                          </p:val>
                                        </p:tav>
                                      </p:tavLst>
                                    </p:anim>
                                    <p:anim calcmode="lin" valueType="num">
                                      <p:cBhvr>
                                        <p:cTn id="75" dur="250" fill="hold"/>
                                        <p:tgtEl>
                                          <p:spTgt spid="22"/>
                                        </p:tgtEl>
                                        <p:attrNameLst>
                                          <p:attrName>ppt_y</p:attrName>
                                        </p:attrNameLst>
                                      </p:cBhvr>
                                      <p:tavLst>
                                        <p:tav tm="0">
                                          <p:val>
                                            <p:strVal val="#ppt_y+.1"/>
                                          </p:val>
                                        </p:tav>
                                        <p:tav tm="100000">
                                          <p:val>
                                            <p:strVal val="#ppt_y"/>
                                          </p:val>
                                        </p:tav>
                                      </p:tavLst>
                                    </p:anim>
                                  </p:childTnLst>
                                </p:cTn>
                              </p:par>
                            </p:childTnLst>
                          </p:cTn>
                        </p:par>
                        <p:par>
                          <p:cTn id="76" fill="hold" nodeType="afterGroup">
                            <p:stCondLst>
                              <p:cond delay="3000"/>
                            </p:stCondLst>
                            <p:childTnLst>
                              <p:par>
                                <p:cTn id="77" presetID="42" presetClass="entr" presetSubtype="0" fill="hold" grpId="0"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250"/>
                                        <p:tgtEl>
                                          <p:spTgt spid="23"/>
                                        </p:tgtEl>
                                      </p:cBhvr>
                                    </p:animEffect>
                                    <p:anim calcmode="lin" valueType="num">
                                      <p:cBhvr>
                                        <p:cTn id="80" dur="250" fill="hold"/>
                                        <p:tgtEl>
                                          <p:spTgt spid="23"/>
                                        </p:tgtEl>
                                        <p:attrNameLst>
                                          <p:attrName>ppt_x</p:attrName>
                                        </p:attrNameLst>
                                      </p:cBhvr>
                                      <p:tavLst>
                                        <p:tav tm="0">
                                          <p:val>
                                            <p:strVal val="#ppt_x"/>
                                          </p:val>
                                        </p:tav>
                                        <p:tav tm="100000">
                                          <p:val>
                                            <p:strVal val="#ppt_x"/>
                                          </p:val>
                                        </p:tav>
                                      </p:tavLst>
                                    </p:anim>
                                    <p:anim calcmode="lin" valueType="num">
                                      <p:cBhvr>
                                        <p:cTn id="81" dur="250" fill="hold"/>
                                        <p:tgtEl>
                                          <p:spTgt spid="23"/>
                                        </p:tgtEl>
                                        <p:attrNameLst>
                                          <p:attrName>ppt_y</p:attrName>
                                        </p:attrNameLst>
                                      </p:cBhvr>
                                      <p:tavLst>
                                        <p:tav tm="0">
                                          <p:val>
                                            <p:strVal val="#ppt_y+.1"/>
                                          </p:val>
                                        </p:tav>
                                        <p:tav tm="100000">
                                          <p:val>
                                            <p:strVal val="#ppt_y"/>
                                          </p:val>
                                        </p:tav>
                                      </p:tavLst>
                                    </p:anim>
                                  </p:childTnLst>
                                </p:cTn>
                              </p:par>
                            </p:childTnLst>
                          </p:cTn>
                        </p:par>
                        <p:par>
                          <p:cTn id="82" fill="hold" nodeType="afterGroup">
                            <p:stCondLst>
                              <p:cond delay="3250"/>
                            </p:stCondLst>
                            <p:childTnLst>
                              <p:par>
                                <p:cTn id="83" presetID="42" presetClass="entr" presetSubtype="0" fill="hold" grpId="0" nodeType="afterEffect">
                                  <p:stCondLst>
                                    <p:cond delay="0"/>
                                  </p:stCondLst>
                                  <p:childTnLst>
                                    <p:set>
                                      <p:cBhvr>
                                        <p:cTn id="84" dur="1" fill="hold">
                                          <p:stCondLst>
                                            <p:cond delay="0"/>
                                          </p:stCondLst>
                                        </p:cTn>
                                        <p:tgtEl>
                                          <p:spTgt spid="24"/>
                                        </p:tgtEl>
                                        <p:attrNameLst>
                                          <p:attrName>style.visibility</p:attrName>
                                        </p:attrNameLst>
                                      </p:cBhvr>
                                      <p:to>
                                        <p:strVal val="visible"/>
                                      </p:to>
                                    </p:set>
                                    <p:animEffect transition="in" filter="fade">
                                      <p:cBhvr>
                                        <p:cTn id="85" dur="250"/>
                                        <p:tgtEl>
                                          <p:spTgt spid="24"/>
                                        </p:tgtEl>
                                      </p:cBhvr>
                                    </p:animEffect>
                                    <p:anim calcmode="lin" valueType="num">
                                      <p:cBhvr>
                                        <p:cTn id="86" dur="250" fill="hold"/>
                                        <p:tgtEl>
                                          <p:spTgt spid="24"/>
                                        </p:tgtEl>
                                        <p:attrNameLst>
                                          <p:attrName>ppt_x</p:attrName>
                                        </p:attrNameLst>
                                      </p:cBhvr>
                                      <p:tavLst>
                                        <p:tav tm="0">
                                          <p:val>
                                            <p:strVal val="#ppt_x"/>
                                          </p:val>
                                        </p:tav>
                                        <p:tav tm="100000">
                                          <p:val>
                                            <p:strVal val="#ppt_x"/>
                                          </p:val>
                                        </p:tav>
                                      </p:tavLst>
                                    </p:anim>
                                    <p:anim calcmode="lin" valueType="num">
                                      <p:cBhvr>
                                        <p:cTn id="87" dur="250" fill="hold"/>
                                        <p:tgtEl>
                                          <p:spTgt spid="24"/>
                                        </p:tgtEl>
                                        <p:attrNameLst>
                                          <p:attrName>ppt_y</p:attrName>
                                        </p:attrNameLst>
                                      </p:cBhvr>
                                      <p:tavLst>
                                        <p:tav tm="0">
                                          <p:val>
                                            <p:strVal val="#ppt_y+.1"/>
                                          </p:val>
                                        </p:tav>
                                        <p:tav tm="100000">
                                          <p:val>
                                            <p:strVal val="#ppt_y"/>
                                          </p:val>
                                        </p:tav>
                                      </p:tavLst>
                                    </p:anim>
                                  </p:childTnLst>
                                </p:cTn>
                              </p:par>
                            </p:childTnLst>
                          </p:cTn>
                        </p:par>
                        <p:par>
                          <p:cTn id="88" fill="hold" nodeType="afterGroup">
                            <p:stCondLst>
                              <p:cond delay="3500"/>
                            </p:stCondLst>
                            <p:childTnLst>
                              <p:par>
                                <p:cTn id="89" presetID="42" presetClass="entr" presetSubtype="0" fill="hold" grpId="0" nodeType="afterEffect">
                                  <p:stCondLst>
                                    <p:cond delay="0"/>
                                  </p:stCondLst>
                                  <p:childTnLst>
                                    <p:set>
                                      <p:cBhvr>
                                        <p:cTn id="90" dur="1" fill="hold">
                                          <p:stCondLst>
                                            <p:cond delay="0"/>
                                          </p:stCondLst>
                                        </p:cTn>
                                        <p:tgtEl>
                                          <p:spTgt spid="25"/>
                                        </p:tgtEl>
                                        <p:attrNameLst>
                                          <p:attrName>style.visibility</p:attrName>
                                        </p:attrNameLst>
                                      </p:cBhvr>
                                      <p:to>
                                        <p:strVal val="visible"/>
                                      </p:to>
                                    </p:set>
                                    <p:animEffect transition="in" filter="fade">
                                      <p:cBhvr>
                                        <p:cTn id="91" dur="250"/>
                                        <p:tgtEl>
                                          <p:spTgt spid="25"/>
                                        </p:tgtEl>
                                      </p:cBhvr>
                                    </p:animEffect>
                                    <p:anim calcmode="lin" valueType="num">
                                      <p:cBhvr>
                                        <p:cTn id="92" dur="250" fill="hold"/>
                                        <p:tgtEl>
                                          <p:spTgt spid="25"/>
                                        </p:tgtEl>
                                        <p:attrNameLst>
                                          <p:attrName>ppt_x</p:attrName>
                                        </p:attrNameLst>
                                      </p:cBhvr>
                                      <p:tavLst>
                                        <p:tav tm="0">
                                          <p:val>
                                            <p:strVal val="#ppt_x"/>
                                          </p:val>
                                        </p:tav>
                                        <p:tav tm="100000">
                                          <p:val>
                                            <p:strVal val="#ppt_x"/>
                                          </p:val>
                                        </p:tav>
                                      </p:tavLst>
                                    </p:anim>
                                    <p:anim calcmode="lin" valueType="num">
                                      <p:cBhvr>
                                        <p:cTn id="93" dur="25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9" grpId="0" animBg="1"/>
      <p:bldP spid="10" grpId="0" animBg="1"/>
      <p:bldP spid="11" grpId="0" animBg="1"/>
      <p:bldP spid="12" grpId="0" animBg="1"/>
      <p:bldP spid="17" grpId="0" animBg="1"/>
      <p:bldP spid="18" grpId="0" animBg="1"/>
      <p:bldP spid="22" grpId="0"/>
      <p:bldP spid="23" grpId="0"/>
      <p:bldP spid="24" grpId="0"/>
      <p:bldP spid="25" grpId="0"/>
    </p:bldLst>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pSp>
        <p:nvGrpSpPr>
          <p:cNvPr id="2" name="组合 24"/>
          <p:cNvGrpSpPr/>
          <p:nvPr/>
        </p:nvGrpSpPr>
        <p:grpSpPr>
          <a:xfrm>
            <a:off x="292333" y="1336873"/>
            <a:ext cx="3669881" cy="3071081"/>
            <a:chOff x="2047009" y="1663503"/>
            <a:chExt cx="4100513" cy="2985932"/>
          </a:xfrm>
        </p:grpSpPr>
        <p:grpSp>
          <p:nvGrpSpPr>
            <p:cNvPr id="3" name="Group 2"/>
            <p:cNvGrpSpPr/>
            <p:nvPr/>
          </p:nvGrpSpPr>
          <p:grpSpPr>
            <a:xfrm>
              <a:off x="2047009" y="3042091"/>
              <a:ext cx="4100513" cy="1607344"/>
              <a:chOff x="3381376" y="4711701"/>
              <a:chExt cx="5467350" cy="2143125"/>
            </a:xfrm>
          </p:grpSpPr>
          <p:sp>
            <p:nvSpPr>
              <p:cNvPr id="96" name="Freeform 5"/>
              <p:cNvSpPr/>
              <p:nvPr/>
            </p:nvSpPr>
            <p:spPr bwMode="auto">
              <a:xfrm>
                <a:off x="3381376" y="4711640"/>
                <a:ext cx="5467350" cy="2143186"/>
              </a:xfrm>
              <a:custGeom>
                <a:gdLst>
                  <a:gd name="T0" fmla="*/ 0 w 1770"/>
                  <a:gd name="T1" fmla="*/ 658 h 694"/>
                  <a:gd name="T2" fmla="*/ 0 w 1770"/>
                  <a:gd name="T3" fmla="*/ 661 h 694"/>
                  <a:gd name="T4" fmla="*/ 0 w 1770"/>
                  <a:gd name="T5" fmla="*/ 661 h 694"/>
                  <a:gd name="T6" fmla="*/ 0 w 1770"/>
                  <a:gd name="T7" fmla="*/ 661 h 694"/>
                  <a:gd name="T8" fmla="*/ 110 w 1770"/>
                  <a:gd name="T9" fmla="*/ 694 h 694"/>
                  <a:gd name="T10" fmla="*/ 1696 w 1770"/>
                  <a:gd name="T11" fmla="*/ 693 h 694"/>
                  <a:gd name="T12" fmla="*/ 1764 w 1770"/>
                  <a:gd name="T13" fmla="*/ 667 h 694"/>
                  <a:gd name="T14" fmla="*/ 1766 w 1770"/>
                  <a:gd name="T15" fmla="*/ 624 h 694"/>
                  <a:gd name="T16" fmla="*/ 1766 w 1770"/>
                  <a:gd name="T17" fmla="*/ 624 h 694"/>
                  <a:gd name="T18" fmla="*/ 1743 w 1770"/>
                  <a:gd name="T19" fmla="*/ 577 h 694"/>
                  <a:gd name="T20" fmla="*/ 1281 w 1770"/>
                  <a:gd name="T21" fmla="*/ 37 h 694"/>
                  <a:gd name="T22" fmla="*/ 1189 w 1770"/>
                  <a:gd name="T23" fmla="*/ 0 h 694"/>
                  <a:gd name="T24" fmla="*/ 557 w 1770"/>
                  <a:gd name="T25" fmla="*/ 1 h 694"/>
                  <a:gd name="T26" fmla="*/ 478 w 1770"/>
                  <a:gd name="T27" fmla="*/ 30 h 694"/>
                  <a:gd name="T28" fmla="*/ 21 w 1770"/>
                  <a:gd name="T29" fmla="*/ 578 h 694"/>
                  <a:gd name="T30" fmla="*/ 3 w 1770"/>
                  <a:gd name="T31" fmla="*/ 612 h 694"/>
                  <a:gd name="T32" fmla="*/ 3 w 1770"/>
                  <a:gd name="T33" fmla="*/ 612 h 694"/>
                  <a:gd name="T34" fmla="*/ 0 w 1770"/>
                  <a:gd name="T35" fmla="*/ 658 h 6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70" h="694">
                    <a:moveTo>
                      <a:pt x="0" y="658"/>
                    </a:moveTo>
                    <a:cubicBezTo>
                      <a:pt x="0" y="659"/>
                      <a:pt x="0" y="660"/>
                      <a:pt x="0" y="661"/>
                    </a:cubicBezTo>
                    <a:cubicBezTo>
                      <a:pt x="0" y="661"/>
                      <a:pt x="0" y="661"/>
                      <a:pt x="0" y="661"/>
                    </a:cubicBezTo>
                    <a:cubicBezTo>
                      <a:pt x="0" y="661"/>
                      <a:pt x="0" y="661"/>
                      <a:pt x="0" y="661"/>
                    </a:cubicBezTo>
                    <a:cubicBezTo>
                      <a:pt x="0" y="680"/>
                      <a:pt x="27" y="694"/>
                      <a:pt x="110" y="694"/>
                    </a:cubicBezTo>
                    <a:cubicBezTo>
                      <a:pt x="1696" y="693"/>
                      <a:pt x="1696" y="693"/>
                      <a:pt x="1696" y="693"/>
                    </a:cubicBezTo>
                    <a:cubicBezTo>
                      <a:pt x="1747" y="693"/>
                      <a:pt x="1764" y="683"/>
                      <a:pt x="1764" y="667"/>
                    </a:cubicBezTo>
                    <a:cubicBezTo>
                      <a:pt x="1766" y="624"/>
                      <a:pt x="1766" y="624"/>
                      <a:pt x="1766" y="624"/>
                    </a:cubicBezTo>
                    <a:cubicBezTo>
                      <a:pt x="1766" y="624"/>
                      <a:pt x="1766" y="624"/>
                      <a:pt x="1766" y="624"/>
                    </a:cubicBezTo>
                    <a:cubicBezTo>
                      <a:pt x="1770" y="612"/>
                      <a:pt x="1759" y="595"/>
                      <a:pt x="1743" y="577"/>
                    </a:cubicBezTo>
                    <a:cubicBezTo>
                      <a:pt x="1281" y="37"/>
                      <a:pt x="1281" y="37"/>
                      <a:pt x="1281" y="37"/>
                    </a:cubicBezTo>
                    <a:cubicBezTo>
                      <a:pt x="1263" y="16"/>
                      <a:pt x="1245" y="0"/>
                      <a:pt x="1189" y="0"/>
                    </a:cubicBezTo>
                    <a:cubicBezTo>
                      <a:pt x="557" y="1"/>
                      <a:pt x="557" y="1"/>
                      <a:pt x="557" y="1"/>
                    </a:cubicBezTo>
                    <a:cubicBezTo>
                      <a:pt x="512" y="1"/>
                      <a:pt x="495" y="9"/>
                      <a:pt x="478" y="30"/>
                    </a:cubicBezTo>
                    <a:cubicBezTo>
                      <a:pt x="21" y="578"/>
                      <a:pt x="21" y="578"/>
                      <a:pt x="21" y="578"/>
                    </a:cubicBezTo>
                    <a:cubicBezTo>
                      <a:pt x="11" y="590"/>
                      <a:pt x="4" y="602"/>
                      <a:pt x="3" y="612"/>
                    </a:cubicBezTo>
                    <a:cubicBezTo>
                      <a:pt x="3" y="612"/>
                      <a:pt x="3" y="612"/>
                      <a:pt x="3" y="612"/>
                    </a:cubicBezTo>
                    <a:lnTo>
                      <a:pt x="0" y="658"/>
                    </a:lnTo>
                    <a:close/>
                  </a:path>
                </a:pathLst>
              </a:custGeom>
              <a:solidFill>
                <a:schemeClr val="bg2">
                  <a:lumMod val="25000"/>
                </a:schemeClr>
              </a:solidFill>
              <a:ln>
                <a:noFill/>
              </a:ln>
            </p:spPr>
            <p:txBody>
              <a:bodyPr lIns="51435" tIns="25718" rIns="51435" bIns="25718"/>
              <a:lstStyle/>
              <a:p>
                <a:pPr defTabSz="514350">
                  <a:defRPr/>
                </a:pPr>
                <a:endParaRPr lang="en-US" sz="760"/>
              </a:p>
            </p:txBody>
          </p:sp>
          <p:sp>
            <p:nvSpPr>
              <p:cNvPr id="97" name="Freeform 6"/>
              <p:cNvSpPr/>
              <p:nvPr/>
            </p:nvSpPr>
            <p:spPr bwMode="auto">
              <a:xfrm>
                <a:off x="3689351" y="4819651"/>
                <a:ext cx="4849813" cy="1701800"/>
              </a:xfrm>
              <a:custGeom>
                <a:gdLst>
                  <a:gd name="T0" fmla="*/ 0 w 3055"/>
                  <a:gd name="T1" fmla="*/ 1072 h 1072"/>
                  <a:gd name="T2" fmla="*/ 3055 w 3055"/>
                  <a:gd name="T3" fmla="*/ 1068 h 1072"/>
                  <a:gd name="T4" fmla="*/ 2226 w 3055"/>
                  <a:gd name="T5" fmla="*/ 0 h 1072"/>
                  <a:gd name="T6" fmla="*/ 812 w 3055"/>
                  <a:gd name="T7" fmla="*/ 2 h 1072"/>
                  <a:gd name="T8" fmla="*/ 0 w 3055"/>
                  <a:gd name="T9" fmla="*/ 1072 h 1072"/>
                </a:gdLst>
                <a:cxnLst>
                  <a:cxn ang="0">
                    <a:pos x="T0" y="T1"/>
                  </a:cxn>
                  <a:cxn ang="0">
                    <a:pos x="T2" y="T3"/>
                  </a:cxn>
                  <a:cxn ang="0">
                    <a:pos x="T4" y="T5"/>
                  </a:cxn>
                  <a:cxn ang="0">
                    <a:pos x="T6" y="T7"/>
                  </a:cxn>
                  <a:cxn ang="0">
                    <a:pos x="T8" y="T9"/>
                  </a:cxn>
                </a:cxnLst>
                <a:rect l="0" t="0" r="r" b="b"/>
                <a:pathLst>
                  <a:path w="3055" h="1072">
                    <a:moveTo>
                      <a:pt x="0" y="1072"/>
                    </a:moveTo>
                    <a:lnTo>
                      <a:pt x="3055" y="1068"/>
                    </a:lnTo>
                    <a:lnTo>
                      <a:pt x="2226" y="0"/>
                    </a:lnTo>
                    <a:lnTo>
                      <a:pt x="812" y="2"/>
                    </a:lnTo>
                    <a:lnTo>
                      <a:pt x="0" y="1072"/>
                    </a:lnTo>
                    <a:close/>
                  </a:path>
                </a:pathLst>
              </a:custGeom>
              <a:blipFill>
                <a:blip r:embed="rId3"/>
                <a:stretch>
                  <a:fillRect l="-25000" r="-25000"/>
                </a:stretch>
              </a:blipFill>
              <a:ln>
                <a:noFill/>
              </a:ln>
            </p:spPr>
            <p:txBody>
              <a:bodyPr lIns="51435" tIns="25718" rIns="51435" bIns="25718"/>
              <a:lstStyle/>
              <a:p>
                <a:pPr defTabSz="514350">
                  <a:defRPr/>
                </a:pPr>
                <a:endParaRPr lang="en-US" sz="760"/>
              </a:p>
            </p:txBody>
          </p:sp>
          <p:sp>
            <p:nvSpPr>
              <p:cNvPr id="98" name="Freeform 7"/>
              <p:cNvSpPr/>
              <p:nvPr/>
            </p:nvSpPr>
            <p:spPr bwMode="auto">
              <a:xfrm>
                <a:off x="5664685" y="4750387"/>
                <a:ext cx="845041" cy="31481"/>
              </a:xfrm>
              <a:custGeom>
                <a:gdLst>
                  <a:gd name="T0" fmla="*/ 260 w 274"/>
                  <a:gd name="T1" fmla="*/ 0 h 10"/>
                  <a:gd name="T2" fmla="*/ 137 w 274"/>
                  <a:gd name="T3" fmla="*/ 0 h 10"/>
                  <a:gd name="T4" fmla="*/ 14 w 274"/>
                  <a:gd name="T5" fmla="*/ 0 h 10"/>
                  <a:gd name="T6" fmla="*/ 1 w 274"/>
                  <a:gd name="T7" fmla="*/ 5 h 10"/>
                  <a:gd name="T8" fmla="*/ 1 w 274"/>
                  <a:gd name="T9" fmla="*/ 5 h 10"/>
                  <a:gd name="T10" fmla="*/ 12 w 274"/>
                  <a:gd name="T11" fmla="*/ 10 h 10"/>
                  <a:gd name="T12" fmla="*/ 137 w 274"/>
                  <a:gd name="T13" fmla="*/ 10 h 10"/>
                  <a:gd name="T14" fmla="*/ 262 w 274"/>
                  <a:gd name="T15" fmla="*/ 10 h 10"/>
                  <a:gd name="T16" fmla="*/ 273 w 274"/>
                  <a:gd name="T17" fmla="*/ 5 h 10"/>
                  <a:gd name="T18" fmla="*/ 273 w 274"/>
                  <a:gd name="T19" fmla="*/ 5 h 10"/>
                  <a:gd name="T20" fmla="*/ 260 w 274"/>
                  <a:gd name="T21" fmla="*/ 0 h 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10">
                    <a:moveTo>
                      <a:pt x="260" y="0"/>
                    </a:moveTo>
                    <a:cubicBezTo>
                      <a:pt x="219" y="0"/>
                      <a:pt x="178" y="0"/>
                      <a:pt x="137" y="0"/>
                    </a:cubicBezTo>
                    <a:cubicBezTo>
                      <a:pt x="96" y="0"/>
                      <a:pt x="55" y="0"/>
                      <a:pt x="14" y="0"/>
                    </a:cubicBezTo>
                    <a:cubicBezTo>
                      <a:pt x="8" y="0"/>
                      <a:pt x="2" y="3"/>
                      <a:pt x="1" y="5"/>
                    </a:cubicBezTo>
                    <a:cubicBezTo>
                      <a:pt x="1" y="5"/>
                      <a:pt x="1" y="5"/>
                      <a:pt x="1" y="5"/>
                    </a:cubicBezTo>
                    <a:cubicBezTo>
                      <a:pt x="0" y="8"/>
                      <a:pt x="5" y="10"/>
                      <a:pt x="12" y="10"/>
                    </a:cubicBezTo>
                    <a:cubicBezTo>
                      <a:pt x="54" y="10"/>
                      <a:pt x="95" y="10"/>
                      <a:pt x="137" y="10"/>
                    </a:cubicBezTo>
                    <a:cubicBezTo>
                      <a:pt x="179" y="10"/>
                      <a:pt x="220" y="10"/>
                      <a:pt x="262" y="10"/>
                    </a:cubicBezTo>
                    <a:cubicBezTo>
                      <a:pt x="269" y="10"/>
                      <a:pt x="274" y="8"/>
                      <a:pt x="273" y="5"/>
                    </a:cubicBezTo>
                    <a:cubicBezTo>
                      <a:pt x="273" y="5"/>
                      <a:pt x="273" y="5"/>
                      <a:pt x="273" y="5"/>
                    </a:cubicBezTo>
                    <a:cubicBezTo>
                      <a:pt x="272" y="2"/>
                      <a:pt x="266" y="0"/>
                      <a:pt x="260" y="0"/>
                    </a:cubicBezTo>
                    <a:close/>
                  </a:path>
                </a:pathLst>
              </a:custGeom>
              <a:solidFill>
                <a:schemeClr val="bg2"/>
              </a:solidFill>
              <a:ln>
                <a:noFill/>
              </a:ln>
            </p:spPr>
            <p:txBody>
              <a:bodyPr lIns="51435" tIns="25718" rIns="51435" bIns="25718"/>
              <a:lstStyle/>
              <a:p>
                <a:pPr defTabSz="514350">
                  <a:defRPr/>
                </a:pPr>
                <a:endParaRPr lang="en-US" sz="760"/>
              </a:p>
            </p:txBody>
          </p:sp>
          <p:sp>
            <p:nvSpPr>
              <p:cNvPr id="99" name="Freeform 8"/>
              <p:cNvSpPr>
                <a:spLocks noEditPoints="1"/>
              </p:cNvSpPr>
              <p:nvPr/>
            </p:nvSpPr>
            <p:spPr bwMode="auto">
              <a:xfrm>
                <a:off x="5831756" y="6556960"/>
                <a:ext cx="561747" cy="101711"/>
              </a:xfrm>
              <a:custGeom>
                <a:gdLst>
                  <a:gd name="T0" fmla="*/ 91 w 182"/>
                  <a:gd name="T1" fmla="*/ 7 h 33"/>
                  <a:gd name="T2" fmla="*/ 119 w 182"/>
                  <a:gd name="T3" fmla="*/ 18 h 33"/>
                  <a:gd name="T4" fmla="*/ 119 w 182"/>
                  <a:gd name="T5" fmla="*/ 30 h 33"/>
                  <a:gd name="T6" fmla="*/ 98 w 182"/>
                  <a:gd name="T7" fmla="*/ 30 h 33"/>
                  <a:gd name="T8" fmla="*/ 99 w 182"/>
                  <a:gd name="T9" fmla="*/ 25 h 33"/>
                  <a:gd name="T10" fmla="*/ 90 w 182"/>
                  <a:gd name="T11" fmla="*/ 21 h 33"/>
                  <a:gd name="T12" fmla="*/ 90 w 182"/>
                  <a:gd name="T13" fmla="*/ 21 h 33"/>
                  <a:gd name="T14" fmla="*/ 90 w 182"/>
                  <a:gd name="T15" fmla="*/ 33 h 33"/>
                  <a:gd name="T16" fmla="*/ 91 w 182"/>
                  <a:gd name="T17" fmla="*/ 33 h 33"/>
                  <a:gd name="T18" fmla="*/ 181 w 182"/>
                  <a:gd name="T19" fmla="*/ 17 h 33"/>
                  <a:gd name="T20" fmla="*/ 90 w 182"/>
                  <a:gd name="T21" fmla="*/ 0 h 33"/>
                  <a:gd name="T22" fmla="*/ 90 w 182"/>
                  <a:gd name="T23" fmla="*/ 3 h 33"/>
                  <a:gd name="T24" fmla="*/ 91 w 182"/>
                  <a:gd name="T25" fmla="*/ 2 h 33"/>
                  <a:gd name="T26" fmla="*/ 130 w 182"/>
                  <a:gd name="T27" fmla="*/ 17 h 33"/>
                  <a:gd name="T28" fmla="*/ 126 w 182"/>
                  <a:gd name="T29" fmla="*/ 19 h 33"/>
                  <a:gd name="T30" fmla="*/ 91 w 182"/>
                  <a:gd name="T31" fmla="*/ 5 h 33"/>
                  <a:gd name="T32" fmla="*/ 90 w 182"/>
                  <a:gd name="T33" fmla="*/ 6 h 33"/>
                  <a:gd name="T34" fmla="*/ 90 w 182"/>
                  <a:gd name="T35" fmla="*/ 8 h 33"/>
                  <a:gd name="T36" fmla="*/ 91 w 182"/>
                  <a:gd name="T37" fmla="*/ 7 h 33"/>
                  <a:gd name="T38" fmla="*/ 90 w 182"/>
                  <a:gd name="T39" fmla="*/ 21 h 33"/>
                  <a:gd name="T40" fmla="*/ 81 w 182"/>
                  <a:gd name="T41" fmla="*/ 25 h 33"/>
                  <a:gd name="T42" fmla="*/ 81 w 182"/>
                  <a:gd name="T43" fmla="*/ 30 h 33"/>
                  <a:gd name="T44" fmla="*/ 61 w 182"/>
                  <a:gd name="T45" fmla="*/ 30 h 33"/>
                  <a:gd name="T46" fmla="*/ 62 w 182"/>
                  <a:gd name="T47" fmla="*/ 18 h 33"/>
                  <a:gd name="T48" fmla="*/ 90 w 182"/>
                  <a:gd name="T49" fmla="*/ 8 h 33"/>
                  <a:gd name="T50" fmla="*/ 90 w 182"/>
                  <a:gd name="T51" fmla="*/ 6 h 33"/>
                  <a:gd name="T52" fmla="*/ 55 w 182"/>
                  <a:gd name="T53" fmla="*/ 19 h 33"/>
                  <a:gd name="T54" fmla="*/ 51 w 182"/>
                  <a:gd name="T55" fmla="*/ 17 h 33"/>
                  <a:gd name="T56" fmla="*/ 68 w 182"/>
                  <a:gd name="T57" fmla="*/ 11 h 33"/>
                  <a:gd name="T58" fmla="*/ 68 w 182"/>
                  <a:gd name="T59" fmla="*/ 4 h 33"/>
                  <a:gd name="T60" fmla="*/ 77 w 182"/>
                  <a:gd name="T61" fmla="*/ 4 h 33"/>
                  <a:gd name="T62" fmla="*/ 77 w 182"/>
                  <a:gd name="T63" fmla="*/ 8 h 33"/>
                  <a:gd name="T64" fmla="*/ 90 w 182"/>
                  <a:gd name="T65" fmla="*/ 3 h 33"/>
                  <a:gd name="T66" fmla="*/ 90 w 182"/>
                  <a:gd name="T67" fmla="*/ 0 h 33"/>
                  <a:gd name="T68" fmla="*/ 90 w 182"/>
                  <a:gd name="T69" fmla="*/ 0 h 33"/>
                  <a:gd name="T70" fmla="*/ 0 w 182"/>
                  <a:gd name="T71" fmla="*/ 17 h 33"/>
                  <a:gd name="T72" fmla="*/ 90 w 182"/>
                  <a:gd name="T73" fmla="*/ 33 h 33"/>
                  <a:gd name="T74" fmla="*/ 90 w 182"/>
                  <a:gd name="T75" fmla="*/ 21 h 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2" h="33">
                    <a:moveTo>
                      <a:pt x="91" y="7"/>
                    </a:moveTo>
                    <a:cubicBezTo>
                      <a:pt x="119" y="18"/>
                      <a:pt x="119" y="18"/>
                      <a:pt x="119" y="18"/>
                    </a:cubicBezTo>
                    <a:cubicBezTo>
                      <a:pt x="119" y="30"/>
                      <a:pt x="119" y="30"/>
                      <a:pt x="119" y="30"/>
                    </a:cubicBezTo>
                    <a:cubicBezTo>
                      <a:pt x="98" y="30"/>
                      <a:pt x="98" y="30"/>
                      <a:pt x="98" y="30"/>
                    </a:cubicBezTo>
                    <a:cubicBezTo>
                      <a:pt x="99" y="25"/>
                      <a:pt x="99" y="25"/>
                      <a:pt x="99" y="25"/>
                    </a:cubicBezTo>
                    <a:cubicBezTo>
                      <a:pt x="99" y="23"/>
                      <a:pt x="95" y="21"/>
                      <a:pt x="90" y="21"/>
                    </a:cubicBezTo>
                    <a:cubicBezTo>
                      <a:pt x="90" y="21"/>
                      <a:pt x="90" y="21"/>
                      <a:pt x="90" y="21"/>
                    </a:cubicBezTo>
                    <a:cubicBezTo>
                      <a:pt x="90" y="33"/>
                      <a:pt x="90" y="33"/>
                      <a:pt x="90" y="33"/>
                    </a:cubicBezTo>
                    <a:cubicBezTo>
                      <a:pt x="91" y="33"/>
                      <a:pt x="91" y="33"/>
                      <a:pt x="91" y="33"/>
                    </a:cubicBezTo>
                    <a:cubicBezTo>
                      <a:pt x="141" y="33"/>
                      <a:pt x="182" y="26"/>
                      <a:pt x="181" y="17"/>
                    </a:cubicBezTo>
                    <a:cubicBezTo>
                      <a:pt x="180" y="8"/>
                      <a:pt x="139" y="0"/>
                      <a:pt x="90" y="0"/>
                    </a:cubicBezTo>
                    <a:cubicBezTo>
                      <a:pt x="90" y="3"/>
                      <a:pt x="90" y="3"/>
                      <a:pt x="90" y="3"/>
                    </a:cubicBezTo>
                    <a:cubicBezTo>
                      <a:pt x="91" y="2"/>
                      <a:pt x="91" y="2"/>
                      <a:pt x="91" y="2"/>
                    </a:cubicBezTo>
                    <a:cubicBezTo>
                      <a:pt x="130" y="17"/>
                      <a:pt x="130" y="17"/>
                      <a:pt x="130" y="17"/>
                    </a:cubicBezTo>
                    <a:cubicBezTo>
                      <a:pt x="126" y="19"/>
                      <a:pt x="126" y="19"/>
                      <a:pt x="126" y="19"/>
                    </a:cubicBezTo>
                    <a:cubicBezTo>
                      <a:pt x="91" y="5"/>
                      <a:pt x="91" y="5"/>
                      <a:pt x="91" y="5"/>
                    </a:cubicBezTo>
                    <a:cubicBezTo>
                      <a:pt x="90" y="6"/>
                      <a:pt x="90" y="6"/>
                      <a:pt x="90" y="6"/>
                    </a:cubicBezTo>
                    <a:cubicBezTo>
                      <a:pt x="90" y="8"/>
                      <a:pt x="90" y="8"/>
                      <a:pt x="90" y="8"/>
                    </a:cubicBezTo>
                    <a:lnTo>
                      <a:pt x="91" y="7"/>
                    </a:lnTo>
                    <a:close/>
                    <a:moveTo>
                      <a:pt x="90" y="21"/>
                    </a:moveTo>
                    <a:cubicBezTo>
                      <a:pt x="85" y="21"/>
                      <a:pt x="82" y="23"/>
                      <a:pt x="81" y="25"/>
                    </a:cubicBezTo>
                    <a:cubicBezTo>
                      <a:pt x="81" y="30"/>
                      <a:pt x="81" y="30"/>
                      <a:pt x="81" y="30"/>
                    </a:cubicBezTo>
                    <a:cubicBezTo>
                      <a:pt x="61" y="30"/>
                      <a:pt x="61" y="30"/>
                      <a:pt x="61" y="30"/>
                    </a:cubicBezTo>
                    <a:cubicBezTo>
                      <a:pt x="62" y="18"/>
                      <a:pt x="62" y="18"/>
                      <a:pt x="62" y="18"/>
                    </a:cubicBezTo>
                    <a:cubicBezTo>
                      <a:pt x="90" y="8"/>
                      <a:pt x="90" y="8"/>
                      <a:pt x="90" y="8"/>
                    </a:cubicBezTo>
                    <a:cubicBezTo>
                      <a:pt x="90" y="6"/>
                      <a:pt x="90" y="6"/>
                      <a:pt x="90" y="6"/>
                    </a:cubicBezTo>
                    <a:cubicBezTo>
                      <a:pt x="55" y="19"/>
                      <a:pt x="55" y="19"/>
                      <a:pt x="55" y="19"/>
                    </a:cubicBezTo>
                    <a:cubicBezTo>
                      <a:pt x="51" y="17"/>
                      <a:pt x="51" y="17"/>
                      <a:pt x="51" y="17"/>
                    </a:cubicBezTo>
                    <a:cubicBezTo>
                      <a:pt x="68" y="11"/>
                      <a:pt x="68" y="11"/>
                      <a:pt x="68" y="11"/>
                    </a:cubicBezTo>
                    <a:cubicBezTo>
                      <a:pt x="68" y="4"/>
                      <a:pt x="68" y="4"/>
                      <a:pt x="68" y="4"/>
                    </a:cubicBezTo>
                    <a:cubicBezTo>
                      <a:pt x="77" y="4"/>
                      <a:pt x="77" y="4"/>
                      <a:pt x="77" y="4"/>
                    </a:cubicBezTo>
                    <a:cubicBezTo>
                      <a:pt x="77" y="8"/>
                      <a:pt x="77" y="8"/>
                      <a:pt x="77" y="8"/>
                    </a:cubicBezTo>
                    <a:cubicBezTo>
                      <a:pt x="90" y="3"/>
                      <a:pt x="90" y="3"/>
                      <a:pt x="90" y="3"/>
                    </a:cubicBezTo>
                    <a:cubicBezTo>
                      <a:pt x="90" y="0"/>
                      <a:pt x="90" y="0"/>
                      <a:pt x="90" y="0"/>
                    </a:cubicBezTo>
                    <a:cubicBezTo>
                      <a:pt x="90" y="0"/>
                      <a:pt x="90" y="0"/>
                      <a:pt x="90" y="0"/>
                    </a:cubicBezTo>
                    <a:cubicBezTo>
                      <a:pt x="41" y="0"/>
                      <a:pt x="1" y="8"/>
                      <a:pt x="0" y="17"/>
                    </a:cubicBezTo>
                    <a:cubicBezTo>
                      <a:pt x="0" y="26"/>
                      <a:pt x="40" y="33"/>
                      <a:pt x="90" y="33"/>
                    </a:cubicBezTo>
                    <a:lnTo>
                      <a:pt x="90" y="21"/>
                    </a:lnTo>
                    <a:close/>
                  </a:path>
                </a:pathLst>
              </a:custGeom>
              <a:solidFill>
                <a:schemeClr val="bg2"/>
              </a:solidFill>
              <a:ln>
                <a:noFill/>
              </a:ln>
            </p:spPr>
            <p:txBody>
              <a:bodyPr lIns="51435" tIns="25718" rIns="51435" bIns="25718"/>
              <a:lstStyle/>
              <a:p>
                <a:pPr defTabSz="514350">
                  <a:defRPr/>
                </a:pPr>
                <a:endParaRPr lang="en-US" sz="760"/>
              </a:p>
            </p:txBody>
          </p:sp>
        </p:grpSp>
        <p:grpSp>
          <p:nvGrpSpPr>
            <p:cNvPr id="4" name="Group 8"/>
            <p:cNvGrpSpPr>
              <a:grpSpLocks noChangeAspect="1"/>
            </p:cNvGrpSpPr>
            <p:nvPr/>
          </p:nvGrpSpPr>
          <p:grpSpPr>
            <a:xfrm>
              <a:off x="2674772" y="1663503"/>
              <a:ext cx="2418743" cy="1941806"/>
              <a:chOff x="5599580" y="500139"/>
              <a:chExt cx="5497171" cy="4413216"/>
            </a:xfrm>
          </p:grpSpPr>
          <p:sp>
            <p:nvSpPr>
              <p:cNvPr id="28" name="Oval Callout 9"/>
              <p:cNvSpPr/>
              <p:nvPr/>
            </p:nvSpPr>
            <p:spPr>
              <a:xfrm>
                <a:off x="8126772" y="3612563"/>
                <a:ext cx="1766475" cy="1180575"/>
              </a:xfrm>
              <a:prstGeom prst="wedgeEllipseCallout">
                <a:avLst/>
              </a:prstGeom>
              <a:solidFill>
                <a:schemeClr val="accent1"/>
              </a:solidFill>
              <a:ln>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29" name="Oval Callout 10"/>
              <p:cNvSpPr/>
              <p:nvPr/>
            </p:nvSpPr>
            <p:spPr>
              <a:xfrm>
                <a:off x="6682224" y="3199775"/>
                <a:ext cx="1341367" cy="895752"/>
              </a:xfrm>
              <a:prstGeom prst="wedgeEllipseCallout">
                <a:avLst>
                  <a:gd name="adj1" fmla="val 26187"/>
                  <a:gd name="adj2" fmla="val 6250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30" name="Oval Callout 11"/>
              <p:cNvSpPr/>
              <p:nvPr/>
            </p:nvSpPr>
            <p:spPr>
              <a:xfrm>
                <a:off x="9546556" y="2526931"/>
                <a:ext cx="1543602" cy="1031971"/>
              </a:xfrm>
              <a:prstGeom prst="wedgeEllipseCallout">
                <a:avLst>
                  <a:gd name="adj1" fmla="val 23309"/>
                  <a:gd name="adj2" fmla="val 5762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31" name="Oval Callout 12"/>
              <p:cNvSpPr/>
              <p:nvPr/>
            </p:nvSpPr>
            <p:spPr>
              <a:xfrm>
                <a:off x="8126772" y="2621871"/>
                <a:ext cx="1176276" cy="788427"/>
              </a:xfrm>
              <a:prstGeom prst="wedgeEllipseCallout">
                <a:avLst>
                  <a:gd name="adj1" fmla="val 11299"/>
                  <a:gd name="adj2" fmla="val 6676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32" name="Oval Callout 13"/>
              <p:cNvSpPr/>
              <p:nvPr/>
            </p:nvSpPr>
            <p:spPr>
              <a:xfrm>
                <a:off x="10103739" y="1705481"/>
                <a:ext cx="994673" cy="664591"/>
              </a:xfrm>
              <a:prstGeom prst="wedgeEllipseCallout">
                <a:avLst>
                  <a:gd name="adj1" fmla="val 39098"/>
                  <a:gd name="adj2" fmla="val 6502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33" name="Oval Callout 14"/>
              <p:cNvSpPr/>
              <p:nvPr/>
            </p:nvSpPr>
            <p:spPr>
              <a:xfrm>
                <a:off x="5600877" y="2370072"/>
                <a:ext cx="1287711" cy="862726"/>
              </a:xfrm>
              <a:prstGeom prst="wedgeEllipseCallout">
                <a:avLst>
                  <a:gd name="adj1" fmla="val 8488"/>
                  <a:gd name="adj2" fmla="val 7028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34" name="Oval Callout 15"/>
              <p:cNvSpPr/>
              <p:nvPr/>
            </p:nvSpPr>
            <p:spPr>
              <a:xfrm>
                <a:off x="6727626" y="1544495"/>
                <a:ext cx="1564237" cy="1048482"/>
              </a:xfrm>
              <a:prstGeom prst="wedgeEllipseCallout">
                <a:avLst>
                  <a:gd name="adj1" fmla="val 6540"/>
                  <a:gd name="adj2" fmla="val 7518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35" name="Oval Callout 16"/>
              <p:cNvSpPr/>
              <p:nvPr/>
            </p:nvSpPr>
            <p:spPr>
              <a:xfrm>
                <a:off x="8667447" y="1527983"/>
                <a:ext cx="1176273" cy="788424"/>
              </a:xfrm>
              <a:prstGeom prst="wedgeEllipseCallou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36" name="Oval Callout 17"/>
              <p:cNvSpPr/>
              <p:nvPr/>
            </p:nvSpPr>
            <p:spPr>
              <a:xfrm>
                <a:off x="9955157" y="3868492"/>
                <a:ext cx="994673" cy="664591"/>
              </a:xfrm>
              <a:prstGeom prst="wedgeEllipseCallout">
                <a:avLst>
                  <a:gd name="adj1" fmla="val -5639"/>
                  <a:gd name="adj2" fmla="val 66280"/>
                </a:avLst>
              </a:prstGeom>
              <a:solidFill>
                <a:schemeClr val="accent2"/>
              </a:solidFill>
              <a:ln>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37" name="Oval Callout 18"/>
              <p:cNvSpPr/>
              <p:nvPr/>
            </p:nvSpPr>
            <p:spPr>
              <a:xfrm>
                <a:off x="7111461" y="4248257"/>
                <a:ext cx="994675" cy="664591"/>
              </a:xfrm>
              <a:prstGeom prst="wedgeEllipseCallout">
                <a:avLst>
                  <a:gd name="adj1" fmla="val 39098"/>
                  <a:gd name="adj2" fmla="val 65020"/>
                </a:avLst>
              </a:prstGeom>
              <a:solidFill>
                <a:schemeClr val="accent3"/>
              </a:solidFill>
              <a:ln>
                <a:noFill/>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38" name="Oval Callout 19"/>
              <p:cNvSpPr/>
              <p:nvPr/>
            </p:nvSpPr>
            <p:spPr>
              <a:xfrm>
                <a:off x="9538301" y="500139"/>
                <a:ext cx="1341367" cy="895752"/>
              </a:xfrm>
              <a:prstGeom prst="wedgeEllipseCallout">
                <a:avLst>
                  <a:gd name="adj1" fmla="val -12056"/>
                  <a:gd name="adj2" fmla="val 690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39" name="Oval Callout 20"/>
              <p:cNvSpPr/>
              <p:nvPr/>
            </p:nvSpPr>
            <p:spPr>
              <a:xfrm>
                <a:off x="8089628" y="690022"/>
                <a:ext cx="994673" cy="664591"/>
              </a:xfrm>
              <a:prstGeom prst="wedgeEllipseCallout">
                <a:avLst>
                  <a:gd name="adj1" fmla="val -5639"/>
                  <a:gd name="adj2" fmla="val 6628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d-ID" sz="760"/>
              </a:p>
            </p:txBody>
          </p:sp>
          <p:sp>
            <p:nvSpPr>
              <p:cNvPr id="40" name="Freeform 45"/>
              <p:cNvSpPr>
                <a:spLocks noEditPoints="1"/>
              </p:cNvSpPr>
              <p:nvPr/>
            </p:nvSpPr>
            <p:spPr bwMode="auto">
              <a:xfrm>
                <a:off x="8481718" y="2795242"/>
                <a:ext cx="466384" cy="466452"/>
              </a:xfrm>
              <a:custGeom>
                <a:gdLst>
                  <a:gd name="T0" fmla="*/ 0 w 124"/>
                  <a:gd name="T1" fmla="*/ 62 h 124"/>
                  <a:gd name="T2" fmla="*/ 124 w 124"/>
                  <a:gd name="T3" fmla="*/ 62 h 124"/>
                  <a:gd name="T4" fmla="*/ 116 w 124"/>
                  <a:gd name="T5" fmla="*/ 60 h 124"/>
                  <a:gd name="T6" fmla="*/ 87 w 124"/>
                  <a:gd name="T7" fmla="*/ 35 h 124"/>
                  <a:gd name="T8" fmla="*/ 116 w 124"/>
                  <a:gd name="T9" fmla="*/ 60 h 124"/>
                  <a:gd name="T10" fmla="*/ 43 w 124"/>
                  <a:gd name="T11" fmla="*/ 95 h 124"/>
                  <a:gd name="T12" fmla="*/ 60 w 124"/>
                  <a:gd name="T13" fmla="*/ 116 h 124"/>
                  <a:gd name="T14" fmla="*/ 64 w 124"/>
                  <a:gd name="T15" fmla="*/ 8 h 124"/>
                  <a:gd name="T16" fmla="*/ 64 w 124"/>
                  <a:gd name="T17" fmla="*/ 36 h 124"/>
                  <a:gd name="T18" fmla="*/ 64 w 124"/>
                  <a:gd name="T19" fmla="*/ 8 h 124"/>
                  <a:gd name="T20" fmla="*/ 100 w 124"/>
                  <a:gd name="T21" fmla="*/ 23 h 124"/>
                  <a:gd name="T22" fmla="*/ 71 w 124"/>
                  <a:gd name="T23" fmla="*/ 9 h 124"/>
                  <a:gd name="T24" fmla="*/ 60 w 124"/>
                  <a:gd name="T25" fmla="*/ 36 h 124"/>
                  <a:gd name="T26" fmla="*/ 60 w 124"/>
                  <a:gd name="T27" fmla="*/ 8 h 124"/>
                  <a:gd name="T28" fmla="*/ 38 w 124"/>
                  <a:gd name="T29" fmla="*/ 31 h 124"/>
                  <a:gd name="T30" fmla="*/ 53 w 124"/>
                  <a:gd name="T31" fmla="*/ 9 h 124"/>
                  <a:gd name="T32" fmla="*/ 40 w 124"/>
                  <a:gd name="T33" fmla="*/ 36 h 124"/>
                  <a:gd name="T34" fmla="*/ 60 w 124"/>
                  <a:gd name="T35" fmla="*/ 60 h 124"/>
                  <a:gd name="T36" fmla="*/ 40 w 124"/>
                  <a:gd name="T37" fmla="*/ 36 h 124"/>
                  <a:gd name="T38" fmla="*/ 60 w 124"/>
                  <a:gd name="T39" fmla="*/ 88 h 124"/>
                  <a:gd name="T40" fmla="*/ 36 w 124"/>
                  <a:gd name="T41" fmla="*/ 64 h 124"/>
                  <a:gd name="T42" fmla="*/ 53 w 124"/>
                  <a:gd name="T43" fmla="*/ 115 h 124"/>
                  <a:gd name="T44" fmla="*/ 40 w 124"/>
                  <a:gd name="T45" fmla="*/ 96 h 124"/>
                  <a:gd name="T46" fmla="*/ 64 w 124"/>
                  <a:gd name="T47" fmla="*/ 116 h 124"/>
                  <a:gd name="T48" fmla="*/ 81 w 124"/>
                  <a:gd name="T49" fmla="*/ 95 h 124"/>
                  <a:gd name="T50" fmla="*/ 64 w 124"/>
                  <a:gd name="T51" fmla="*/ 116 h 124"/>
                  <a:gd name="T52" fmla="*/ 97 w 124"/>
                  <a:gd name="T53" fmla="*/ 103 h 124"/>
                  <a:gd name="T54" fmla="*/ 84 w 124"/>
                  <a:gd name="T55" fmla="*/ 96 h 124"/>
                  <a:gd name="T56" fmla="*/ 64 w 124"/>
                  <a:gd name="T57" fmla="*/ 88 h 124"/>
                  <a:gd name="T58" fmla="*/ 88 w 124"/>
                  <a:gd name="T59" fmla="*/ 64 h 124"/>
                  <a:gd name="T60" fmla="*/ 64 w 124"/>
                  <a:gd name="T61" fmla="*/ 60 h 124"/>
                  <a:gd name="T62" fmla="*/ 84 w 124"/>
                  <a:gd name="T63" fmla="*/ 36 h 124"/>
                  <a:gd name="T64" fmla="*/ 64 w 124"/>
                  <a:gd name="T65" fmla="*/ 60 h 124"/>
                  <a:gd name="T66" fmla="*/ 37 w 124"/>
                  <a:gd name="T67" fmla="*/ 35 h 124"/>
                  <a:gd name="T68" fmla="*/ 8 w 124"/>
                  <a:gd name="T69" fmla="*/ 60 h 124"/>
                  <a:gd name="T70" fmla="*/ 8 w 124"/>
                  <a:gd name="T71" fmla="*/ 64 h 124"/>
                  <a:gd name="T72" fmla="*/ 38 w 124"/>
                  <a:gd name="T73" fmla="*/ 93 h 124"/>
                  <a:gd name="T74" fmla="*/ 8 w 124"/>
                  <a:gd name="T75" fmla="*/ 64 h 124"/>
                  <a:gd name="T76" fmla="*/ 86 w 124"/>
                  <a:gd name="T77" fmla="*/ 93 h 124"/>
                  <a:gd name="T78" fmla="*/ 116 w 124"/>
                  <a:gd name="T79" fmla="*/ 64 h 1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4" h="124">
                    <a:moveTo>
                      <a:pt x="62" y="0"/>
                    </a:moveTo>
                    <a:cubicBezTo>
                      <a:pt x="28" y="0"/>
                      <a:pt x="0" y="28"/>
                      <a:pt x="0" y="62"/>
                    </a:cubicBezTo>
                    <a:cubicBezTo>
                      <a:pt x="0" y="96"/>
                      <a:pt x="28" y="124"/>
                      <a:pt x="62" y="124"/>
                    </a:cubicBezTo>
                    <a:cubicBezTo>
                      <a:pt x="96" y="124"/>
                      <a:pt x="124" y="96"/>
                      <a:pt x="124" y="62"/>
                    </a:cubicBezTo>
                    <a:cubicBezTo>
                      <a:pt x="124" y="28"/>
                      <a:pt x="96" y="0"/>
                      <a:pt x="62" y="0"/>
                    </a:cubicBezTo>
                    <a:close/>
                    <a:moveTo>
                      <a:pt x="116" y="60"/>
                    </a:moveTo>
                    <a:cubicBezTo>
                      <a:pt x="92" y="60"/>
                      <a:pt x="92" y="60"/>
                      <a:pt x="92" y="60"/>
                    </a:cubicBezTo>
                    <a:cubicBezTo>
                      <a:pt x="92" y="51"/>
                      <a:pt x="90" y="43"/>
                      <a:pt x="87" y="35"/>
                    </a:cubicBezTo>
                    <a:cubicBezTo>
                      <a:pt x="93" y="33"/>
                      <a:pt x="98" y="30"/>
                      <a:pt x="102" y="26"/>
                    </a:cubicBezTo>
                    <a:cubicBezTo>
                      <a:pt x="110" y="35"/>
                      <a:pt x="115" y="47"/>
                      <a:pt x="116" y="60"/>
                    </a:cubicBezTo>
                    <a:close/>
                    <a:moveTo>
                      <a:pt x="60" y="116"/>
                    </a:moveTo>
                    <a:cubicBezTo>
                      <a:pt x="53" y="110"/>
                      <a:pt x="48" y="103"/>
                      <a:pt x="43" y="95"/>
                    </a:cubicBezTo>
                    <a:cubicBezTo>
                      <a:pt x="49" y="93"/>
                      <a:pt x="54" y="92"/>
                      <a:pt x="60" y="92"/>
                    </a:cubicBezTo>
                    <a:cubicBezTo>
                      <a:pt x="60" y="116"/>
                      <a:pt x="60" y="116"/>
                      <a:pt x="60" y="116"/>
                    </a:cubicBezTo>
                    <a:cubicBezTo>
                      <a:pt x="60" y="116"/>
                      <a:pt x="60" y="116"/>
                      <a:pt x="60" y="116"/>
                    </a:cubicBezTo>
                    <a:close/>
                    <a:moveTo>
                      <a:pt x="64" y="8"/>
                    </a:moveTo>
                    <a:cubicBezTo>
                      <a:pt x="72" y="14"/>
                      <a:pt x="78" y="23"/>
                      <a:pt x="82" y="33"/>
                    </a:cubicBezTo>
                    <a:cubicBezTo>
                      <a:pt x="76" y="35"/>
                      <a:pt x="70" y="36"/>
                      <a:pt x="64" y="36"/>
                    </a:cubicBezTo>
                    <a:cubicBezTo>
                      <a:pt x="64" y="8"/>
                      <a:pt x="64" y="8"/>
                      <a:pt x="64" y="8"/>
                    </a:cubicBezTo>
                    <a:cubicBezTo>
                      <a:pt x="64" y="8"/>
                      <a:pt x="64" y="8"/>
                      <a:pt x="64" y="8"/>
                    </a:cubicBezTo>
                    <a:close/>
                    <a:moveTo>
                      <a:pt x="71" y="9"/>
                    </a:moveTo>
                    <a:cubicBezTo>
                      <a:pt x="82" y="11"/>
                      <a:pt x="92" y="16"/>
                      <a:pt x="100" y="23"/>
                    </a:cubicBezTo>
                    <a:cubicBezTo>
                      <a:pt x="95" y="26"/>
                      <a:pt x="91" y="29"/>
                      <a:pt x="86" y="31"/>
                    </a:cubicBezTo>
                    <a:cubicBezTo>
                      <a:pt x="82" y="23"/>
                      <a:pt x="77" y="15"/>
                      <a:pt x="71" y="9"/>
                    </a:cubicBezTo>
                    <a:close/>
                    <a:moveTo>
                      <a:pt x="60" y="8"/>
                    </a:moveTo>
                    <a:cubicBezTo>
                      <a:pt x="60" y="36"/>
                      <a:pt x="60" y="36"/>
                      <a:pt x="60" y="36"/>
                    </a:cubicBezTo>
                    <a:cubicBezTo>
                      <a:pt x="54" y="36"/>
                      <a:pt x="48" y="35"/>
                      <a:pt x="42" y="33"/>
                    </a:cubicBezTo>
                    <a:cubicBezTo>
                      <a:pt x="46" y="23"/>
                      <a:pt x="52" y="14"/>
                      <a:pt x="60" y="8"/>
                    </a:cubicBezTo>
                    <a:cubicBezTo>
                      <a:pt x="60" y="8"/>
                      <a:pt x="60" y="8"/>
                      <a:pt x="60" y="8"/>
                    </a:cubicBezTo>
                    <a:close/>
                    <a:moveTo>
                      <a:pt x="38" y="31"/>
                    </a:moveTo>
                    <a:cubicBezTo>
                      <a:pt x="33" y="29"/>
                      <a:pt x="29" y="26"/>
                      <a:pt x="24" y="23"/>
                    </a:cubicBezTo>
                    <a:cubicBezTo>
                      <a:pt x="32" y="16"/>
                      <a:pt x="42" y="11"/>
                      <a:pt x="53" y="9"/>
                    </a:cubicBezTo>
                    <a:cubicBezTo>
                      <a:pt x="47" y="15"/>
                      <a:pt x="42" y="23"/>
                      <a:pt x="38" y="31"/>
                    </a:cubicBezTo>
                    <a:close/>
                    <a:moveTo>
                      <a:pt x="40" y="36"/>
                    </a:moveTo>
                    <a:cubicBezTo>
                      <a:pt x="47" y="38"/>
                      <a:pt x="53" y="40"/>
                      <a:pt x="60" y="40"/>
                    </a:cubicBezTo>
                    <a:cubicBezTo>
                      <a:pt x="60" y="60"/>
                      <a:pt x="60" y="60"/>
                      <a:pt x="60" y="60"/>
                    </a:cubicBezTo>
                    <a:cubicBezTo>
                      <a:pt x="36" y="60"/>
                      <a:pt x="36" y="60"/>
                      <a:pt x="36" y="60"/>
                    </a:cubicBezTo>
                    <a:cubicBezTo>
                      <a:pt x="36" y="52"/>
                      <a:pt x="38" y="44"/>
                      <a:pt x="40" y="36"/>
                    </a:cubicBezTo>
                    <a:close/>
                    <a:moveTo>
                      <a:pt x="60" y="64"/>
                    </a:moveTo>
                    <a:cubicBezTo>
                      <a:pt x="60" y="88"/>
                      <a:pt x="60" y="88"/>
                      <a:pt x="60" y="88"/>
                    </a:cubicBezTo>
                    <a:cubicBezTo>
                      <a:pt x="54" y="88"/>
                      <a:pt x="48" y="89"/>
                      <a:pt x="42" y="91"/>
                    </a:cubicBezTo>
                    <a:cubicBezTo>
                      <a:pt x="38" y="83"/>
                      <a:pt x="36" y="74"/>
                      <a:pt x="36" y="64"/>
                    </a:cubicBezTo>
                    <a:lnTo>
                      <a:pt x="60" y="64"/>
                    </a:lnTo>
                    <a:close/>
                    <a:moveTo>
                      <a:pt x="53" y="115"/>
                    </a:moveTo>
                    <a:cubicBezTo>
                      <a:pt x="43" y="114"/>
                      <a:pt x="34" y="109"/>
                      <a:pt x="27" y="103"/>
                    </a:cubicBezTo>
                    <a:cubicBezTo>
                      <a:pt x="31" y="100"/>
                      <a:pt x="35" y="98"/>
                      <a:pt x="40" y="96"/>
                    </a:cubicBezTo>
                    <a:cubicBezTo>
                      <a:pt x="43" y="103"/>
                      <a:pt x="48" y="110"/>
                      <a:pt x="53" y="115"/>
                    </a:cubicBezTo>
                    <a:close/>
                    <a:moveTo>
                      <a:pt x="64" y="116"/>
                    </a:moveTo>
                    <a:cubicBezTo>
                      <a:pt x="64" y="92"/>
                      <a:pt x="64" y="92"/>
                      <a:pt x="64" y="92"/>
                    </a:cubicBezTo>
                    <a:cubicBezTo>
                      <a:pt x="70" y="92"/>
                      <a:pt x="75" y="93"/>
                      <a:pt x="81" y="95"/>
                    </a:cubicBezTo>
                    <a:cubicBezTo>
                      <a:pt x="76" y="103"/>
                      <a:pt x="71" y="110"/>
                      <a:pt x="64" y="116"/>
                    </a:cubicBezTo>
                    <a:cubicBezTo>
                      <a:pt x="64" y="116"/>
                      <a:pt x="64" y="116"/>
                      <a:pt x="64" y="116"/>
                    </a:cubicBezTo>
                    <a:close/>
                    <a:moveTo>
                      <a:pt x="84" y="96"/>
                    </a:moveTo>
                    <a:cubicBezTo>
                      <a:pt x="89" y="98"/>
                      <a:pt x="93" y="100"/>
                      <a:pt x="97" y="103"/>
                    </a:cubicBezTo>
                    <a:cubicBezTo>
                      <a:pt x="90" y="109"/>
                      <a:pt x="81" y="114"/>
                      <a:pt x="71" y="115"/>
                    </a:cubicBezTo>
                    <a:cubicBezTo>
                      <a:pt x="76" y="110"/>
                      <a:pt x="81" y="103"/>
                      <a:pt x="84" y="96"/>
                    </a:cubicBezTo>
                    <a:close/>
                    <a:moveTo>
                      <a:pt x="82" y="91"/>
                    </a:moveTo>
                    <a:cubicBezTo>
                      <a:pt x="76" y="89"/>
                      <a:pt x="70" y="88"/>
                      <a:pt x="64" y="88"/>
                    </a:cubicBezTo>
                    <a:cubicBezTo>
                      <a:pt x="64" y="64"/>
                      <a:pt x="64" y="64"/>
                      <a:pt x="64" y="64"/>
                    </a:cubicBezTo>
                    <a:cubicBezTo>
                      <a:pt x="88" y="64"/>
                      <a:pt x="88" y="64"/>
                      <a:pt x="88" y="64"/>
                    </a:cubicBezTo>
                    <a:cubicBezTo>
                      <a:pt x="88" y="74"/>
                      <a:pt x="86" y="83"/>
                      <a:pt x="82" y="91"/>
                    </a:cubicBezTo>
                    <a:close/>
                    <a:moveTo>
                      <a:pt x="64" y="60"/>
                    </a:moveTo>
                    <a:cubicBezTo>
                      <a:pt x="64" y="40"/>
                      <a:pt x="64" y="40"/>
                      <a:pt x="64" y="40"/>
                    </a:cubicBezTo>
                    <a:cubicBezTo>
                      <a:pt x="71" y="40"/>
                      <a:pt x="77" y="38"/>
                      <a:pt x="84" y="36"/>
                    </a:cubicBezTo>
                    <a:cubicBezTo>
                      <a:pt x="86" y="44"/>
                      <a:pt x="88" y="52"/>
                      <a:pt x="88" y="60"/>
                    </a:cubicBezTo>
                    <a:lnTo>
                      <a:pt x="64" y="60"/>
                    </a:lnTo>
                    <a:close/>
                    <a:moveTo>
                      <a:pt x="22" y="26"/>
                    </a:moveTo>
                    <a:cubicBezTo>
                      <a:pt x="26" y="30"/>
                      <a:pt x="31" y="33"/>
                      <a:pt x="37" y="35"/>
                    </a:cubicBezTo>
                    <a:cubicBezTo>
                      <a:pt x="34" y="43"/>
                      <a:pt x="32" y="51"/>
                      <a:pt x="32" y="60"/>
                    </a:cubicBezTo>
                    <a:cubicBezTo>
                      <a:pt x="8" y="60"/>
                      <a:pt x="8" y="60"/>
                      <a:pt x="8" y="60"/>
                    </a:cubicBezTo>
                    <a:cubicBezTo>
                      <a:pt x="9" y="47"/>
                      <a:pt x="14" y="35"/>
                      <a:pt x="22" y="26"/>
                    </a:cubicBezTo>
                    <a:close/>
                    <a:moveTo>
                      <a:pt x="8" y="64"/>
                    </a:moveTo>
                    <a:cubicBezTo>
                      <a:pt x="32" y="64"/>
                      <a:pt x="32" y="64"/>
                      <a:pt x="32" y="64"/>
                    </a:cubicBezTo>
                    <a:cubicBezTo>
                      <a:pt x="32" y="74"/>
                      <a:pt x="34" y="84"/>
                      <a:pt x="38" y="93"/>
                    </a:cubicBezTo>
                    <a:cubicBezTo>
                      <a:pt x="33" y="95"/>
                      <a:pt x="28" y="97"/>
                      <a:pt x="24" y="100"/>
                    </a:cubicBezTo>
                    <a:cubicBezTo>
                      <a:pt x="15" y="91"/>
                      <a:pt x="9" y="78"/>
                      <a:pt x="8" y="64"/>
                    </a:cubicBezTo>
                    <a:close/>
                    <a:moveTo>
                      <a:pt x="100" y="100"/>
                    </a:moveTo>
                    <a:cubicBezTo>
                      <a:pt x="96" y="97"/>
                      <a:pt x="91" y="95"/>
                      <a:pt x="86" y="93"/>
                    </a:cubicBezTo>
                    <a:cubicBezTo>
                      <a:pt x="90" y="84"/>
                      <a:pt x="92" y="74"/>
                      <a:pt x="92" y="64"/>
                    </a:cubicBezTo>
                    <a:cubicBezTo>
                      <a:pt x="116" y="64"/>
                      <a:pt x="116" y="64"/>
                      <a:pt x="116" y="64"/>
                    </a:cubicBezTo>
                    <a:cubicBezTo>
                      <a:pt x="115" y="78"/>
                      <a:pt x="109" y="91"/>
                      <a:pt x="100" y="100"/>
                    </a:cubicBezTo>
                    <a:close/>
                  </a:path>
                </a:pathLst>
              </a:custGeom>
              <a:solidFill>
                <a:schemeClr val="bg1"/>
              </a:solidFill>
              <a:ln>
                <a:noFill/>
              </a:ln>
            </p:spPr>
            <p:txBody>
              <a:bodyPr lIns="51435" tIns="25718" rIns="51435" bIns="25718"/>
              <a:lstStyle/>
              <a:p>
                <a:pPr defTabSz="514350">
                  <a:defRPr/>
                </a:pPr>
                <a:endParaRPr lang="id-ID" sz="760"/>
              </a:p>
            </p:txBody>
          </p:sp>
          <p:grpSp>
            <p:nvGrpSpPr>
              <p:cNvPr id="5" name="Group 22"/>
              <p:cNvGrpSpPr/>
              <p:nvPr/>
            </p:nvGrpSpPr>
            <p:grpSpPr>
              <a:xfrm>
                <a:off x="7366971" y="4407847"/>
                <a:ext cx="482600" cy="392113"/>
                <a:chOff x="2974975" y="5006976"/>
                <a:chExt cx="482600" cy="392113"/>
              </a:xfrm>
              <a:solidFill>
                <a:schemeClr val="bg1"/>
              </a:solidFill>
            </p:grpSpPr>
            <p:sp>
              <p:nvSpPr>
                <p:cNvPr id="94" name="Freeform 46"/>
                <p:cNvSpPr>
                  <a:spLocks noEditPoints="1"/>
                </p:cNvSpPr>
                <p:nvPr/>
              </p:nvSpPr>
              <p:spPr bwMode="auto">
                <a:xfrm>
                  <a:off x="3306763" y="5127626"/>
                  <a:ext cx="90487" cy="120650"/>
                </a:xfrm>
                <a:custGeom>
                  <a:gdLst>
                    <a:gd name="T0" fmla="*/ 11 w 24"/>
                    <a:gd name="T1" fmla="*/ 2 h 32"/>
                    <a:gd name="T2" fmla="*/ 8 w 24"/>
                    <a:gd name="T3" fmla="*/ 0 h 32"/>
                    <a:gd name="T4" fmla="*/ 4 w 24"/>
                    <a:gd name="T5" fmla="*/ 0 h 32"/>
                    <a:gd name="T6" fmla="*/ 0 w 24"/>
                    <a:gd name="T7" fmla="*/ 4 h 32"/>
                    <a:gd name="T8" fmla="*/ 0 w 24"/>
                    <a:gd name="T9" fmla="*/ 28 h 32"/>
                    <a:gd name="T10" fmla="*/ 4 w 24"/>
                    <a:gd name="T11" fmla="*/ 32 h 32"/>
                    <a:gd name="T12" fmla="*/ 20 w 24"/>
                    <a:gd name="T13" fmla="*/ 32 h 32"/>
                    <a:gd name="T14" fmla="*/ 24 w 24"/>
                    <a:gd name="T15" fmla="*/ 28 h 32"/>
                    <a:gd name="T16" fmla="*/ 24 w 24"/>
                    <a:gd name="T17" fmla="*/ 22 h 32"/>
                    <a:gd name="T18" fmla="*/ 23 w 24"/>
                    <a:gd name="T19" fmla="*/ 20 h 32"/>
                    <a:gd name="T20" fmla="*/ 11 w 24"/>
                    <a:gd name="T21" fmla="*/ 2 h 32"/>
                    <a:gd name="T22" fmla="*/ 20 w 24"/>
                    <a:gd name="T23" fmla="*/ 28 h 32"/>
                    <a:gd name="T24" fmla="*/ 4 w 24"/>
                    <a:gd name="T25" fmla="*/ 28 h 32"/>
                    <a:gd name="T26" fmla="*/ 4 w 24"/>
                    <a:gd name="T27" fmla="*/ 4 h 32"/>
                    <a:gd name="T28" fmla="*/ 8 w 24"/>
                    <a:gd name="T29" fmla="*/ 4 h 32"/>
                    <a:gd name="T30" fmla="*/ 20 w 24"/>
                    <a:gd name="T31" fmla="*/ 22 h 32"/>
                    <a:gd name="T32" fmla="*/ 20 w 24"/>
                    <a:gd name="T33" fmla="*/ 28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11" y="2"/>
                      </a:moveTo>
                      <a:cubicBezTo>
                        <a:pt x="11" y="1"/>
                        <a:pt x="9" y="0"/>
                        <a:pt x="8" y="0"/>
                      </a:cubicBezTo>
                      <a:cubicBezTo>
                        <a:pt x="4" y="0"/>
                        <a:pt x="4" y="0"/>
                        <a:pt x="4" y="0"/>
                      </a:cubicBezTo>
                      <a:cubicBezTo>
                        <a:pt x="2" y="0"/>
                        <a:pt x="0" y="2"/>
                        <a:pt x="0" y="4"/>
                      </a:cubicBezTo>
                      <a:cubicBezTo>
                        <a:pt x="0" y="28"/>
                        <a:pt x="0" y="28"/>
                        <a:pt x="0" y="28"/>
                      </a:cubicBezTo>
                      <a:cubicBezTo>
                        <a:pt x="0" y="30"/>
                        <a:pt x="2" y="32"/>
                        <a:pt x="4" y="32"/>
                      </a:cubicBezTo>
                      <a:cubicBezTo>
                        <a:pt x="20" y="32"/>
                        <a:pt x="20" y="32"/>
                        <a:pt x="20" y="32"/>
                      </a:cubicBezTo>
                      <a:cubicBezTo>
                        <a:pt x="22" y="32"/>
                        <a:pt x="24" y="30"/>
                        <a:pt x="24" y="28"/>
                      </a:cubicBezTo>
                      <a:cubicBezTo>
                        <a:pt x="24" y="22"/>
                        <a:pt x="24" y="22"/>
                        <a:pt x="24" y="22"/>
                      </a:cubicBezTo>
                      <a:cubicBezTo>
                        <a:pt x="24" y="21"/>
                        <a:pt x="24" y="20"/>
                        <a:pt x="23" y="20"/>
                      </a:cubicBezTo>
                      <a:lnTo>
                        <a:pt x="11" y="2"/>
                      </a:lnTo>
                      <a:close/>
                      <a:moveTo>
                        <a:pt x="20" y="28"/>
                      </a:moveTo>
                      <a:cubicBezTo>
                        <a:pt x="4" y="28"/>
                        <a:pt x="4" y="28"/>
                        <a:pt x="4" y="28"/>
                      </a:cubicBezTo>
                      <a:cubicBezTo>
                        <a:pt x="4" y="4"/>
                        <a:pt x="4" y="4"/>
                        <a:pt x="4" y="4"/>
                      </a:cubicBezTo>
                      <a:cubicBezTo>
                        <a:pt x="8" y="4"/>
                        <a:pt x="8" y="4"/>
                        <a:pt x="8" y="4"/>
                      </a:cubicBezTo>
                      <a:cubicBezTo>
                        <a:pt x="20" y="22"/>
                        <a:pt x="20" y="22"/>
                        <a:pt x="20" y="22"/>
                      </a:cubicBezTo>
                      <a:lnTo>
                        <a:pt x="20" y="28"/>
                      </a:lnTo>
                      <a:close/>
                    </a:path>
                  </a:pathLst>
                </a:custGeom>
                <a:grpFill/>
                <a:ln>
                  <a:noFill/>
                </a:ln>
              </p:spPr>
              <p:txBody>
                <a:bodyPr lIns="51435" tIns="25718" rIns="51435" bIns="25718"/>
                <a:lstStyle/>
                <a:p>
                  <a:pPr defTabSz="514350">
                    <a:defRPr/>
                  </a:pPr>
                  <a:endParaRPr lang="id-ID" sz="760"/>
                </a:p>
              </p:txBody>
            </p:sp>
            <p:sp>
              <p:nvSpPr>
                <p:cNvPr id="95" name="Freeform 47"/>
                <p:cNvSpPr>
                  <a:spLocks noEditPoints="1"/>
                </p:cNvSpPr>
                <p:nvPr/>
              </p:nvSpPr>
              <p:spPr bwMode="auto">
                <a:xfrm>
                  <a:off x="2974975" y="5006976"/>
                  <a:ext cx="482600" cy="392113"/>
                </a:xfrm>
                <a:custGeom>
                  <a:gdLst>
                    <a:gd name="T0" fmla="*/ 126 w 128"/>
                    <a:gd name="T1" fmla="*/ 49 h 104"/>
                    <a:gd name="T2" fmla="*/ 110 w 128"/>
                    <a:gd name="T3" fmla="*/ 25 h 104"/>
                    <a:gd name="T4" fmla="*/ 100 w 128"/>
                    <a:gd name="T5" fmla="*/ 20 h 104"/>
                    <a:gd name="T6" fmla="*/ 84 w 128"/>
                    <a:gd name="T7" fmla="*/ 20 h 104"/>
                    <a:gd name="T8" fmla="*/ 84 w 128"/>
                    <a:gd name="T9" fmla="*/ 12 h 104"/>
                    <a:gd name="T10" fmla="*/ 72 w 128"/>
                    <a:gd name="T11" fmla="*/ 0 h 104"/>
                    <a:gd name="T12" fmla="*/ 12 w 128"/>
                    <a:gd name="T13" fmla="*/ 0 h 104"/>
                    <a:gd name="T14" fmla="*/ 0 w 128"/>
                    <a:gd name="T15" fmla="*/ 12 h 104"/>
                    <a:gd name="T16" fmla="*/ 0 w 128"/>
                    <a:gd name="T17" fmla="*/ 56 h 104"/>
                    <a:gd name="T18" fmla="*/ 12 w 128"/>
                    <a:gd name="T19" fmla="*/ 68 h 104"/>
                    <a:gd name="T20" fmla="*/ 12 w 128"/>
                    <a:gd name="T21" fmla="*/ 68 h 104"/>
                    <a:gd name="T22" fmla="*/ 12 w 128"/>
                    <a:gd name="T23" fmla="*/ 80 h 104"/>
                    <a:gd name="T24" fmla="*/ 24 w 128"/>
                    <a:gd name="T25" fmla="*/ 92 h 104"/>
                    <a:gd name="T26" fmla="*/ 29 w 128"/>
                    <a:gd name="T27" fmla="*/ 92 h 104"/>
                    <a:gd name="T28" fmla="*/ 44 w 128"/>
                    <a:gd name="T29" fmla="*/ 104 h 104"/>
                    <a:gd name="T30" fmla="*/ 59 w 128"/>
                    <a:gd name="T31" fmla="*/ 92 h 104"/>
                    <a:gd name="T32" fmla="*/ 81 w 128"/>
                    <a:gd name="T33" fmla="*/ 92 h 104"/>
                    <a:gd name="T34" fmla="*/ 96 w 128"/>
                    <a:gd name="T35" fmla="*/ 104 h 104"/>
                    <a:gd name="T36" fmla="*/ 111 w 128"/>
                    <a:gd name="T37" fmla="*/ 92 h 104"/>
                    <a:gd name="T38" fmla="*/ 116 w 128"/>
                    <a:gd name="T39" fmla="*/ 92 h 104"/>
                    <a:gd name="T40" fmla="*/ 128 w 128"/>
                    <a:gd name="T41" fmla="*/ 80 h 104"/>
                    <a:gd name="T42" fmla="*/ 128 w 128"/>
                    <a:gd name="T43" fmla="*/ 56 h 104"/>
                    <a:gd name="T44" fmla="*/ 126 w 128"/>
                    <a:gd name="T45" fmla="*/ 49 h 104"/>
                    <a:gd name="T46" fmla="*/ 12 w 128"/>
                    <a:gd name="T47" fmla="*/ 60 h 104"/>
                    <a:gd name="T48" fmla="*/ 8 w 128"/>
                    <a:gd name="T49" fmla="*/ 56 h 104"/>
                    <a:gd name="T50" fmla="*/ 8 w 128"/>
                    <a:gd name="T51" fmla="*/ 12 h 104"/>
                    <a:gd name="T52" fmla="*/ 12 w 128"/>
                    <a:gd name="T53" fmla="*/ 8 h 104"/>
                    <a:gd name="T54" fmla="*/ 72 w 128"/>
                    <a:gd name="T55" fmla="*/ 8 h 104"/>
                    <a:gd name="T56" fmla="*/ 76 w 128"/>
                    <a:gd name="T57" fmla="*/ 12 h 104"/>
                    <a:gd name="T58" fmla="*/ 76 w 128"/>
                    <a:gd name="T59" fmla="*/ 20 h 104"/>
                    <a:gd name="T60" fmla="*/ 76 w 128"/>
                    <a:gd name="T61" fmla="*/ 28 h 104"/>
                    <a:gd name="T62" fmla="*/ 76 w 128"/>
                    <a:gd name="T63" fmla="*/ 56 h 104"/>
                    <a:gd name="T64" fmla="*/ 72 w 128"/>
                    <a:gd name="T65" fmla="*/ 60 h 104"/>
                    <a:gd name="T66" fmla="*/ 12 w 128"/>
                    <a:gd name="T67" fmla="*/ 60 h 104"/>
                    <a:gd name="T68" fmla="*/ 44 w 128"/>
                    <a:gd name="T69" fmla="*/ 96 h 104"/>
                    <a:gd name="T70" fmla="*/ 36 w 128"/>
                    <a:gd name="T71" fmla="*/ 88 h 104"/>
                    <a:gd name="T72" fmla="*/ 44 w 128"/>
                    <a:gd name="T73" fmla="*/ 80 h 104"/>
                    <a:gd name="T74" fmla="*/ 52 w 128"/>
                    <a:gd name="T75" fmla="*/ 88 h 104"/>
                    <a:gd name="T76" fmla="*/ 44 w 128"/>
                    <a:gd name="T77" fmla="*/ 96 h 104"/>
                    <a:gd name="T78" fmla="*/ 96 w 128"/>
                    <a:gd name="T79" fmla="*/ 96 h 104"/>
                    <a:gd name="T80" fmla="*/ 88 w 128"/>
                    <a:gd name="T81" fmla="*/ 88 h 104"/>
                    <a:gd name="T82" fmla="*/ 96 w 128"/>
                    <a:gd name="T83" fmla="*/ 80 h 104"/>
                    <a:gd name="T84" fmla="*/ 104 w 128"/>
                    <a:gd name="T85" fmla="*/ 88 h 104"/>
                    <a:gd name="T86" fmla="*/ 96 w 128"/>
                    <a:gd name="T87" fmla="*/ 96 h 104"/>
                    <a:gd name="T88" fmla="*/ 120 w 128"/>
                    <a:gd name="T89" fmla="*/ 80 h 104"/>
                    <a:gd name="T90" fmla="*/ 116 w 128"/>
                    <a:gd name="T91" fmla="*/ 84 h 104"/>
                    <a:gd name="T92" fmla="*/ 111 w 128"/>
                    <a:gd name="T93" fmla="*/ 84 h 104"/>
                    <a:gd name="T94" fmla="*/ 96 w 128"/>
                    <a:gd name="T95" fmla="*/ 72 h 104"/>
                    <a:gd name="T96" fmla="*/ 81 w 128"/>
                    <a:gd name="T97" fmla="*/ 84 h 104"/>
                    <a:gd name="T98" fmla="*/ 59 w 128"/>
                    <a:gd name="T99" fmla="*/ 84 h 104"/>
                    <a:gd name="T100" fmla="*/ 44 w 128"/>
                    <a:gd name="T101" fmla="*/ 72 h 104"/>
                    <a:gd name="T102" fmla="*/ 29 w 128"/>
                    <a:gd name="T103" fmla="*/ 84 h 104"/>
                    <a:gd name="T104" fmla="*/ 24 w 128"/>
                    <a:gd name="T105" fmla="*/ 84 h 104"/>
                    <a:gd name="T106" fmla="*/ 20 w 128"/>
                    <a:gd name="T107" fmla="*/ 80 h 104"/>
                    <a:gd name="T108" fmla="*/ 20 w 128"/>
                    <a:gd name="T109" fmla="*/ 68 h 104"/>
                    <a:gd name="T110" fmla="*/ 72 w 128"/>
                    <a:gd name="T111" fmla="*/ 68 h 104"/>
                    <a:gd name="T112" fmla="*/ 84 w 128"/>
                    <a:gd name="T113" fmla="*/ 56 h 104"/>
                    <a:gd name="T114" fmla="*/ 84 w 128"/>
                    <a:gd name="T115" fmla="*/ 28 h 104"/>
                    <a:gd name="T116" fmla="*/ 100 w 128"/>
                    <a:gd name="T117" fmla="*/ 28 h 104"/>
                    <a:gd name="T118" fmla="*/ 103 w 128"/>
                    <a:gd name="T119" fmla="*/ 30 h 104"/>
                    <a:gd name="T120" fmla="*/ 119 w 128"/>
                    <a:gd name="T121" fmla="*/ 54 h 104"/>
                    <a:gd name="T122" fmla="*/ 120 w 128"/>
                    <a:gd name="T123" fmla="*/ 56 h 104"/>
                    <a:gd name="T124" fmla="*/ 120 w 128"/>
                    <a:gd name="T125" fmla="*/ 80 h 10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104">
                      <a:moveTo>
                        <a:pt x="126" y="49"/>
                      </a:moveTo>
                      <a:cubicBezTo>
                        <a:pt x="110" y="25"/>
                        <a:pt x="110" y="25"/>
                        <a:pt x="110" y="25"/>
                      </a:cubicBezTo>
                      <a:cubicBezTo>
                        <a:pt x="108" y="22"/>
                        <a:pt x="104" y="20"/>
                        <a:pt x="100" y="20"/>
                      </a:cubicBezTo>
                      <a:cubicBezTo>
                        <a:pt x="84" y="20"/>
                        <a:pt x="84" y="20"/>
                        <a:pt x="84" y="20"/>
                      </a:cubicBezTo>
                      <a:cubicBezTo>
                        <a:pt x="84" y="12"/>
                        <a:pt x="84" y="12"/>
                        <a:pt x="84" y="12"/>
                      </a:cubicBezTo>
                      <a:cubicBezTo>
                        <a:pt x="84" y="5"/>
                        <a:pt x="79" y="0"/>
                        <a:pt x="72" y="0"/>
                      </a:cubicBezTo>
                      <a:cubicBezTo>
                        <a:pt x="12" y="0"/>
                        <a:pt x="12" y="0"/>
                        <a:pt x="12" y="0"/>
                      </a:cubicBezTo>
                      <a:cubicBezTo>
                        <a:pt x="5" y="0"/>
                        <a:pt x="0" y="5"/>
                        <a:pt x="0" y="12"/>
                      </a:cubicBezTo>
                      <a:cubicBezTo>
                        <a:pt x="0" y="56"/>
                        <a:pt x="0" y="56"/>
                        <a:pt x="0" y="56"/>
                      </a:cubicBezTo>
                      <a:cubicBezTo>
                        <a:pt x="0" y="63"/>
                        <a:pt x="5" y="68"/>
                        <a:pt x="12" y="68"/>
                      </a:cubicBezTo>
                      <a:cubicBezTo>
                        <a:pt x="12" y="68"/>
                        <a:pt x="12" y="68"/>
                        <a:pt x="12" y="68"/>
                      </a:cubicBezTo>
                      <a:cubicBezTo>
                        <a:pt x="12" y="80"/>
                        <a:pt x="12" y="80"/>
                        <a:pt x="12" y="80"/>
                      </a:cubicBezTo>
                      <a:cubicBezTo>
                        <a:pt x="12" y="87"/>
                        <a:pt x="17" y="92"/>
                        <a:pt x="24" y="92"/>
                      </a:cubicBezTo>
                      <a:cubicBezTo>
                        <a:pt x="29" y="92"/>
                        <a:pt x="29" y="92"/>
                        <a:pt x="29" y="92"/>
                      </a:cubicBezTo>
                      <a:cubicBezTo>
                        <a:pt x="30" y="99"/>
                        <a:pt x="37" y="104"/>
                        <a:pt x="44" y="104"/>
                      </a:cubicBezTo>
                      <a:cubicBezTo>
                        <a:pt x="51" y="104"/>
                        <a:pt x="58" y="99"/>
                        <a:pt x="59" y="92"/>
                      </a:cubicBezTo>
                      <a:cubicBezTo>
                        <a:pt x="81" y="92"/>
                        <a:pt x="81" y="92"/>
                        <a:pt x="81" y="92"/>
                      </a:cubicBezTo>
                      <a:cubicBezTo>
                        <a:pt x="82" y="99"/>
                        <a:pt x="89" y="104"/>
                        <a:pt x="96" y="104"/>
                      </a:cubicBezTo>
                      <a:cubicBezTo>
                        <a:pt x="103" y="104"/>
                        <a:pt x="110" y="99"/>
                        <a:pt x="111" y="92"/>
                      </a:cubicBezTo>
                      <a:cubicBezTo>
                        <a:pt x="116" y="92"/>
                        <a:pt x="116" y="92"/>
                        <a:pt x="116" y="92"/>
                      </a:cubicBezTo>
                      <a:cubicBezTo>
                        <a:pt x="123" y="92"/>
                        <a:pt x="128" y="87"/>
                        <a:pt x="128" y="80"/>
                      </a:cubicBezTo>
                      <a:cubicBezTo>
                        <a:pt x="128" y="56"/>
                        <a:pt x="128" y="56"/>
                        <a:pt x="128" y="56"/>
                      </a:cubicBezTo>
                      <a:cubicBezTo>
                        <a:pt x="128" y="54"/>
                        <a:pt x="127" y="51"/>
                        <a:pt x="126" y="49"/>
                      </a:cubicBezTo>
                      <a:close/>
                      <a:moveTo>
                        <a:pt x="12" y="60"/>
                      </a:moveTo>
                      <a:cubicBezTo>
                        <a:pt x="10" y="60"/>
                        <a:pt x="8" y="58"/>
                        <a:pt x="8" y="56"/>
                      </a:cubicBezTo>
                      <a:cubicBezTo>
                        <a:pt x="8" y="12"/>
                        <a:pt x="8" y="12"/>
                        <a:pt x="8" y="12"/>
                      </a:cubicBezTo>
                      <a:cubicBezTo>
                        <a:pt x="8" y="10"/>
                        <a:pt x="10" y="8"/>
                        <a:pt x="12" y="8"/>
                      </a:cubicBezTo>
                      <a:cubicBezTo>
                        <a:pt x="72" y="8"/>
                        <a:pt x="72" y="8"/>
                        <a:pt x="72" y="8"/>
                      </a:cubicBezTo>
                      <a:cubicBezTo>
                        <a:pt x="74" y="8"/>
                        <a:pt x="76" y="10"/>
                        <a:pt x="76" y="12"/>
                      </a:cubicBezTo>
                      <a:cubicBezTo>
                        <a:pt x="76" y="20"/>
                        <a:pt x="76" y="20"/>
                        <a:pt x="76" y="20"/>
                      </a:cubicBezTo>
                      <a:cubicBezTo>
                        <a:pt x="76" y="28"/>
                        <a:pt x="76" y="28"/>
                        <a:pt x="76" y="28"/>
                      </a:cubicBezTo>
                      <a:cubicBezTo>
                        <a:pt x="76" y="56"/>
                        <a:pt x="76" y="56"/>
                        <a:pt x="76" y="56"/>
                      </a:cubicBezTo>
                      <a:cubicBezTo>
                        <a:pt x="76" y="58"/>
                        <a:pt x="74" y="60"/>
                        <a:pt x="72" y="60"/>
                      </a:cubicBezTo>
                      <a:lnTo>
                        <a:pt x="12" y="60"/>
                      </a:lnTo>
                      <a:close/>
                      <a:moveTo>
                        <a:pt x="44" y="96"/>
                      </a:moveTo>
                      <a:cubicBezTo>
                        <a:pt x="40" y="96"/>
                        <a:pt x="36" y="92"/>
                        <a:pt x="36" y="88"/>
                      </a:cubicBezTo>
                      <a:cubicBezTo>
                        <a:pt x="36" y="84"/>
                        <a:pt x="40" y="80"/>
                        <a:pt x="44" y="80"/>
                      </a:cubicBezTo>
                      <a:cubicBezTo>
                        <a:pt x="48" y="80"/>
                        <a:pt x="52" y="84"/>
                        <a:pt x="52" y="88"/>
                      </a:cubicBezTo>
                      <a:cubicBezTo>
                        <a:pt x="52" y="92"/>
                        <a:pt x="48" y="96"/>
                        <a:pt x="44" y="96"/>
                      </a:cubicBezTo>
                      <a:close/>
                      <a:moveTo>
                        <a:pt x="96" y="96"/>
                      </a:moveTo>
                      <a:cubicBezTo>
                        <a:pt x="92" y="96"/>
                        <a:pt x="88" y="92"/>
                        <a:pt x="88" y="88"/>
                      </a:cubicBezTo>
                      <a:cubicBezTo>
                        <a:pt x="88" y="84"/>
                        <a:pt x="92" y="80"/>
                        <a:pt x="96" y="80"/>
                      </a:cubicBezTo>
                      <a:cubicBezTo>
                        <a:pt x="100" y="80"/>
                        <a:pt x="104" y="84"/>
                        <a:pt x="104" y="88"/>
                      </a:cubicBezTo>
                      <a:cubicBezTo>
                        <a:pt x="104" y="92"/>
                        <a:pt x="100" y="96"/>
                        <a:pt x="96" y="96"/>
                      </a:cubicBezTo>
                      <a:close/>
                      <a:moveTo>
                        <a:pt x="120" y="80"/>
                      </a:moveTo>
                      <a:cubicBezTo>
                        <a:pt x="120" y="82"/>
                        <a:pt x="118" y="84"/>
                        <a:pt x="116" y="84"/>
                      </a:cubicBezTo>
                      <a:cubicBezTo>
                        <a:pt x="111" y="84"/>
                        <a:pt x="111" y="84"/>
                        <a:pt x="111" y="84"/>
                      </a:cubicBezTo>
                      <a:cubicBezTo>
                        <a:pt x="110" y="77"/>
                        <a:pt x="103" y="72"/>
                        <a:pt x="96" y="72"/>
                      </a:cubicBezTo>
                      <a:cubicBezTo>
                        <a:pt x="89" y="72"/>
                        <a:pt x="82" y="77"/>
                        <a:pt x="81" y="84"/>
                      </a:cubicBezTo>
                      <a:cubicBezTo>
                        <a:pt x="59" y="84"/>
                        <a:pt x="59" y="84"/>
                        <a:pt x="59" y="84"/>
                      </a:cubicBezTo>
                      <a:cubicBezTo>
                        <a:pt x="58" y="77"/>
                        <a:pt x="51" y="72"/>
                        <a:pt x="44" y="72"/>
                      </a:cubicBezTo>
                      <a:cubicBezTo>
                        <a:pt x="37" y="72"/>
                        <a:pt x="30" y="77"/>
                        <a:pt x="29" y="84"/>
                      </a:cubicBezTo>
                      <a:cubicBezTo>
                        <a:pt x="24" y="84"/>
                        <a:pt x="24" y="84"/>
                        <a:pt x="24" y="84"/>
                      </a:cubicBezTo>
                      <a:cubicBezTo>
                        <a:pt x="22" y="84"/>
                        <a:pt x="20" y="82"/>
                        <a:pt x="20" y="80"/>
                      </a:cubicBezTo>
                      <a:cubicBezTo>
                        <a:pt x="20" y="68"/>
                        <a:pt x="20" y="68"/>
                        <a:pt x="20" y="68"/>
                      </a:cubicBezTo>
                      <a:cubicBezTo>
                        <a:pt x="72" y="68"/>
                        <a:pt x="72" y="68"/>
                        <a:pt x="72" y="68"/>
                      </a:cubicBezTo>
                      <a:cubicBezTo>
                        <a:pt x="79" y="68"/>
                        <a:pt x="84" y="63"/>
                        <a:pt x="84" y="56"/>
                      </a:cubicBezTo>
                      <a:cubicBezTo>
                        <a:pt x="84" y="28"/>
                        <a:pt x="84" y="28"/>
                        <a:pt x="84" y="28"/>
                      </a:cubicBezTo>
                      <a:cubicBezTo>
                        <a:pt x="100" y="28"/>
                        <a:pt x="100" y="28"/>
                        <a:pt x="100" y="28"/>
                      </a:cubicBezTo>
                      <a:cubicBezTo>
                        <a:pt x="101" y="28"/>
                        <a:pt x="103" y="29"/>
                        <a:pt x="103" y="30"/>
                      </a:cubicBezTo>
                      <a:cubicBezTo>
                        <a:pt x="119" y="54"/>
                        <a:pt x="119" y="54"/>
                        <a:pt x="119" y="54"/>
                      </a:cubicBezTo>
                      <a:cubicBezTo>
                        <a:pt x="120" y="54"/>
                        <a:pt x="120" y="55"/>
                        <a:pt x="120" y="56"/>
                      </a:cubicBezTo>
                      <a:lnTo>
                        <a:pt x="120" y="80"/>
                      </a:lnTo>
                      <a:close/>
                    </a:path>
                  </a:pathLst>
                </a:custGeom>
                <a:grpFill/>
                <a:ln>
                  <a:noFill/>
                </a:ln>
              </p:spPr>
              <p:txBody>
                <a:bodyPr lIns="51435" tIns="25718" rIns="51435" bIns="25718"/>
                <a:lstStyle/>
                <a:p>
                  <a:pPr defTabSz="514350">
                    <a:defRPr/>
                  </a:pPr>
                  <a:endParaRPr lang="id-ID" sz="760"/>
                </a:p>
              </p:txBody>
            </p:sp>
          </p:grpSp>
          <p:grpSp>
            <p:nvGrpSpPr>
              <p:cNvPr id="6" name="Group 23"/>
              <p:cNvGrpSpPr/>
              <p:nvPr/>
            </p:nvGrpSpPr>
            <p:grpSpPr>
              <a:xfrm>
                <a:off x="7210457" y="1807833"/>
                <a:ext cx="549275" cy="549275"/>
                <a:chOff x="1978025" y="4927601"/>
                <a:chExt cx="549275" cy="549275"/>
              </a:xfrm>
              <a:solidFill>
                <a:schemeClr val="bg1"/>
              </a:solidFill>
            </p:grpSpPr>
            <p:sp>
              <p:nvSpPr>
                <p:cNvPr id="85" name="Freeform 48"/>
                <p:cNvSpPr>
                  <a:spLocks noEditPoints="1"/>
                </p:cNvSpPr>
                <p:nvPr/>
              </p:nvSpPr>
              <p:spPr bwMode="auto">
                <a:xfrm>
                  <a:off x="1978025" y="4927601"/>
                  <a:ext cx="549275" cy="549275"/>
                </a:xfrm>
                <a:custGeom>
                  <a:gdLst>
                    <a:gd name="T0" fmla="*/ 97 w 146"/>
                    <a:gd name="T1" fmla="*/ 14 h 146"/>
                    <a:gd name="T2" fmla="*/ 14 w 146"/>
                    <a:gd name="T3" fmla="*/ 49 h 146"/>
                    <a:gd name="T4" fmla="*/ 49 w 146"/>
                    <a:gd name="T5" fmla="*/ 132 h 146"/>
                    <a:gd name="T6" fmla="*/ 132 w 146"/>
                    <a:gd name="T7" fmla="*/ 97 h 146"/>
                    <a:gd name="T8" fmla="*/ 97 w 146"/>
                    <a:gd name="T9" fmla="*/ 14 h 146"/>
                    <a:gd name="T10" fmla="*/ 52 w 146"/>
                    <a:gd name="T11" fmla="*/ 125 h 146"/>
                    <a:gd name="T12" fmla="*/ 21 w 146"/>
                    <a:gd name="T13" fmla="*/ 52 h 146"/>
                    <a:gd name="T14" fmla="*/ 94 w 146"/>
                    <a:gd name="T15" fmla="*/ 21 h 146"/>
                    <a:gd name="T16" fmla="*/ 125 w 146"/>
                    <a:gd name="T17" fmla="*/ 94 h 146"/>
                    <a:gd name="T18" fmla="*/ 52 w 146"/>
                    <a:gd name="T19" fmla="*/ 125 h 14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6">
                      <a:moveTo>
                        <a:pt x="97" y="14"/>
                      </a:moveTo>
                      <a:cubicBezTo>
                        <a:pt x="64" y="0"/>
                        <a:pt x="27" y="16"/>
                        <a:pt x="14" y="49"/>
                      </a:cubicBezTo>
                      <a:cubicBezTo>
                        <a:pt x="0" y="82"/>
                        <a:pt x="16" y="119"/>
                        <a:pt x="49" y="132"/>
                      </a:cubicBezTo>
                      <a:cubicBezTo>
                        <a:pt x="82" y="146"/>
                        <a:pt x="119" y="130"/>
                        <a:pt x="132" y="97"/>
                      </a:cubicBezTo>
                      <a:cubicBezTo>
                        <a:pt x="146" y="64"/>
                        <a:pt x="130" y="27"/>
                        <a:pt x="97" y="14"/>
                      </a:cubicBezTo>
                      <a:close/>
                      <a:moveTo>
                        <a:pt x="52" y="125"/>
                      </a:moveTo>
                      <a:cubicBezTo>
                        <a:pt x="24" y="114"/>
                        <a:pt x="10" y="81"/>
                        <a:pt x="21" y="52"/>
                      </a:cubicBezTo>
                      <a:cubicBezTo>
                        <a:pt x="33" y="24"/>
                        <a:pt x="65" y="10"/>
                        <a:pt x="94" y="21"/>
                      </a:cubicBezTo>
                      <a:cubicBezTo>
                        <a:pt x="123" y="33"/>
                        <a:pt x="136" y="65"/>
                        <a:pt x="125" y="94"/>
                      </a:cubicBezTo>
                      <a:cubicBezTo>
                        <a:pt x="114" y="123"/>
                        <a:pt x="81" y="136"/>
                        <a:pt x="52" y="125"/>
                      </a:cubicBezTo>
                      <a:close/>
                    </a:path>
                  </a:pathLst>
                </a:custGeom>
                <a:grpFill/>
                <a:ln>
                  <a:noFill/>
                </a:ln>
              </p:spPr>
              <p:txBody>
                <a:bodyPr lIns="51435" tIns="25718" rIns="51435" bIns="25718"/>
                <a:lstStyle/>
                <a:p>
                  <a:pPr defTabSz="514350">
                    <a:defRPr/>
                  </a:pPr>
                  <a:endParaRPr lang="id-ID" sz="760"/>
                </a:p>
              </p:txBody>
            </p:sp>
            <p:sp>
              <p:nvSpPr>
                <p:cNvPr id="86" name="Freeform 49"/>
                <p:cNvSpPr>
                  <a:spLocks noEditPoints="1"/>
                </p:cNvSpPr>
                <p:nvPr/>
              </p:nvSpPr>
              <p:spPr bwMode="auto">
                <a:xfrm>
                  <a:off x="2219325" y="5168901"/>
                  <a:ext cx="66675" cy="68263"/>
                </a:xfrm>
                <a:custGeom>
                  <a:gdLst>
                    <a:gd name="T0" fmla="*/ 12 w 18"/>
                    <a:gd name="T1" fmla="*/ 2 h 18"/>
                    <a:gd name="T2" fmla="*/ 2 w 18"/>
                    <a:gd name="T3" fmla="*/ 6 h 18"/>
                    <a:gd name="T4" fmla="*/ 6 w 18"/>
                    <a:gd name="T5" fmla="*/ 16 h 18"/>
                    <a:gd name="T6" fmla="*/ 16 w 18"/>
                    <a:gd name="T7" fmla="*/ 12 h 18"/>
                    <a:gd name="T8" fmla="*/ 12 w 18"/>
                    <a:gd name="T9" fmla="*/ 2 h 18"/>
                    <a:gd name="T10" fmla="*/ 8 w 18"/>
                    <a:gd name="T11" fmla="*/ 13 h 18"/>
                    <a:gd name="T12" fmla="*/ 5 w 18"/>
                    <a:gd name="T13" fmla="*/ 8 h 18"/>
                    <a:gd name="T14" fmla="*/ 11 w 18"/>
                    <a:gd name="T15" fmla="*/ 5 h 18"/>
                    <a:gd name="T16" fmla="*/ 13 w 18"/>
                    <a:gd name="T17" fmla="*/ 11 h 18"/>
                    <a:gd name="T18" fmla="*/ 8 w 18"/>
                    <a:gd name="T19" fmla="*/ 13 h 1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8">
                      <a:moveTo>
                        <a:pt x="12" y="2"/>
                      </a:moveTo>
                      <a:cubicBezTo>
                        <a:pt x="8" y="0"/>
                        <a:pt x="3" y="2"/>
                        <a:pt x="2" y="6"/>
                      </a:cubicBezTo>
                      <a:cubicBezTo>
                        <a:pt x="0" y="10"/>
                        <a:pt x="2" y="15"/>
                        <a:pt x="6" y="16"/>
                      </a:cubicBezTo>
                      <a:cubicBezTo>
                        <a:pt x="10" y="18"/>
                        <a:pt x="15" y="16"/>
                        <a:pt x="16" y="12"/>
                      </a:cubicBezTo>
                      <a:cubicBezTo>
                        <a:pt x="18" y="8"/>
                        <a:pt x="16" y="3"/>
                        <a:pt x="12" y="2"/>
                      </a:cubicBezTo>
                      <a:close/>
                      <a:moveTo>
                        <a:pt x="8" y="13"/>
                      </a:moveTo>
                      <a:cubicBezTo>
                        <a:pt x="5" y="12"/>
                        <a:pt x="4" y="10"/>
                        <a:pt x="5" y="8"/>
                      </a:cubicBezTo>
                      <a:cubicBezTo>
                        <a:pt x="6" y="5"/>
                        <a:pt x="8" y="4"/>
                        <a:pt x="11" y="5"/>
                      </a:cubicBezTo>
                      <a:cubicBezTo>
                        <a:pt x="13" y="6"/>
                        <a:pt x="14" y="8"/>
                        <a:pt x="13" y="11"/>
                      </a:cubicBezTo>
                      <a:cubicBezTo>
                        <a:pt x="12" y="13"/>
                        <a:pt x="10" y="14"/>
                        <a:pt x="8" y="13"/>
                      </a:cubicBezTo>
                      <a:close/>
                    </a:path>
                  </a:pathLst>
                </a:custGeom>
                <a:grpFill/>
                <a:ln>
                  <a:noFill/>
                </a:ln>
              </p:spPr>
              <p:txBody>
                <a:bodyPr lIns="51435" tIns="25718" rIns="51435" bIns="25718"/>
                <a:lstStyle/>
                <a:p>
                  <a:pPr defTabSz="514350">
                    <a:defRPr/>
                  </a:pPr>
                  <a:endParaRPr lang="id-ID" sz="760"/>
                </a:p>
              </p:txBody>
            </p:sp>
            <p:sp>
              <p:nvSpPr>
                <p:cNvPr id="87" name="Freeform 50"/>
                <p:cNvSpPr>
                  <a:spLocks noEditPoints="1"/>
                </p:cNvSpPr>
                <p:nvPr/>
              </p:nvSpPr>
              <p:spPr bwMode="auto">
                <a:xfrm>
                  <a:off x="2151063" y="5100638"/>
                  <a:ext cx="203200" cy="203200"/>
                </a:xfrm>
                <a:custGeom>
                  <a:gdLst>
                    <a:gd name="T0" fmla="*/ 36 w 54"/>
                    <a:gd name="T1" fmla="*/ 5 h 54"/>
                    <a:gd name="T2" fmla="*/ 5 w 54"/>
                    <a:gd name="T3" fmla="*/ 18 h 54"/>
                    <a:gd name="T4" fmla="*/ 18 w 54"/>
                    <a:gd name="T5" fmla="*/ 49 h 54"/>
                    <a:gd name="T6" fmla="*/ 49 w 54"/>
                    <a:gd name="T7" fmla="*/ 36 h 54"/>
                    <a:gd name="T8" fmla="*/ 36 w 54"/>
                    <a:gd name="T9" fmla="*/ 5 h 54"/>
                    <a:gd name="T10" fmla="*/ 21 w 54"/>
                    <a:gd name="T11" fmla="*/ 42 h 54"/>
                    <a:gd name="T12" fmla="*/ 12 w 54"/>
                    <a:gd name="T13" fmla="*/ 21 h 54"/>
                    <a:gd name="T14" fmla="*/ 33 w 54"/>
                    <a:gd name="T15" fmla="*/ 12 h 54"/>
                    <a:gd name="T16" fmla="*/ 42 w 54"/>
                    <a:gd name="T17" fmla="*/ 33 h 54"/>
                    <a:gd name="T18" fmla="*/ 21 w 54"/>
                    <a:gd name="T19" fmla="*/ 42 h 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36" y="5"/>
                      </a:moveTo>
                      <a:cubicBezTo>
                        <a:pt x="24" y="0"/>
                        <a:pt x="10" y="6"/>
                        <a:pt x="5" y="18"/>
                      </a:cubicBezTo>
                      <a:cubicBezTo>
                        <a:pt x="0" y="30"/>
                        <a:pt x="6" y="44"/>
                        <a:pt x="18" y="49"/>
                      </a:cubicBezTo>
                      <a:cubicBezTo>
                        <a:pt x="30" y="54"/>
                        <a:pt x="44" y="48"/>
                        <a:pt x="49" y="36"/>
                      </a:cubicBezTo>
                      <a:cubicBezTo>
                        <a:pt x="54" y="24"/>
                        <a:pt x="48" y="10"/>
                        <a:pt x="36" y="5"/>
                      </a:cubicBezTo>
                      <a:close/>
                      <a:moveTo>
                        <a:pt x="21" y="42"/>
                      </a:moveTo>
                      <a:cubicBezTo>
                        <a:pt x="13" y="39"/>
                        <a:pt x="9" y="29"/>
                        <a:pt x="12" y="21"/>
                      </a:cubicBezTo>
                      <a:cubicBezTo>
                        <a:pt x="15" y="13"/>
                        <a:pt x="25" y="9"/>
                        <a:pt x="33" y="12"/>
                      </a:cubicBezTo>
                      <a:cubicBezTo>
                        <a:pt x="41" y="15"/>
                        <a:pt x="45" y="25"/>
                        <a:pt x="42" y="33"/>
                      </a:cubicBezTo>
                      <a:cubicBezTo>
                        <a:pt x="39" y="41"/>
                        <a:pt x="29" y="45"/>
                        <a:pt x="21" y="42"/>
                      </a:cubicBezTo>
                      <a:close/>
                    </a:path>
                  </a:pathLst>
                </a:custGeom>
                <a:grpFill/>
                <a:ln>
                  <a:noFill/>
                </a:ln>
              </p:spPr>
              <p:txBody>
                <a:bodyPr lIns="51435" tIns="25718" rIns="51435" bIns="25718"/>
                <a:lstStyle/>
                <a:p>
                  <a:pPr defTabSz="514350">
                    <a:defRPr/>
                  </a:pPr>
                  <a:endParaRPr lang="id-ID" sz="760"/>
                </a:p>
              </p:txBody>
            </p:sp>
            <p:sp>
              <p:nvSpPr>
                <p:cNvPr id="88" name="Freeform 51"/>
                <p:cNvSpPr/>
                <p:nvPr/>
              </p:nvSpPr>
              <p:spPr bwMode="auto">
                <a:xfrm>
                  <a:off x="2290763" y="5237163"/>
                  <a:ext cx="74612" cy="77788"/>
                </a:xfrm>
                <a:custGeom>
                  <a:gdLst>
                    <a:gd name="T0" fmla="*/ 20 w 20"/>
                    <a:gd name="T1" fmla="*/ 3 h 21"/>
                    <a:gd name="T2" fmla="*/ 19 w 20"/>
                    <a:gd name="T3" fmla="*/ 0 h 21"/>
                    <a:gd name="T4" fmla="*/ 16 w 20"/>
                    <a:gd name="T5" fmla="*/ 1 h 21"/>
                    <a:gd name="T6" fmla="*/ 16 w 20"/>
                    <a:gd name="T7" fmla="*/ 1 h 21"/>
                    <a:gd name="T8" fmla="*/ 1 w 20"/>
                    <a:gd name="T9" fmla="*/ 17 h 21"/>
                    <a:gd name="T10" fmla="*/ 0 w 20"/>
                    <a:gd name="T11" fmla="*/ 19 h 21"/>
                    <a:gd name="T12" fmla="*/ 3 w 20"/>
                    <a:gd name="T13" fmla="*/ 20 h 21"/>
                    <a:gd name="T14" fmla="*/ 3 w 20"/>
                    <a:gd name="T15" fmla="*/ 20 h 21"/>
                    <a:gd name="T16" fmla="*/ 20 w 20"/>
                    <a:gd name="T17" fmla="*/ 3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1">
                      <a:moveTo>
                        <a:pt x="20" y="3"/>
                      </a:moveTo>
                      <a:cubicBezTo>
                        <a:pt x="20" y="2"/>
                        <a:pt x="20" y="1"/>
                        <a:pt x="19" y="0"/>
                      </a:cubicBezTo>
                      <a:cubicBezTo>
                        <a:pt x="18" y="0"/>
                        <a:pt x="16" y="0"/>
                        <a:pt x="16" y="1"/>
                      </a:cubicBezTo>
                      <a:cubicBezTo>
                        <a:pt x="16" y="1"/>
                        <a:pt x="16" y="1"/>
                        <a:pt x="16" y="1"/>
                      </a:cubicBezTo>
                      <a:cubicBezTo>
                        <a:pt x="13" y="9"/>
                        <a:pt x="8" y="14"/>
                        <a:pt x="1" y="17"/>
                      </a:cubicBezTo>
                      <a:cubicBezTo>
                        <a:pt x="0" y="17"/>
                        <a:pt x="0" y="18"/>
                        <a:pt x="0" y="19"/>
                      </a:cubicBezTo>
                      <a:cubicBezTo>
                        <a:pt x="0" y="20"/>
                        <a:pt x="2" y="21"/>
                        <a:pt x="3" y="20"/>
                      </a:cubicBezTo>
                      <a:cubicBezTo>
                        <a:pt x="3" y="20"/>
                        <a:pt x="3" y="20"/>
                        <a:pt x="3" y="20"/>
                      </a:cubicBezTo>
                      <a:cubicBezTo>
                        <a:pt x="10" y="17"/>
                        <a:pt x="16" y="11"/>
                        <a:pt x="20" y="3"/>
                      </a:cubicBezTo>
                      <a:close/>
                    </a:path>
                  </a:pathLst>
                </a:custGeom>
                <a:grpFill/>
                <a:ln>
                  <a:noFill/>
                </a:ln>
              </p:spPr>
              <p:txBody>
                <a:bodyPr lIns="51435" tIns="25718" rIns="51435" bIns="25718"/>
                <a:lstStyle/>
                <a:p>
                  <a:pPr defTabSz="514350">
                    <a:defRPr/>
                  </a:pPr>
                  <a:endParaRPr lang="id-ID" sz="760"/>
                </a:p>
              </p:txBody>
            </p:sp>
            <p:sp>
              <p:nvSpPr>
                <p:cNvPr id="89" name="Freeform 52"/>
                <p:cNvSpPr/>
                <p:nvPr/>
              </p:nvSpPr>
              <p:spPr bwMode="auto">
                <a:xfrm>
                  <a:off x="2312988" y="5259388"/>
                  <a:ext cx="109537" cy="112713"/>
                </a:xfrm>
                <a:custGeom>
                  <a:gdLst>
                    <a:gd name="T0" fmla="*/ 27 w 29"/>
                    <a:gd name="T1" fmla="*/ 0 h 30"/>
                    <a:gd name="T2" fmla="*/ 25 w 29"/>
                    <a:gd name="T3" fmla="*/ 1 h 30"/>
                    <a:gd name="T4" fmla="*/ 1 w 29"/>
                    <a:gd name="T5" fmla="*/ 25 h 30"/>
                    <a:gd name="T6" fmla="*/ 0 w 29"/>
                    <a:gd name="T7" fmla="*/ 28 h 30"/>
                    <a:gd name="T8" fmla="*/ 3 w 29"/>
                    <a:gd name="T9" fmla="*/ 29 h 30"/>
                    <a:gd name="T10" fmla="*/ 3 w 29"/>
                    <a:gd name="T11" fmla="*/ 29 h 30"/>
                    <a:gd name="T12" fmla="*/ 29 w 29"/>
                    <a:gd name="T13" fmla="*/ 3 h 30"/>
                    <a:gd name="T14" fmla="*/ 27 w 29"/>
                    <a:gd name="T15" fmla="*/ 0 h 3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30">
                      <a:moveTo>
                        <a:pt x="27" y="0"/>
                      </a:moveTo>
                      <a:cubicBezTo>
                        <a:pt x="26" y="0"/>
                        <a:pt x="25" y="0"/>
                        <a:pt x="25" y="1"/>
                      </a:cubicBezTo>
                      <a:cubicBezTo>
                        <a:pt x="20" y="13"/>
                        <a:pt x="12" y="21"/>
                        <a:pt x="1" y="25"/>
                      </a:cubicBezTo>
                      <a:cubicBezTo>
                        <a:pt x="0" y="26"/>
                        <a:pt x="0" y="27"/>
                        <a:pt x="0" y="28"/>
                      </a:cubicBezTo>
                      <a:cubicBezTo>
                        <a:pt x="1" y="29"/>
                        <a:pt x="2" y="30"/>
                        <a:pt x="3" y="29"/>
                      </a:cubicBezTo>
                      <a:cubicBezTo>
                        <a:pt x="3" y="29"/>
                        <a:pt x="3" y="29"/>
                        <a:pt x="3" y="29"/>
                      </a:cubicBezTo>
                      <a:cubicBezTo>
                        <a:pt x="14" y="24"/>
                        <a:pt x="24" y="15"/>
                        <a:pt x="29" y="3"/>
                      </a:cubicBezTo>
                      <a:cubicBezTo>
                        <a:pt x="29" y="2"/>
                        <a:pt x="28" y="1"/>
                        <a:pt x="27" y="0"/>
                      </a:cubicBezTo>
                      <a:close/>
                    </a:path>
                  </a:pathLst>
                </a:custGeom>
                <a:grpFill/>
                <a:ln>
                  <a:noFill/>
                </a:ln>
              </p:spPr>
              <p:txBody>
                <a:bodyPr lIns="51435" tIns="25718" rIns="51435" bIns="25718"/>
                <a:lstStyle/>
                <a:p>
                  <a:pPr defTabSz="514350">
                    <a:defRPr/>
                  </a:pPr>
                  <a:endParaRPr lang="id-ID" sz="760"/>
                </a:p>
              </p:txBody>
            </p:sp>
            <p:sp>
              <p:nvSpPr>
                <p:cNvPr id="90" name="Freeform 53"/>
                <p:cNvSpPr/>
                <p:nvPr/>
              </p:nvSpPr>
              <p:spPr bwMode="auto">
                <a:xfrm>
                  <a:off x="2301875" y="5248276"/>
                  <a:ext cx="93662" cy="93663"/>
                </a:xfrm>
                <a:custGeom>
                  <a:gdLst>
                    <a:gd name="T0" fmla="*/ 23 w 25"/>
                    <a:gd name="T1" fmla="*/ 0 h 25"/>
                    <a:gd name="T2" fmla="*/ 20 w 25"/>
                    <a:gd name="T3" fmla="*/ 1 h 25"/>
                    <a:gd name="T4" fmla="*/ 1 w 25"/>
                    <a:gd name="T5" fmla="*/ 21 h 25"/>
                    <a:gd name="T6" fmla="*/ 1 w 25"/>
                    <a:gd name="T7" fmla="*/ 21 h 25"/>
                    <a:gd name="T8" fmla="*/ 0 w 25"/>
                    <a:gd name="T9" fmla="*/ 24 h 25"/>
                    <a:gd name="T10" fmla="*/ 3 w 25"/>
                    <a:gd name="T11" fmla="*/ 25 h 25"/>
                    <a:gd name="T12" fmla="*/ 3 w 25"/>
                    <a:gd name="T13" fmla="*/ 25 h 25"/>
                    <a:gd name="T14" fmla="*/ 24 w 25"/>
                    <a:gd name="T15" fmla="*/ 3 h 25"/>
                    <a:gd name="T16" fmla="*/ 23 w 25"/>
                    <a:gd name="T17" fmla="*/ 0 h 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5">
                      <a:moveTo>
                        <a:pt x="23" y="0"/>
                      </a:moveTo>
                      <a:cubicBezTo>
                        <a:pt x="22" y="0"/>
                        <a:pt x="21" y="0"/>
                        <a:pt x="20" y="1"/>
                      </a:cubicBezTo>
                      <a:cubicBezTo>
                        <a:pt x="17" y="11"/>
                        <a:pt x="10" y="17"/>
                        <a:pt x="1" y="21"/>
                      </a:cubicBezTo>
                      <a:cubicBezTo>
                        <a:pt x="1" y="21"/>
                        <a:pt x="1" y="21"/>
                        <a:pt x="1" y="21"/>
                      </a:cubicBezTo>
                      <a:cubicBezTo>
                        <a:pt x="0" y="22"/>
                        <a:pt x="0" y="23"/>
                        <a:pt x="0" y="24"/>
                      </a:cubicBezTo>
                      <a:cubicBezTo>
                        <a:pt x="1" y="25"/>
                        <a:pt x="2" y="25"/>
                        <a:pt x="3" y="25"/>
                      </a:cubicBezTo>
                      <a:cubicBezTo>
                        <a:pt x="3" y="25"/>
                        <a:pt x="3" y="25"/>
                        <a:pt x="3" y="25"/>
                      </a:cubicBezTo>
                      <a:cubicBezTo>
                        <a:pt x="12" y="21"/>
                        <a:pt x="20" y="13"/>
                        <a:pt x="24" y="3"/>
                      </a:cubicBezTo>
                      <a:cubicBezTo>
                        <a:pt x="25" y="2"/>
                        <a:pt x="24" y="1"/>
                        <a:pt x="23" y="0"/>
                      </a:cubicBezTo>
                      <a:close/>
                    </a:path>
                  </a:pathLst>
                </a:custGeom>
                <a:grpFill/>
                <a:ln>
                  <a:noFill/>
                </a:ln>
              </p:spPr>
              <p:txBody>
                <a:bodyPr lIns="51435" tIns="25718" rIns="51435" bIns="25718"/>
                <a:lstStyle/>
                <a:p>
                  <a:pPr defTabSz="514350">
                    <a:defRPr/>
                  </a:pPr>
                  <a:endParaRPr lang="id-ID" sz="760"/>
                </a:p>
              </p:txBody>
            </p:sp>
            <p:sp>
              <p:nvSpPr>
                <p:cNvPr id="91" name="Freeform 54"/>
                <p:cNvSpPr/>
                <p:nvPr/>
              </p:nvSpPr>
              <p:spPr bwMode="auto">
                <a:xfrm>
                  <a:off x="2139950" y="5089526"/>
                  <a:ext cx="74612" cy="79375"/>
                </a:xfrm>
                <a:custGeom>
                  <a:gdLst>
                    <a:gd name="T0" fmla="*/ 20 w 20"/>
                    <a:gd name="T1" fmla="*/ 2 h 21"/>
                    <a:gd name="T2" fmla="*/ 17 w 20"/>
                    <a:gd name="T3" fmla="*/ 1 h 21"/>
                    <a:gd name="T4" fmla="*/ 17 w 20"/>
                    <a:gd name="T5" fmla="*/ 1 h 21"/>
                    <a:gd name="T6" fmla="*/ 0 w 20"/>
                    <a:gd name="T7" fmla="*/ 18 h 21"/>
                    <a:gd name="T8" fmla="*/ 0 w 20"/>
                    <a:gd name="T9" fmla="*/ 18 h 21"/>
                    <a:gd name="T10" fmla="*/ 1 w 20"/>
                    <a:gd name="T11" fmla="*/ 21 h 21"/>
                    <a:gd name="T12" fmla="*/ 4 w 20"/>
                    <a:gd name="T13" fmla="*/ 20 h 21"/>
                    <a:gd name="T14" fmla="*/ 4 w 20"/>
                    <a:gd name="T15" fmla="*/ 20 h 21"/>
                    <a:gd name="T16" fmla="*/ 19 w 20"/>
                    <a:gd name="T17" fmla="*/ 4 h 21"/>
                    <a:gd name="T18" fmla="*/ 20 w 20"/>
                    <a:gd name="T19" fmla="*/ 2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1">
                      <a:moveTo>
                        <a:pt x="20" y="2"/>
                      </a:moveTo>
                      <a:cubicBezTo>
                        <a:pt x="20" y="1"/>
                        <a:pt x="18" y="0"/>
                        <a:pt x="17" y="1"/>
                      </a:cubicBezTo>
                      <a:cubicBezTo>
                        <a:pt x="17" y="1"/>
                        <a:pt x="17" y="1"/>
                        <a:pt x="17" y="1"/>
                      </a:cubicBezTo>
                      <a:cubicBezTo>
                        <a:pt x="10" y="4"/>
                        <a:pt x="4" y="10"/>
                        <a:pt x="0" y="18"/>
                      </a:cubicBezTo>
                      <a:cubicBezTo>
                        <a:pt x="0" y="18"/>
                        <a:pt x="0" y="18"/>
                        <a:pt x="0" y="18"/>
                      </a:cubicBezTo>
                      <a:cubicBezTo>
                        <a:pt x="0" y="19"/>
                        <a:pt x="0" y="20"/>
                        <a:pt x="1" y="21"/>
                      </a:cubicBezTo>
                      <a:cubicBezTo>
                        <a:pt x="2" y="21"/>
                        <a:pt x="4" y="21"/>
                        <a:pt x="4" y="20"/>
                      </a:cubicBezTo>
                      <a:cubicBezTo>
                        <a:pt x="4" y="20"/>
                        <a:pt x="4" y="20"/>
                        <a:pt x="4" y="20"/>
                      </a:cubicBezTo>
                      <a:cubicBezTo>
                        <a:pt x="7" y="12"/>
                        <a:pt x="12" y="7"/>
                        <a:pt x="19" y="4"/>
                      </a:cubicBezTo>
                      <a:cubicBezTo>
                        <a:pt x="20" y="4"/>
                        <a:pt x="20" y="3"/>
                        <a:pt x="20" y="2"/>
                      </a:cubicBezTo>
                      <a:close/>
                    </a:path>
                  </a:pathLst>
                </a:custGeom>
                <a:grpFill/>
                <a:ln>
                  <a:noFill/>
                </a:ln>
              </p:spPr>
              <p:txBody>
                <a:bodyPr lIns="51435" tIns="25718" rIns="51435" bIns="25718"/>
                <a:lstStyle/>
                <a:p>
                  <a:pPr defTabSz="514350">
                    <a:defRPr/>
                  </a:pPr>
                  <a:endParaRPr lang="id-ID" sz="760"/>
                </a:p>
              </p:txBody>
            </p:sp>
            <p:sp>
              <p:nvSpPr>
                <p:cNvPr id="92" name="Freeform 55"/>
                <p:cNvSpPr/>
                <p:nvPr/>
              </p:nvSpPr>
              <p:spPr bwMode="auto">
                <a:xfrm>
                  <a:off x="2082800" y="5033963"/>
                  <a:ext cx="109537" cy="112713"/>
                </a:xfrm>
                <a:custGeom>
                  <a:gdLst>
                    <a:gd name="T0" fmla="*/ 29 w 29"/>
                    <a:gd name="T1" fmla="*/ 2 h 30"/>
                    <a:gd name="T2" fmla="*/ 26 w 29"/>
                    <a:gd name="T3" fmla="*/ 1 h 30"/>
                    <a:gd name="T4" fmla="*/ 26 w 29"/>
                    <a:gd name="T5" fmla="*/ 1 h 30"/>
                    <a:gd name="T6" fmla="*/ 0 w 29"/>
                    <a:gd name="T7" fmla="*/ 27 h 30"/>
                    <a:gd name="T8" fmla="*/ 2 w 29"/>
                    <a:gd name="T9" fmla="*/ 30 h 30"/>
                    <a:gd name="T10" fmla="*/ 4 w 29"/>
                    <a:gd name="T11" fmla="*/ 29 h 30"/>
                    <a:gd name="T12" fmla="*/ 28 w 29"/>
                    <a:gd name="T13" fmla="*/ 5 h 30"/>
                    <a:gd name="T14" fmla="*/ 29 w 29"/>
                    <a:gd name="T15" fmla="*/ 2 h 30"/>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30">
                      <a:moveTo>
                        <a:pt x="29" y="2"/>
                      </a:moveTo>
                      <a:cubicBezTo>
                        <a:pt x="28" y="1"/>
                        <a:pt x="27" y="0"/>
                        <a:pt x="26" y="1"/>
                      </a:cubicBezTo>
                      <a:cubicBezTo>
                        <a:pt x="26" y="1"/>
                        <a:pt x="26" y="1"/>
                        <a:pt x="26" y="1"/>
                      </a:cubicBezTo>
                      <a:cubicBezTo>
                        <a:pt x="15" y="6"/>
                        <a:pt x="5" y="15"/>
                        <a:pt x="0" y="27"/>
                      </a:cubicBezTo>
                      <a:cubicBezTo>
                        <a:pt x="0" y="28"/>
                        <a:pt x="1" y="29"/>
                        <a:pt x="2" y="30"/>
                      </a:cubicBezTo>
                      <a:cubicBezTo>
                        <a:pt x="3" y="30"/>
                        <a:pt x="4" y="30"/>
                        <a:pt x="4" y="29"/>
                      </a:cubicBezTo>
                      <a:cubicBezTo>
                        <a:pt x="9" y="17"/>
                        <a:pt x="17" y="9"/>
                        <a:pt x="28" y="5"/>
                      </a:cubicBezTo>
                      <a:cubicBezTo>
                        <a:pt x="29" y="4"/>
                        <a:pt x="29" y="3"/>
                        <a:pt x="29" y="2"/>
                      </a:cubicBezTo>
                      <a:close/>
                    </a:path>
                  </a:pathLst>
                </a:custGeom>
                <a:grpFill/>
                <a:ln>
                  <a:noFill/>
                </a:ln>
              </p:spPr>
              <p:txBody>
                <a:bodyPr lIns="51435" tIns="25718" rIns="51435" bIns="25718"/>
                <a:lstStyle/>
                <a:p>
                  <a:pPr defTabSz="514350">
                    <a:defRPr/>
                  </a:pPr>
                  <a:endParaRPr lang="id-ID" sz="760"/>
                </a:p>
              </p:txBody>
            </p:sp>
            <p:sp>
              <p:nvSpPr>
                <p:cNvPr id="93" name="Freeform 56"/>
                <p:cNvSpPr/>
                <p:nvPr/>
              </p:nvSpPr>
              <p:spPr bwMode="auto">
                <a:xfrm>
                  <a:off x="2109788" y="5064126"/>
                  <a:ext cx="93662" cy="93663"/>
                </a:xfrm>
                <a:custGeom>
                  <a:gdLst>
                    <a:gd name="T0" fmla="*/ 24 w 25"/>
                    <a:gd name="T1" fmla="*/ 4 h 25"/>
                    <a:gd name="T2" fmla="*/ 25 w 25"/>
                    <a:gd name="T3" fmla="*/ 1 h 25"/>
                    <a:gd name="T4" fmla="*/ 22 w 25"/>
                    <a:gd name="T5" fmla="*/ 0 h 25"/>
                    <a:gd name="T6" fmla="*/ 22 w 25"/>
                    <a:gd name="T7" fmla="*/ 0 h 25"/>
                    <a:gd name="T8" fmla="*/ 1 w 25"/>
                    <a:gd name="T9" fmla="*/ 22 h 25"/>
                    <a:gd name="T10" fmla="*/ 2 w 25"/>
                    <a:gd name="T11" fmla="*/ 25 h 25"/>
                    <a:gd name="T12" fmla="*/ 5 w 25"/>
                    <a:gd name="T13" fmla="*/ 24 h 25"/>
                    <a:gd name="T14" fmla="*/ 24 w 25"/>
                    <a:gd name="T15" fmla="*/ 4 h 2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5">
                      <a:moveTo>
                        <a:pt x="24" y="4"/>
                      </a:moveTo>
                      <a:cubicBezTo>
                        <a:pt x="25" y="3"/>
                        <a:pt x="25" y="2"/>
                        <a:pt x="25" y="1"/>
                      </a:cubicBezTo>
                      <a:cubicBezTo>
                        <a:pt x="24" y="0"/>
                        <a:pt x="23" y="0"/>
                        <a:pt x="22" y="0"/>
                      </a:cubicBezTo>
                      <a:cubicBezTo>
                        <a:pt x="22" y="0"/>
                        <a:pt x="22" y="0"/>
                        <a:pt x="22" y="0"/>
                      </a:cubicBezTo>
                      <a:cubicBezTo>
                        <a:pt x="13" y="4"/>
                        <a:pt x="5" y="12"/>
                        <a:pt x="1" y="22"/>
                      </a:cubicBezTo>
                      <a:cubicBezTo>
                        <a:pt x="0" y="23"/>
                        <a:pt x="1" y="24"/>
                        <a:pt x="2" y="25"/>
                      </a:cubicBezTo>
                      <a:cubicBezTo>
                        <a:pt x="3" y="25"/>
                        <a:pt x="4" y="25"/>
                        <a:pt x="5" y="24"/>
                      </a:cubicBezTo>
                      <a:cubicBezTo>
                        <a:pt x="8" y="14"/>
                        <a:pt x="15" y="8"/>
                        <a:pt x="24" y="4"/>
                      </a:cubicBezTo>
                      <a:close/>
                    </a:path>
                  </a:pathLst>
                </a:custGeom>
                <a:grpFill/>
                <a:ln>
                  <a:noFill/>
                </a:ln>
              </p:spPr>
              <p:txBody>
                <a:bodyPr lIns="51435" tIns="25718" rIns="51435" bIns="25718"/>
                <a:lstStyle/>
                <a:p>
                  <a:pPr defTabSz="514350">
                    <a:defRPr/>
                  </a:pPr>
                  <a:endParaRPr lang="id-ID" sz="760"/>
                </a:p>
              </p:txBody>
            </p:sp>
          </p:grpSp>
          <p:grpSp>
            <p:nvGrpSpPr>
              <p:cNvPr id="7" name="Group 24"/>
              <p:cNvGrpSpPr/>
              <p:nvPr/>
            </p:nvGrpSpPr>
            <p:grpSpPr>
              <a:xfrm>
                <a:off x="8806221" y="3987764"/>
                <a:ext cx="495300" cy="466725"/>
                <a:chOff x="1049338" y="4976813"/>
                <a:chExt cx="495300" cy="466725"/>
              </a:xfrm>
              <a:solidFill>
                <a:schemeClr val="bg1"/>
              </a:solidFill>
            </p:grpSpPr>
            <p:sp>
              <p:nvSpPr>
                <p:cNvPr id="83" name="Oval 57"/>
                <p:cNvSpPr>
                  <a:spLocks noChangeArrowheads="1"/>
                </p:cNvSpPr>
                <p:nvPr/>
              </p:nvSpPr>
              <p:spPr bwMode="auto">
                <a:xfrm>
                  <a:off x="1289050" y="5232401"/>
                  <a:ext cx="60325" cy="60325"/>
                </a:xfrm>
                <a:prstGeom prst="ellipse">
                  <a:avLst/>
                </a:prstGeom>
                <a:grpFill/>
                <a:ln>
                  <a:noFill/>
                </a:ln>
              </p:spPr>
              <p:txBody>
                <a:bodyPr lIns="51435" tIns="25718" rIns="51435" bIns="25718"/>
                <a:lstStyle/>
                <a:p>
                  <a:pPr defTabSz="514350">
                    <a:defRPr/>
                  </a:pPr>
                  <a:endParaRPr lang="id-ID" sz="760"/>
                </a:p>
              </p:txBody>
            </p:sp>
            <p:sp>
              <p:nvSpPr>
                <p:cNvPr id="84" name="Freeform 58"/>
                <p:cNvSpPr>
                  <a:spLocks noEditPoints="1"/>
                </p:cNvSpPr>
                <p:nvPr/>
              </p:nvSpPr>
              <p:spPr bwMode="auto">
                <a:xfrm>
                  <a:off x="1049338" y="4976813"/>
                  <a:ext cx="495300" cy="466725"/>
                </a:xfrm>
                <a:custGeom>
                  <a:gdLst>
                    <a:gd name="T0" fmla="*/ 116 w 132"/>
                    <a:gd name="T1" fmla="*/ 48 h 124"/>
                    <a:gd name="T2" fmla="*/ 116 w 132"/>
                    <a:gd name="T3" fmla="*/ 22 h 124"/>
                    <a:gd name="T4" fmla="*/ 104 w 132"/>
                    <a:gd name="T5" fmla="*/ 0 h 124"/>
                    <a:gd name="T6" fmla="*/ 22 w 132"/>
                    <a:gd name="T7" fmla="*/ 0 h 124"/>
                    <a:gd name="T8" fmla="*/ 0 w 132"/>
                    <a:gd name="T9" fmla="*/ 102 h 124"/>
                    <a:gd name="T10" fmla="*/ 94 w 132"/>
                    <a:gd name="T11" fmla="*/ 124 h 124"/>
                    <a:gd name="T12" fmla="*/ 116 w 132"/>
                    <a:gd name="T13" fmla="*/ 96 h 124"/>
                    <a:gd name="T14" fmla="*/ 116 w 132"/>
                    <a:gd name="T15" fmla="*/ 48 h 124"/>
                    <a:gd name="T16" fmla="*/ 88 w 132"/>
                    <a:gd name="T17" fmla="*/ 8 h 124"/>
                    <a:gd name="T18" fmla="*/ 108 w 132"/>
                    <a:gd name="T19" fmla="*/ 12 h 124"/>
                    <a:gd name="T20" fmla="*/ 108 w 132"/>
                    <a:gd name="T21" fmla="*/ 24 h 124"/>
                    <a:gd name="T22" fmla="*/ 104 w 132"/>
                    <a:gd name="T23" fmla="*/ 36 h 124"/>
                    <a:gd name="T24" fmla="*/ 104 w 132"/>
                    <a:gd name="T25" fmla="*/ 32 h 124"/>
                    <a:gd name="T26" fmla="*/ 104 w 132"/>
                    <a:gd name="T27" fmla="*/ 16 h 124"/>
                    <a:gd name="T28" fmla="*/ 16 w 132"/>
                    <a:gd name="T29" fmla="*/ 12 h 124"/>
                    <a:gd name="T30" fmla="*/ 12 w 132"/>
                    <a:gd name="T31" fmla="*/ 24 h 124"/>
                    <a:gd name="T32" fmla="*/ 8 w 132"/>
                    <a:gd name="T33" fmla="*/ 22 h 124"/>
                    <a:gd name="T34" fmla="*/ 100 w 132"/>
                    <a:gd name="T35" fmla="*/ 20 h 124"/>
                    <a:gd name="T36" fmla="*/ 16 w 132"/>
                    <a:gd name="T37" fmla="*/ 16 h 124"/>
                    <a:gd name="T38" fmla="*/ 100 w 132"/>
                    <a:gd name="T39" fmla="*/ 20 h 124"/>
                    <a:gd name="T40" fmla="*/ 100 w 132"/>
                    <a:gd name="T41" fmla="*/ 28 h 124"/>
                    <a:gd name="T42" fmla="*/ 16 w 132"/>
                    <a:gd name="T43" fmla="*/ 24 h 124"/>
                    <a:gd name="T44" fmla="*/ 100 w 132"/>
                    <a:gd name="T45" fmla="*/ 32 h 124"/>
                    <a:gd name="T46" fmla="*/ 88 w 132"/>
                    <a:gd name="T47" fmla="*/ 36 h 124"/>
                    <a:gd name="T48" fmla="*/ 16 w 132"/>
                    <a:gd name="T49" fmla="*/ 35 h 124"/>
                    <a:gd name="T50" fmla="*/ 100 w 132"/>
                    <a:gd name="T51" fmla="*/ 32 h 124"/>
                    <a:gd name="T52" fmla="*/ 94 w 132"/>
                    <a:gd name="T53" fmla="*/ 116 h 124"/>
                    <a:gd name="T54" fmla="*/ 8 w 132"/>
                    <a:gd name="T55" fmla="*/ 102 h 124"/>
                    <a:gd name="T56" fmla="*/ 22 w 132"/>
                    <a:gd name="T57" fmla="*/ 44 h 124"/>
                    <a:gd name="T58" fmla="*/ 104 w 132"/>
                    <a:gd name="T59" fmla="*/ 44 h 124"/>
                    <a:gd name="T60" fmla="*/ 108 w 132"/>
                    <a:gd name="T61" fmla="*/ 56 h 124"/>
                    <a:gd name="T62" fmla="*/ 52 w 132"/>
                    <a:gd name="T63" fmla="*/ 76 h 124"/>
                    <a:gd name="T64" fmla="*/ 108 w 132"/>
                    <a:gd name="T65" fmla="*/ 96 h 124"/>
                    <a:gd name="T66" fmla="*/ 113 w 132"/>
                    <a:gd name="T67" fmla="*/ 88 h 124"/>
                    <a:gd name="T68" fmla="*/ 60 w 132"/>
                    <a:gd name="T69" fmla="*/ 76 h 124"/>
                    <a:gd name="T70" fmla="*/ 108 w 132"/>
                    <a:gd name="T71" fmla="*/ 64 h 124"/>
                    <a:gd name="T72" fmla="*/ 115 w 132"/>
                    <a:gd name="T73" fmla="*/ 59 h 124"/>
                    <a:gd name="T74" fmla="*/ 120 w 132"/>
                    <a:gd name="T75" fmla="*/ 72 h 1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24">
                      <a:moveTo>
                        <a:pt x="116" y="48"/>
                      </a:moveTo>
                      <a:cubicBezTo>
                        <a:pt x="116" y="48"/>
                        <a:pt x="116" y="48"/>
                        <a:pt x="116" y="48"/>
                      </a:cubicBezTo>
                      <a:cubicBezTo>
                        <a:pt x="116" y="24"/>
                        <a:pt x="116" y="24"/>
                        <a:pt x="116" y="24"/>
                      </a:cubicBezTo>
                      <a:cubicBezTo>
                        <a:pt x="116" y="22"/>
                        <a:pt x="116" y="22"/>
                        <a:pt x="116" y="22"/>
                      </a:cubicBezTo>
                      <a:cubicBezTo>
                        <a:pt x="116" y="12"/>
                        <a:pt x="116" y="12"/>
                        <a:pt x="116" y="12"/>
                      </a:cubicBezTo>
                      <a:cubicBezTo>
                        <a:pt x="116" y="5"/>
                        <a:pt x="111" y="0"/>
                        <a:pt x="104" y="0"/>
                      </a:cubicBezTo>
                      <a:cubicBezTo>
                        <a:pt x="88" y="0"/>
                        <a:pt x="88" y="0"/>
                        <a:pt x="88" y="0"/>
                      </a:cubicBezTo>
                      <a:cubicBezTo>
                        <a:pt x="22" y="0"/>
                        <a:pt x="22" y="0"/>
                        <a:pt x="22" y="0"/>
                      </a:cubicBezTo>
                      <a:cubicBezTo>
                        <a:pt x="10" y="0"/>
                        <a:pt x="0" y="10"/>
                        <a:pt x="0" y="22"/>
                      </a:cubicBezTo>
                      <a:cubicBezTo>
                        <a:pt x="0" y="102"/>
                        <a:pt x="0" y="102"/>
                        <a:pt x="0" y="102"/>
                      </a:cubicBezTo>
                      <a:cubicBezTo>
                        <a:pt x="0" y="114"/>
                        <a:pt x="10" y="124"/>
                        <a:pt x="22" y="124"/>
                      </a:cubicBezTo>
                      <a:cubicBezTo>
                        <a:pt x="94" y="124"/>
                        <a:pt x="94" y="124"/>
                        <a:pt x="94" y="124"/>
                      </a:cubicBezTo>
                      <a:cubicBezTo>
                        <a:pt x="106" y="124"/>
                        <a:pt x="116" y="114"/>
                        <a:pt x="116" y="102"/>
                      </a:cubicBezTo>
                      <a:cubicBezTo>
                        <a:pt x="116" y="96"/>
                        <a:pt x="116" y="96"/>
                        <a:pt x="116" y="96"/>
                      </a:cubicBezTo>
                      <a:cubicBezTo>
                        <a:pt x="116" y="96"/>
                        <a:pt x="116" y="96"/>
                        <a:pt x="116" y="96"/>
                      </a:cubicBezTo>
                      <a:cubicBezTo>
                        <a:pt x="132" y="84"/>
                        <a:pt x="132" y="60"/>
                        <a:pt x="116" y="48"/>
                      </a:cubicBezTo>
                      <a:close/>
                      <a:moveTo>
                        <a:pt x="22" y="8"/>
                      </a:moveTo>
                      <a:cubicBezTo>
                        <a:pt x="88" y="8"/>
                        <a:pt x="88" y="8"/>
                        <a:pt x="88" y="8"/>
                      </a:cubicBezTo>
                      <a:cubicBezTo>
                        <a:pt x="104" y="8"/>
                        <a:pt x="104" y="8"/>
                        <a:pt x="104" y="8"/>
                      </a:cubicBezTo>
                      <a:cubicBezTo>
                        <a:pt x="106" y="8"/>
                        <a:pt x="108" y="10"/>
                        <a:pt x="108" y="12"/>
                      </a:cubicBezTo>
                      <a:cubicBezTo>
                        <a:pt x="108" y="22"/>
                        <a:pt x="108" y="22"/>
                        <a:pt x="108" y="22"/>
                      </a:cubicBezTo>
                      <a:cubicBezTo>
                        <a:pt x="108" y="24"/>
                        <a:pt x="108" y="24"/>
                        <a:pt x="108" y="24"/>
                      </a:cubicBezTo>
                      <a:cubicBezTo>
                        <a:pt x="108" y="37"/>
                        <a:pt x="108" y="37"/>
                        <a:pt x="108" y="37"/>
                      </a:cubicBezTo>
                      <a:cubicBezTo>
                        <a:pt x="107" y="36"/>
                        <a:pt x="105" y="36"/>
                        <a:pt x="104" y="36"/>
                      </a:cubicBezTo>
                      <a:cubicBezTo>
                        <a:pt x="104" y="36"/>
                        <a:pt x="104" y="36"/>
                        <a:pt x="104" y="36"/>
                      </a:cubicBezTo>
                      <a:cubicBezTo>
                        <a:pt x="104" y="32"/>
                        <a:pt x="104" y="32"/>
                        <a:pt x="104" y="32"/>
                      </a:cubicBezTo>
                      <a:cubicBezTo>
                        <a:pt x="104" y="24"/>
                        <a:pt x="104" y="24"/>
                        <a:pt x="104" y="24"/>
                      </a:cubicBezTo>
                      <a:cubicBezTo>
                        <a:pt x="104" y="16"/>
                        <a:pt x="104" y="16"/>
                        <a:pt x="104" y="16"/>
                      </a:cubicBezTo>
                      <a:cubicBezTo>
                        <a:pt x="104" y="14"/>
                        <a:pt x="102" y="12"/>
                        <a:pt x="100" y="12"/>
                      </a:cubicBezTo>
                      <a:cubicBezTo>
                        <a:pt x="16" y="12"/>
                        <a:pt x="16" y="12"/>
                        <a:pt x="16" y="12"/>
                      </a:cubicBezTo>
                      <a:cubicBezTo>
                        <a:pt x="14" y="12"/>
                        <a:pt x="12" y="14"/>
                        <a:pt x="12" y="16"/>
                      </a:cubicBezTo>
                      <a:cubicBezTo>
                        <a:pt x="12" y="24"/>
                        <a:pt x="12" y="24"/>
                        <a:pt x="12" y="24"/>
                      </a:cubicBezTo>
                      <a:cubicBezTo>
                        <a:pt x="12" y="32"/>
                        <a:pt x="12" y="32"/>
                        <a:pt x="12" y="32"/>
                      </a:cubicBezTo>
                      <a:cubicBezTo>
                        <a:pt x="10" y="29"/>
                        <a:pt x="8" y="26"/>
                        <a:pt x="8" y="22"/>
                      </a:cubicBezTo>
                      <a:cubicBezTo>
                        <a:pt x="8" y="14"/>
                        <a:pt x="14" y="8"/>
                        <a:pt x="22" y="8"/>
                      </a:cubicBezTo>
                      <a:close/>
                      <a:moveTo>
                        <a:pt x="100" y="20"/>
                      </a:moveTo>
                      <a:cubicBezTo>
                        <a:pt x="16" y="20"/>
                        <a:pt x="16" y="20"/>
                        <a:pt x="16" y="20"/>
                      </a:cubicBezTo>
                      <a:cubicBezTo>
                        <a:pt x="16" y="16"/>
                        <a:pt x="16" y="16"/>
                        <a:pt x="16" y="16"/>
                      </a:cubicBezTo>
                      <a:cubicBezTo>
                        <a:pt x="100" y="16"/>
                        <a:pt x="100" y="16"/>
                        <a:pt x="100" y="16"/>
                      </a:cubicBezTo>
                      <a:lnTo>
                        <a:pt x="100" y="20"/>
                      </a:lnTo>
                      <a:close/>
                      <a:moveTo>
                        <a:pt x="100" y="24"/>
                      </a:moveTo>
                      <a:cubicBezTo>
                        <a:pt x="100" y="28"/>
                        <a:pt x="100" y="28"/>
                        <a:pt x="100" y="28"/>
                      </a:cubicBezTo>
                      <a:cubicBezTo>
                        <a:pt x="16" y="28"/>
                        <a:pt x="16" y="28"/>
                        <a:pt x="16" y="28"/>
                      </a:cubicBezTo>
                      <a:cubicBezTo>
                        <a:pt x="16" y="24"/>
                        <a:pt x="16" y="24"/>
                        <a:pt x="16" y="24"/>
                      </a:cubicBezTo>
                      <a:lnTo>
                        <a:pt x="100" y="24"/>
                      </a:lnTo>
                      <a:close/>
                      <a:moveTo>
                        <a:pt x="100" y="32"/>
                      </a:moveTo>
                      <a:cubicBezTo>
                        <a:pt x="100" y="36"/>
                        <a:pt x="100" y="36"/>
                        <a:pt x="100" y="36"/>
                      </a:cubicBezTo>
                      <a:cubicBezTo>
                        <a:pt x="88" y="36"/>
                        <a:pt x="88" y="36"/>
                        <a:pt x="88" y="36"/>
                      </a:cubicBezTo>
                      <a:cubicBezTo>
                        <a:pt x="22" y="36"/>
                        <a:pt x="22" y="36"/>
                        <a:pt x="22" y="36"/>
                      </a:cubicBezTo>
                      <a:cubicBezTo>
                        <a:pt x="20" y="36"/>
                        <a:pt x="18" y="35"/>
                        <a:pt x="16" y="35"/>
                      </a:cubicBezTo>
                      <a:cubicBezTo>
                        <a:pt x="16" y="32"/>
                        <a:pt x="16" y="32"/>
                        <a:pt x="16" y="32"/>
                      </a:cubicBezTo>
                      <a:lnTo>
                        <a:pt x="100" y="32"/>
                      </a:lnTo>
                      <a:close/>
                      <a:moveTo>
                        <a:pt x="108" y="102"/>
                      </a:moveTo>
                      <a:cubicBezTo>
                        <a:pt x="108" y="110"/>
                        <a:pt x="102" y="116"/>
                        <a:pt x="94" y="116"/>
                      </a:cubicBezTo>
                      <a:cubicBezTo>
                        <a:pt x="22" y="116"/>
                        <a:pt x="22" y="116"/>
                        <a:pt x="22" y="116"/>
                      </a:cubicBezTo>
                      <a:cubicBezTo>
                        <a:pt x="14" y="116"/>
                        <a:pt x="8" y="110"/>
                        <a:pt x="8" y="102"/>
                      </a:cubicBezTo>
                      <a:cubicBezTo>
                        <a:pt x="8" y="39"/>
                        <a:pt x="8" y="39"/>
                        <a:pt x="8" y="39"/>
                      </a:cubicBezTo>
                      <a:cubicBezTo>
                        <a:pt x="12" y="42"/>
                        <a:pt x="17" y="44"/>
                        <a:pt x="22" y="44"/>
                      </a:cubicBezTo>
                      <a:cubicBezTo>
                        <a:pt x="88" y="44"/>
                        <a:pt x="88" y="44"/>
                        <a:pt x="88" y="44"/>
                      </a:cubicBezTo>
                      <a:cubicBezTo>
                        <a:pt x="104" y="44"/>
                        <a:pt x="104" y="44"/>
                        <a:pt x="104" y="44"/>
                      </a:cubicBezTo>
                      <a:cubicBezTo>
                        <a:pt x="106" y="44"/>
                        <a:pt x="108" y="46"/>
                        <a:pt x="108" y="48"/>
                      </a:cubicBezTo>
                      <a:cubicBezTo>
                        <a:pt x="108" y="56"/>
                        <a:pt x="108" y="56"/>
                        <a:pt x="108" y="56"/>
                      </a:cubicBezTo>
                      <a:cubicBezTo>
                        <a:pt x="72" y="56"/>
                        <a:pt x="72" y="56"/>
                        <a:pt x="72" y="56"/>
                      </a:cubicBezTo>
                      <a:cubicBezTo>
                        <a:pt x="61" y="56"/>
                        <a:pt x="52" y="65"/>
                        <a:pt x="52" y="76"/>
                      </a:cubicBezTo>
                      <a:cubicBezTo>
                        <a:pt x="52" y="87"/>
                        <a:pt x="61" y="96"/>
                        <a:pt x="72" y="96"/>
                      </a:cubicBezTo>
                      <a:cubicBezTo>
                        <a:pt x="108" y="96"/>
                        <a:pt x="108" y="96"/>
                        <a:pt x="108" y="96"/>
                      </a:cubicBezTo>
                      <a:lnTo>
                        <a:pt x="108" y="102"/>
                      </a:lnTo>
                      <a:close/>
                      <a:moveTo>
                        <a:pt x="113" y="88"/>
                      </a:moveTo>
                      <a:cubicBezTo>
                        <a:pt x="72" y="88"/>
                        <a:pt x="72" y="88"/>
                        <a:pt x="72" y="88"/>
                      </a:cubicBezTo>
                      <a:cubicBezTo>
                        <a:pt x="65" y="88"/>
                        <a:pt x="60" y="83"/>
                        <a:pt x="60" y="76"/>
                      </a:cubicBezTo>
                      <a:cubicBezTo>
                        <a:pt x="60" y="69"/>
                        <a:pt x="65" y="64"/>
                        <a:pt x="72" y="64"/>
                      </a:cubicBezTo>
                      <a:cubicBezTo>
                        <a:pt x="108" y="64"/>
                        <a:pt x="108" y="64"/>
                        <a:pt x="108" y="64"/>
                      </a:cubicBezTo>
                      <a:cubicBezTo>
                        <a:pt x="110" y="64"/>
                        <a:pt x="113" y="63"/>
                        <a:pt x="114" y="61"/>
                      </a:cubicBezTo>
                      <a:cubicBezTo>
                        <a:pt x="115" y="60"/>
                        <a:pt x="115" y="60"/>
                        <a:pt x="115" y="59"/>
                      </a:cubicBezTo>
                      <a:cubicBezTo>
                        <a:pt x="115" y="59"/>
                        <a:pt x="116" y="59"/>
                        <a:pt x="116" y="59"/>
                      </a:cubicBezTo>
                      <a:cubicBezTo>
                        <a:pt x="118" y="62"/>
                        <a:pt x="120" y="67"/>
                        <a:pt x="120" y="72"/>
                      </a:cubicBezTo>
                      <a:cubicBezTo>
                        <a:pt x="120" y="78"/>
                        <a:pt x="118" y="84"/>
                        <a:pt x="113" y="88"/>
                      </a:cubicBezTo>
                      <a:close/>
                    </a:path>
                  </a:pathLst>
                </a:custGeom>
                <a:grpFill/>
                <a:ln>
                  <a:noFill/>
                </a:ln>
              </p:spPr>
              <p:txBody>
                <a:bodyPr lIns="51435" tIns="25718" rIns="51435" bIns="25718"/>
                <a:lstStyle/>
                <a:p>
                  <a:pPr defTabSz="514350">
                    <a:defRPr/>
                  </a:pPr>
                  <a:endParaRPr lang="id-ID" sz="760"/>
                </a:p>
              </p:txBody>
            </p:sp>
          </p:grpSp>
          <p:sp>
            <p:nvSpPr>
              <p:cNvPr id="44" name="Freeform 59"/>
              <p:cNvSpPr>
                <a:spLocks noEditPoints="1"/>
              </p:cNvSpPr>
              <p:nvPr/>
            </p:nvSpPr>
            <p:spPr bwMode="auto">
              <a:xfrm>
                <a:off x="10359631" y="1779783"/>
                <a:ext cx="482890" cy="478835"/>
              </a:xfrm>
              <a:custGeom>
                <a:gdLst>
                  <a:gd name="T0" fmla="*/ 81 w 128"/>
                  <a:gd name="T1" fmla="*/ 14 h 128"/>
                  <a:gd name="T2" fmla="*/ 53 w 128"/>
                  <a:gd name="T3" fmla="*/ 36 h 128"/>
                  <a:gd name="T4" fmla="*/ 33 w 128"/>
                  <a:gd name="T5" fmla="*/ 36 h 128"/>
                  <a:gd name="T6" fmla="*/ 0 w 128"/>
                  <a:gd name="T7" fmla="*/ 56 h 128"/>
                  <a:gd name="T8" fmla="*/ 24 w 128"/>
                  <a:gd name="T9" fmla="*/ 84 h 128"/>
                  <a:gd name="T10" fmla="*/ 32 w 128"/>
                  <a:gd name="T11" fmla="*/ 128 h 128"/>
                  <a:gd name="T12" fmla="*/ 56 w 128"/>
                  <a:gd name="T13" fmla="*/ 120 h 128"/>
                  <a:gd name="T14" fmla="*/ 52 w 128"/>
                  <a:gd name="T15" fmla="*/ 108 h 128"/>
                  <a:gd name="T16" fmla="*/ 52 w 128"/>
                  <a:gd name="T17" fmla="*/ 80 h 128"/>
                  <a:gd name="T18" fmla="*/ 53 w 128"/>
                  <a:gd name="T19" fmla="*/ 78 h 128"/>
                  <a:gd name="T20" fmla="*/ 54 w 128"/>
                  <a:gd name="T21" fmla="*/ 77 h 128"/>
                  <a:gd name="T22" fmla="*/ 55 w 128"/>
                  <a:gd name="T23" fmla="*/ 76 h 128"/>
                  <a:gd name="T24" fmla="*/ 81 w 128"/>
                  <a:gd name="T25" fmla="*/ 98 h 128"/>
                  <a:gd name="T26" fmla="*/ 128 w 128"/>
                  <a:gd name="T27" fmla="*/ 56 h 128"/>
                  <a:gd name="T28" fmla="*/ 80 w 128"/>
                  <a:gd name="T29" fmla="*/ 56 h 128"/>
                  <a:gd name="T30" fmla="*/ 92 w 128"/>
                  <a:gd name="T31" fmla="*/ 44 h 128"/>
                  <a:gd name="T32" fmla="*/ 92 w 128"/>
                  <a:gd name="T33" fmla="*/ 68 h 128"/>
                  <a:gd name="T34" fmla="*/ 80 w 128"/>
                  <a:gd name="T35" fmla="*/ 56 h 128"/>
                  <a:gd name="T36" fmla="*/ 16 w 128"/>
                  <a:gd name="T37" fmla="*/ 44 h 128"/>
                  <a:gd name="T38" fmla="*/ 40 w 128"/>
                  <a:gd name="T39" fmla="*/ 56 h 128"/>
                  <a:gd name="T40" fmla="*/ 16 w 128"/>
                  <a:gd name="T41" fmla="*/ 68 h 128"/>
                  <a:gd name="T42" fmla="*/ 48 w 128"/>
                  <a:gd name="T43" fmla="*/ 120 h 128"/>
                  <a:gd name="T44" fmla="*/ 32 w 128"/>
                  <a:gd name="T45" fmla="*/ 84 h 128"/>
                  <a:gd name="T46" fmla="*/ 33 w 128"/>
                  <a:gd name="T47" fmla="*/ 76 h 128"/>
                  <a:gd name="T48" fmla="*/ 45 w 128"/>
                  <a:gd name="T49" fmla="*/ 76 h 128"/>
                  <a:gd name="T50" fmla="*/ 44 w 128"/>
                  <a:gd name="T51" fmla="*/ 108 h 128"/>
                  <a:gd name="T52" fmla="*/ 48 w 128"/>
                  <a:gd name="T53" fmla="*/ 117 h 128"/>
                  <a:gd name="T54" fmla="*/ 53 w 128"/>
                  <a:gd name="T55" fmla="*/ 68 h 128"/>
                  <a:gd name="T56" fmla="*/ 52 w 128"/>
                  <a:gd name="T57" fmla="*/ 68 h 128"/>
                  <a:gd name="T58" fmla="*/ 52 w 128"/>
                  <a:gd name="T59" fmla="*/ 44 h 128"/>
                  <a:gd name="T60" fmla="*/ 74 w 128"/>
                  <a:gd name="T61" fmla="*/ 36 h 128"/>
                  <a:gd name="T62" fmla="*/ 74 w 128"/>
                  <a:gd name="T63" fmla="*/ 76 h 128"/>
                  <a:gd name="T64" fmla="*/ 100 w 128"/>
                  <a:gd name="T65" fmla="*/ 104 h 128"/>
                  <a:gd name="T66" fmla="*/ 92 w 128"/>
                  <a:gd name="T67" fmla="*/ 76 h 128"/>
                  <a:gd name="T68" fmla="*/ 92 w 128"/>
                  <a:gd name="T69" fmla="*/ 36 h 128"/>
                  <a:gd name="T70" fmla="*/ 100 w 128"/>
                  <a:gd name="T71" fmla="*/ 8 h 128"/>
                  <a:gd name="T72" fmla="*/ 100 w 128"/>
                  <a:gd name="T73" fmla="*/ 104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8">
                    <a:moveTo>
                      <a:pt x="100" y="0"/>
                    </a:moveTo>
                    <a:cubicBezTo>
                      <a:pt x="92" y="0"/>
                      <a:pt x="85" y="6"/>
                      <a:pt x="81" y="14"/>
                    </a:cubicBezTo>
                    <a:cubicBezTo>
                      <a:pt x="81" y="14"/>
                      <a:pt x="81" y="14"/>
                      <a:pt x="81" y="14"/>
                    </a:cubicBezTo>
                    <a:cubicBezTo>
                      <a:pt x="74" y="27"/>
                      <a:pt x="64" y="36"/>
                      <a:pt x="53" y="36"/>
                    </a:cubicBezTo>
                    <a:cubicBezTo>
                      <a:pt x="50" y="36"/>
                      <a:pt x="50" y="36"/>
                      <a:pt x="50" y="36"/>
                    </a:cubicBezTo>
                    <a:cubicBezTo>
                      <a:pt x="33" y="36"/>
                      <a:pt x="33" y="36"/>
                      <a:pt x="33" y="36"/>
                    </a:cubicBezTo>
                    <a:cubicBezTo>
                      <a:pt x="16" y="36"/>
                      <a:pt x="16" y="36"/>
                      <a:pt x="16" y="36"/>
                    </a:cubicBezTo>
                    <a:cubicBezTo>
                      <a:pt x="7" y="36"/>
                      <a:pt x="0" y="45"/>
                      <a:pt x="0" y="56"/>
                    </a:cubicBezTo>
                    <a:cubicBezTo>
                      <a:pt x="0" y="67"/>
                      <a:pt x="7" y="76"/>
                      <a:pt x="16" y="76"/>
                    </a:cubicBezTo>
                    <a:cubicBezTo>
                      <a:pt x="20" y="76"/>
                      <a:pt x="24" y="80"/>
                      <a:pt x="24" y="84"/>
                    </a:cubicBezTo>
                    <a:cubicBezTo>
                      <a:pt x="24" y="120"/>
                      <a:pt x="24" y="120"/>
                      <a:pt x="24" y="120"/>
                    </a:cubicBezTo>
                    <a:cubicBezTo>
                      <a:pt x="24" y="124"/>
                      <a:pt x="28" y="128"/>
                      <a:pt x="32" y="128"/>
                    </a:cubicBezTo>
                    <a:cubicBezTo>
                      <a:pt x="48" y="128"/>
                      <a:pt x="48" y="128"/>
                      <a:pt x="48" y="128"/>
                    </a:cubicBezTo>
                    <a:cubicBezTo>
                      <a:pt x="52" y="128"/>
                      <a:pt x="56" y="124"/>
                      <a:pt x="56" y="120"/>
                    </a:cubicBezTo>
                    <a:cubicBezTo>
                      <a:pt x="56" y="116"/>
                      <a:pt x="56" y="116"/>
                      <a:pt x="56" y="116"/>
                    </a:cubicBezTo>
                    <a:cubicBezTo>
                      <a:pt x="56" y="112"/>
                      <a:pt x="52" y="110"/>
                      <a:pt x="52" y="108"/>
                    </a:cubicBezTo>
                    <a:cubicBezTo>
                      <a:pt x="52" y="80"/>
                      <a:pt x="52" y="80"/>
                      <a:pt x="52" y="80"/>
                    </a:cubicBezTo>
                    <a:cubicBezTo>
                      <a:pt x="52" y="80"/>
                      <a:pt x="52" y="80"/>
                      <a:pt x="52" y="80"/>
                    </a:cubicBezTo>
                    <a:cubicBezTo>
                      <a:pt x="52" y="79"/>
                      <a:pt x="52" y="79"/>
                      <a:pt x="53" y="78"/>
                    </a:cubicBezTo>
                    <a:cubicBezTo>
                      <a:pt x="53" y="78"/>
                      <a:pt x="53" y="78"/>
                      <a:pt x="53" y="78"/>
                    </a:cubicBezTo>
                    <a:cubicBezTo>
                      <a:pt x="53" y="77"/>
                      <a:pt x="53" y="77"/>
                      <a:pt x="54" y="77"/>
                    </a:cubicBezTo>
                    <a:cubicBezTo>
                      <a:pt x="54" y="77"/>
                      <a:pt x="54" y="77"/>
                      <a:pt x="54" y="77"/>
                    </a:cubicBezTo>
                    <a:cubicBezTo>
                      <a:pt x="54" y="77"/>
                      <a:pt x="54" y="77"/>
                      <a:pt x="54" y="77"/>
                    </a:cubicBezTo>
                    <a:cubicBezTo>
                      <a:pt x="54" y="76"/>
                      <a:pt x="55" y="76"/>
                      <a:pt x="55" y="76"/>
                    </a:cubicBezTo>
                    <a:cubicBezTo>
                      <a:pt x="65" y="77"/>
                      <a:pt x="74" y="85"/>
                      <a:pt x="81" y="98"/>
                    </a:cubicBezTo>
                    <a:cubicBezTo>
                      <a:pt x="81" y="98"/>
                      <a:pt x="81" y="98"/>
                      <a:pt x="81" y="98"/>
                    </a:cubicBezTo>
                    <a:cubicBezTo>
                      <a:pt x="85" y="106"/>
                      <a:pt x="92" y="112"/>
                      <a:pt x="100" y="112"/>
                    </a:cubicBezTo>
                    <a:cubicBezTo>
                      <a:pt x="118" y="112"/>
                      <a:pt x="128" y="84"/>
                      <a:pt x="128" y="56"/>
                    </a:cubicBezTo>
                    <a:cubicBezTo>
                      <a:pt x="128" y="28"/>
                      <a:pt x="118" y="0"/>
                      <a:pt x="100" y="0"/>
                    </a:cubicBezTo>
                    <a:close/>
                    <a:moveTo>
                      <a:pt x="80" y="56"/>
                    </a:moveTo>
                    <a:cubicBezTo>
                      <a:pt x="80" y="52"/>
                      <a:pt x="80" y="48"/>
                      <a:pt x="81" y="44"/>
                    </a:cubicBezTo>
                    <a:cubicBezTo>
                      <a:pt x="92" y="44"/>
                      <a:pt x="92" y="44"/>
                      <a:pt x="92" y="44"/>
                    </a:cubicBezTo>
                    <a:cubicBezTo>
                      <a:pt x="96" y="44"/>
                      <a:pt x="100" y="49"/>
                      <a:pt x="100" y="56"/>
                    </a:cubicBezTo>
                    <a:cubicBezTo>
                      <a:pt x="100" y="63"/>
                      <a:pt x="96" y="68"/>
                      <a:pt x="92" y="68"/>
                    </a:cubicBezTo>
                    <a:cubicBezTo>
                      <a:pt x="81" y="68"/>
                      <a:pt x="81" y="68"/>
                      <a:pt x="81" y="68"/>
                    </a:cubicBezTo>
                    <a:cubicBezTo>
                      <a:pt x="80" y="64"/>
                      <a:pt x="80" y="60"/>
                      <a:pt x="80" y="56"/>
                    </a:cubicBezTo>
                    <a:close/>
                    <a:moveTo>
                      <a:pt x="8" y="56"/>
                    </a:moveTo>
                    <a:cubicBezTo>
                      <a:pt x="8" y="49"/>
                      <a:pt x="12" y="44"/>
                      <a:pt x="16" y="44"/>
                    </a:cubicBezTo>
                    <a:cubicBezTo>
                      <a:pt x="44" y="44"/>
                      <a:pt x="44" y="44"/>
                      <a:pt x="44" y="44"/>
                    </a:cubicBezTo>
                    <a:cubicBezTo>
                      <a:pt x="42" y="47"/>
                      <a:pt x="40" y="51"/>
                      <a:pt x="40" y="56"/>
                    </a:cubicBezTo>
                    <a:cubicBezTo>
                      <a:pt x="40" y="61"/>
                      <a:pt x="42" y="65"/>
                      <a:pt x="44" y="68"/>
                    </a:cubicBezTo>
                    <a:cubicBezTo>
                      <a:pt x="16" y="68"/>
                      <a:pt x="16" y="68"/>
                      <a:pt x="16" y="68"/>
                    </a:cubicBezTo>
                    <a:cubicBezTo>
                      <a:pt x="12" y="68"/>
                      <a:pt x="8" y="63"/>
                      <a:pt x="8" y="56"/>
                    </a:cubicBezTo>
                    <a:close/>
                    <a:moveTo>
                      <a:pt x="48" y="120"/>
                    </a:moveTo>
                    <a:cubicBezTo>
                      <a:pt x="32" y="120"/>
                      <a:pt x="32" y="120"/>
                      <a:pt x="32" y="120"/>
                    </a:cubicBezTo>
                    <a:cubicBezTo>
                      <a:pt x="32" y="84"/>
                      <a:pt x="32" y="84"/>
                      <a:pt x="32" y="84"/>
                    </a:cubicBezTo>
                    <a:cubicBezTo>
                      <a:pt x="32" y="81"/>
                      <a:pt x="31" y="78"/>
                      <a:pt x="30" y="76"/>
                    </a:cubicBezTo>
                    <a:cubicBezTo>
                      <a:pt x="33" y="76"/>
                      <a:pt x="33" y="76"/>
                      <a:pt x="33" y="76"/>
                    </a:cubicBezTo>
                    <a:cubicBezTo>
                      <a:pt x="33" y="76"/>
                      <a:pt x="33" y="76"/>
                      <a:pt x="33" y="76"/>
                    </a:cubicBezTo>
                    <a:cubicBezTo>
                      <a:pt x="45" y="76"/>
                      <a:pt x="45" y="76"/>
                      <a:pt x="45" y="76"/>
                    </a:cubicBezTo>
                    <a:cubicBezTo>
                      <a:pt x="44" y="77"/>
                      <a:pt x="44" y="79"/>
                      <a:pt x="44" y="80"/>
                    </a:cubicBezTo>
                    <a:cubicBezTo>
                      <a:pt x="44" y="108"/>
                      <a:pt x="44" y="108"/>
                      <a:pt x="44" y="108"/>
                    </a:cubicBezTo>
                    <a:cubicBezTo>
                      <a:pt x="44" y="112"/>
                      <a:pt x="46" y="114"/>
                      <a:pt x="47" y="116"/>
                    </a:cubicBezTo>
                    <a:cubicBezTo>
                      <a:pt x="48" y="116"/>
                      <a:pt x="48" y="116"/>
                      <a:pt x="48" y="117"/>
                    </a:cubicBezTo>
                    <a:lnTo>
                      <a:pt x="48" y="120"/>
                    </a:lnTo>
                    <a:close/>
                    <a:moveTo>
                      <a:pt x="53" y="68"/>
                    </a:moveTo>
                    <a:cubicBezTo>
                      <a:pt x="52" y="68"/>
                      <a:pt x="52" y="68"/>
                      <a:pt x="52" y="68"/>
                    </a:cubicBezTo>
                    <a:cubicBezTo>
                      <a:pt x="52" y="68"/>
                      <a:pt x="52" y="68"/>
                      <a:pt x="52" y="68"/>
                    </a:cubicBezTo>
                    <a:cubicBezTo>
                      <a:pt x="48" y="68"/>
                      <a:pt x="44" y="63"/>
                      <a:pt x="44" y="56"/>
                    </a:cubicBezTo>
                    <a:cubicBezTo>
                      <a:pt x="44" y="49"/>
                      <a:pt x="48" y="44"/>
                      <a:pt x="52" y="44"/>
                    </a:cubicBezTo>
                    <a:cubicBezTo>
                      <a:pt x="53" y="44"/>
                      <a:pt x="53" y="44"/>
                      <a:pt x="53" y="44"/>
                    </a:cubicBezTo>
                    <a:cubicBezTo>
                      <a:pt x="60" y="44"/>
                      <a:pt x="68" y="41"/>
                      <a:pt x="74" y="36"/>
                    </a:cubicBezTo>
                    <a:cubicBezTo>
                      <a:pt x="73" y="42"/>
                      <a:pt x="72" y="49"/>
                      <a:pt x="72" y="56"/>
                    </a:cubicBezTo>
                    <a:cubicBezTo>
                      <a:pt x="72" y="63"/>
                      <a:pt x="73" y="70"/>
                      <a:pt x="74" y="76"/>
                    </a:cubicBezTo>
                    <a:cubicBezTo>
                      <a:pt x="68" y="71"/>
                      <a:pt x="60" y="68"/>
                      <a:pt x="53" y="68"/>
                    </a:cubicBezTo>
                    <a:close/>
                    <a:moveTo>
                      <a:pt x="100" y="104"/>
                    </a:moveTo>
                    <a:cubicBezTo>
                      <a:pt x="92" y="104"/>
                      <a:pt x="85" y="93"/>
                      <a:pt x="82" y="76"/>
                    </a:cubicBezTo>
                    <a:cubicBezTo>
                      <a:pt x="92" y="76"/>
                      <a:pt x="92" y="76"/>
                      <a:pt x="92" y="76"/>
                    </a:cubicBezTo>
                    <a:cubicBezTo>
                      <a:pt x="101" y="76"/>
                      <a:pt x="108" y="67"/>
                      <a:pt x="108" y="56"/>
                    </a:cubicBezTo>
                    <a:cubicBezTo>
                      <a:pt x="108" y="45"/>
                      <a:pt x="101" y="36"/>
                      <a:pt x="92" y="36"/>
                    </a:cubicBezTo>
                    <a:cubicBezTo>
                      <a:pt x="82" y="36"/>
                      <a:pt x="82" y="36"/>
                      <a:pt x="82" y="36"/>
                    </a:cubicBezTo>
                    <a:cubicBezTo>
                      <a:pt x="85" y="19"/>
                      <a:pt x="92" y="8"/>
                      <a:pt x="100" y="8"/>
                    </a:cubicBezTo>
                    <a:cubicBezTo>
                      <a:pt x="111" y="8"/>
                      <a:pt x="120" y="29"/>
                      <a:pt x="120" y="56"/>
                    </a:cubicBezTo>
                    <a:cubicBezTo>
                      <a:pt x="120" y="83"/>
                      <a:pt x="111" y="104"/>
                      <a:pt x="100" y="104"/>
                    </a:cubicBezTo>
                    <a:close/>
                  </a:path>
                </a:pathLst>
              </a:custGeom>
              <a:solidFill>
                <a:schemeClr val="bg1"/>
              </a:solidFill>
              <a:ln>
                <a:noFill/>
              </a:ln>
            </p:spPr>
            <p:txBody>
              <a:bodyPr lIns="51435" tIns="25718" rIns="51435" bIns="25718"/>
              <a:lstStyle/>
              <a:p>
                <a:pPr defTabSz="514350">
                  <a:defRPr/>
                </a:pPr>
                <a:endParaRPr lang="id-ID" sz="760"/>
              </a:p>
            </p:txBody>
          </p:sp>
          <p:sp>
            <p:nvSpPr>
              <p:cNvPr id="45" name="Freeform 60"/>
              <p:cNvSpPr>
                <a:spLocks noEditPoints="1"/>
              </p:cNvSpPr>
              <p:nvPr/>
            </p:nvSpPr>
            <p:spPr bwMode="auto">
              <a:xfrm>
                <a:off x="5922805" y="2564081"/>
                <a:ext cx="482893" cy="482964"/>
              </a:xfrm>
              <a:custGeom>
                <a:gdLst>
                  <a:gd name="T0" fmla="*/ 126 w 129"/>
                  <a:gd name="T1" fmla="*/ 2 h 128"/>
                  <a:gd name="T2" fmla="*/ 121 w 129"/>
                  <a:gd name="T3" fmla="*/ 0 h 128"/>
                  <a:gd name="T4" fmla="*/ 120 w 129"/>
                  <a:gd name="T5" fmla="*/ 0 h 128"/>
                  <a:gd name="T6" fmla="*/ 52 w 129"/>
                  <a:gd name="T7" fmla="*/ 12 h 128"/>
                  <a:gd name="T8" fmla="*/ 45 w 129"/>
                  <a:gd name="T9" fmla="*/ 20 h 128"/>
                  <a:gd name="T10" fmla="*/ 45 w 129"/>
                  <a:gd name="T11" fmla="*/ 28 h 128"/>
                  <a:gd name="T12" fmla="*/ 45 w 129"/>
                  <a:gd name="T13" fmla="*/ 32 h 128"/>
                  <a:gd name="T14" fmla="*/ 45 w 129"/>
                  <a:gd name="T15" fmla="*/ 89 h 128"/>
                  <a:gd name="T16" fmla="*/ 30 w 129"/>
                  <a:gd name="T17" fmla="*/ 84 h 128"/>
                  <a:gd name="T18" fmla="*/ 20 w 129"/>
                  <a:gd name="T19" fmla="*/ 86 h 128"/>
                  <a:gd name="T20" fmla="*/ 3 w 129"/>
                  <a:gd name="T21" fmla="*/ 100 h 128"/>
                  <a:gd name="T22" fmla="*/ 2 w 129"/>
                  <a:gd name="T23" fmla="*/ 115 h 128"/>
                  <a:gd name="T24" fmla="*/ 24 w 129"/>
                  <a:gd name="T25" fmla="*/ 128 h 128"/>
                  <a:gd name="T26" fmla="*/ 34 w 129"/>
                  <a:gd name="T27" fmla="*/ 126 h 128"/>
                  <a:gd name="T28" fmla="*/ 51 w 129"/>
                  <a:gd name="T29" fmla="*/ 112 h 128"/>
                  <a:gd name="T30" fmla="*/ 53 w 129"/>
                  <a:gd name="T31" fmla="*/ 104 h 128"/>
                  <a:gd name="T32" fmla="*/ 53 w 129"/>
                  <a:gd name="T33" fmla="*/ 104 h 128"/>
                  <a:gd name="T34" fmla="*/ 53 w 129"/>
                  <a:gd name="T35" fmla="*/ 40 h 128"/>
                  <a:gd name="T36" fmla="*/ 54 w 129"/>
                  <a:gd name="T37" fmla="*/ 40 h 128"/>
                  <a:gd name="T38" fmla="*/ 121 w 129"/>
                  <a:gd name="T39" fmla="*/ 28 h 128"/>
                  <a:gd name="T40" fmla="*/ 121 w 129"/>
                  <a:gd name="T41" fmla="*/ 77 h 128"/>
                  <a:gd name="T42" fmla="*/ 106 w 129"/>
                  <a:gd name="T43" fmla="*/ 72 h 128"/>
                  <a:gd name="T44" fmla="*/ 96 w 129"/>
                  <a:gd name="T45" fmla="*/ 74 h 128"/>
                  <a:gd name="T46" fmla="*/ 79 w 129"/>
                  <a:gd name="T47" fmla="*/ 88 h 128"/>
                  <a:gd name="T48" fmla="*/ 78 w 129"/>
                  <a:gd name="T49" fmla="*/ 103 h 128"/>
                  <a:gd name="T50" fmla="*/ 100 w 129"/>
                  <a:gd name="T51" fmla="*/ 116 h 128"/>
                  <a:gd name="T52" fmla="*/ 110 w 129"/>
                  <a:gd name="T53" fmla="*/ 114 h 128"/>
                  <a:gd name="T54" fmla="*/ 127 w 129"/>
                  <a:gd name="T55" fmla="*/ 100 h 128"/>
                  <a:gd name="T56" fmla="*/ 129 w 129"/>
                  <a:gd name="T57" fmla="*/ 92 h 128"/>
                  <a:gd name="T58" fmla="*/ 129 w 129"/>
                  <a:gd name="T59" fmla="*/ 92 h 128"/>
                  <a:gd name="T60" fmla="*/ 129 w 129"/>
                  <a:gd name="T61" fmla="*/ 20 h 128"/>
                  <a:gd name="T62" fmla="*/ 129 w 129"/>
                  <a:gd name="T63" fmla="*/ 16 h 128"/>
                  <a:gd name="T64" fmla="*/ 129 w 129"/>
                  <a:gd name="T65" fmla="*/ 8 h 128"/>
                  <a:gd name="T66" fmla="*/ 126 w 129"/>
                  <a:gd name="T67" fmla="*/ 2 h 128"/>
                  <a:gd name="T68" fmla="*/ 32 w 129"/>
                  <a:gd name="T69" fmla="*/ 119 h 128"/>
                  <a:gd name="T70" fmla="*/ 10 w 129"/>
                  <a:gd name="T71" fmla="*/ 112 h 128"/>
                  <a:gd name="T72" fmla="*/ 22 w 129"/>
                  <a:gd name="T73" fmla="*/ 93 h 128"/>
                  <a:gd name="T74" fmla="*/ 44 w 129"/>
                  <a:gd name="T75" fmla="*/ 100 h 128"/>
                  <a:gd name="T76" fmla="*/ 32 w 129"/>
                  <a:gd name="T77" fmla="*/ 119 h 128"/>
                  <a:gd name="T78" fmla="*/ 108 w 129"/>
                  <a:gd name="T79" fmla="*/ 107 h 128"/>
                  <a:gd name="T80" fmla="*/ 85 w 129"/>
                  <a:gd name="T81" fmla="*/ 100 h 128"/>
                  <a:gd name="T82" fmla="*/ 98 w 129"/>
                  <a:gd name="T83" fmla="*/ 81 h 128"/>
                  <a:gd name="T84" fmla="*/ 120 w 129"/>
                  <a:gd name="T85" fmla="*/ 88 h 128"/>
                  <a:gd name="T86" fmla="*/ 108 w 129"/>
                  <a:gd name="T87" fmla="*/ 107 h 128"/>
                  <a:gd name="T88" fmla="*/ 121 w 129"/>
                  <a:gd name="T89" fmla="*/ 20 h 128"/>
                  <a:gd name="T90" fmla="*/ 53 w 129"/>
                  <a:gd name="T91" fmla="*/ 32 h 128"/>
                  <a:gd name="T92" fmla="*/ 53 w 129"/>
                  <a:gd name="T93" fmla="*/ 28 h 128"/>
                  <a:gd name="T94" fmla="*/ 53 w 129"/>
                  <a:gd name="T95" fmla="*/ 20 h 128"/>
                  <a:gd name="T96" fmla="*/ 121 w 129"/>
                  <a:gd name="T97" fmla="*/ 8 h 128"/>
                  <a:gd name="T98" fmla="*/ 121 w 129"/>
                  <a:gd name="T99" fmla="*/ 16 h 128"/>
                  <a:gd name="T100" fmla="*/ 121 w 129"/>
                  <a:gd name="T101" fmla="*/ 20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9" h="128">
                    <a:moveTo>
                      <a:pt x="126" y="2"/>
                    </a:moveTo>
                    <a:cubicBezTo>
                      <a:pt x="125" y="1"/>
                      <a:pt x="123" y="0"/>
                      <a:pt x="121" y="0"/>
                    </a:cubicBezTo>
                    <a:cubicBezTo>
                      <a:pt x="121" y="0"/>
                      <a:pt x="120" y="0"/>
                      <a:pt x="120" y="0"/>
                    </a:cubicBezTo>
                    <a:cubicBezTo>
                      <a:pt x="52" y="12"/>
                      <a:pt x="52" y="12"/>
                      <a:pt x="52" y="12"/>
                    </a:cubicBezTo>
                    <a:cubicBezTo>
                      <a:pt x="48" y="13"/>
                      <a:pt x="45" y="16"/>
                      <a:pt x="45" y="20"/>
                    </a:cubicBezTo>
                    <a:cubicBezTo>
                      <a:pt x="45" y="28"/>
                      <a:pt x="45" y="28"/>
                      <a:pt x="45" y="28"/>
                    </a:cubicBezTo>
                    <a:cubicBezTo>
                      <a:pt x="45" y="32"/>
                      <a:pt x="45" y="32"/>
                      <a:pt x="45" y="32"/>
                    </a:cubicBezTo>
                    <a:cubicBezTo>
                      <a:pt x="45" y="89"/>
                      <a:pt x="45" y="89"/>
                      <a:pt x="45" y="89"/>
                    </a:cubicBezTo>
                    <a:cubicBezTo>
                      <a:pt x="41" y="86"/>
                      <a:pt x="36" y="84"/>
                      <a:pt x="30" y="84"/>
                    </a:cubicBezTo>
                    <a:cubicBezTo>
                      <a:pt x="26" y="84"/>
                      <a:pt x="23" y="85"/>
                      <a:pt x="20" y="86"/>
                    </a:cubicBezTo>
                    <a:cubicBezTo>
                      <a:pt x="12" y="88"/>
                      <a:pt x="6" y="93"/>
                      <a:pt x="3" y="100"/>
                    </a:cubicBezTo>
                    <a:cubicBezTo>
                      <a:pt x="1" y="104"/>
                      <a:pt x="0" y="110"/>
                      <a:pt x="2" y="115"/>
                    </a:cubicBezTo>
                    <a:cubicBezTo>
                      <a:pt x="5" y="123"/>
                      <a:pt x="14" y="128"/>
                      <a:pt x="24" y="128"/>
                    </a:cubicBezTo>
                    <a:cubicBezTo>
                      <a:pt x="28" y="128"/>
                      <a:pt x="31" y="127"/>
                      <a:pt x="34" y="126"/>
                    </a:cubicBezTo>
                    <a:cubicBezTo>
                      <a:pt x="42" y="124"/>
                      <a:pt x="48" y="119"/>
                      <a:pt x="51" y="112"/>
                    </a:cubicBezTo>
                    <a:cubicBezTo>
                      <a:pt x="52" y="110"/>
                      <a:pt x="53" y="107"/>
                      <a:pt x="53" y="104"/>
                    </a:cubicBezTo>
                    <a:cubicBezTo>
                      <a:pt x="53" y="104"/>
                      <a:pt x="53" y="104"/>
                      <a:pt x="53" y="104"/>
                    </a:cubicBezTo>
                    <a:cubicBezTo>
                      <a:pt x="53" y="40"/>
                      <a:pt x="53" y="40"/>
                      <a:pt x="53" y="40"/>
                    </a:cubicBezTo>
                    <a:cubicBezTo>
                      <a:pt x="53" y="40"/>
                      <a:pt x="54" y="40"/>
                      <a:pt x="54" y="40"/>
                    </a:cubicBezTo>
                    <a:cubicBezTo>
                      <a:pt x="121" y="28"/>
                      <a:pt x="121" y="28"/>
                      <a:pt x="121" y="28"/>
                    </a:cubicBezTo>
                    <a:cubicBezTo>
                      <a:pt x="121" y="77"/>
                      <a:pt x="121" y="77"/>
                      <a:pt x="121" y="77"/>
                    </a:cubicBezTo>
                    <a:cubicBezTo>
                      <a:pt x="117" y="74"/>
                      <a:pt x="112" y="72"/>
                      <a:pt x="106" y="72"/>
                    </a:cubicBezTo>
                    <a:cubicBezTo>
                      <a:pt x="102" y="72"/>
                      <a:pt x="99" y="73"/>
                      <a:pt x="96" y="74"/>
                    </a:cubicBezTo>
                    <a:cubicBezTo>
                      <a:pt x="88" y="76"/>
                      <a:pt x="82" y="81"/>
                      <a:pt x="79" y="88"/>
                    </a:cubicBezTo>
                    <a:cubicBezTo>
                      <a:pt x="77" y="92"/>
                      <a:pt x="76" y="98"/>
                      <a:pt x="78" y="103"/>
                    </a:cubicBezTo>
                    <a:cubicBezTo>
                      <a:pt x="81" y="111"/>
                      <a:pt x="90" y="116"/>
                      <a:pt x="100" y="116"/>
                    </a:cubicBezTo>
                    <a:cubicBezTo>
                      <a:pt x="104" y="116"/>
                      <a:pt x="107" y="115"/>
                      <a:pt x="110" y="114"/>
                    </a:cubicBezTo>
                    <a:cubicBezTo>
                      <a:pt x="118" y="112"/>
                      <a:pt x="124" y="107"/>
                      <a:pt x="127" y="100"/>
                    </a:cubicBezTo>
                    <a:cubicBezTo>
                      <a:pt x="128" y="98"/>
                      <a:pt x="129" y="95"/>
                      <a:pt x="129" y="92"/>
                    </a:cubicBezTo>
                    <a:cubicBezTo>
                      <a:pt x="129" y="92"/>
                      <a:pt x="129" y="92"/>
                      <a:pt x="129" y="92"/>
                    </a:cubicBezTo>
                    <a:cubicBezTo>
                      <a:pt x="129" y="20"/>
                      <a:pt x="129" y="20"/>
                      <a:pt x="129" y="20"/>
                    </a:cubicBezTo>
                    <a:cubicBezTo>
                      <a:pt x="129" y="16"/>
                      <a:pt x="129" y="16"/>
                      <a:pt x="129" y="16"/>
                    </a:cubicBezTo>
                    <a:cubicBezTo>
                      <a:pt x="129" y="8"/>
                      <a:pt x="129" y="8"/>
                      <a:pt x="129" y="8"/>
                    </a:cubicBezTo>
                    <a:cubicBezTo>
                      <a:pt x="129" y="6"/>
                      <a:pt x="128" y="3"/>
                      <a:pt x="126" y="2"/>
                    </a:cubicBezTo>
                    <a:close/>
                    <a:moveTo>
                      <a:pt x="32" y="119"/>
                    </a:moveTo>
                    <a:cubicBezTo>
                      <a:pt x="22" y="122"/>
                      <a:pt x="12" y="119"/>
                      <a:pt x="10" y="112"/>
                    </a:cubicBezTo>
                    <a:cubicBezTo>
                      <a:pt x="7" y="105"/>
                      <a:pt x="13" y="96"/>
                      <a:pt x="22" y="93"/>
                    </a:cubicBezTo>
                    <a:cubicBezTo>
                      <a:pt x="32" y="90"/>
                      <a:pt x="42" y="93"/>
                      <a:pt x="44" y="100"/>
                    </a:cubicBezTo>
                    <a:cubicBezTo>
                      <a:pt x="47" y="107"/>
                      <a:pt x="41" y="116"/>
                      <a:pt x="32" y="119"/>
                    </a:cubicBezTo>
                    <a:close/>
                    <a:moveTo>
                      <a:pt x="108" y="107"/>
                    </a:moveTo>
                    <a:cubicBezTo>
                      <a:pt x="98" y="110"/>
                      <a:pt x="88" y="107"/>
                      <a:pt x="85" y="100"/>
                    </a:cubicBezTo>
                    <a:cubicBezTo>
                      <a:pt x="83" y="93"/>
                      <a:pt x="88" y="84"/>
                      <a:pt x="98" y="81"/>
                    </a:cubicBezTo>
                    <a:cubicBezTo>
                      <a:pt x="108" y="78"/>
                      <a:pt x="118" y="81"/>
                      <a:pt x="120" y="88"/>
                    </a:cubicBezTo>
                    <a:cubicBezTo>
                      <a:pt x="123" y="95"/>
                      <a:pt x="117" y="104"/>
                      <a:pt x="108" y="107"/>
                    </a:cubicBezTo>
                    <a:close/>
                    <a:moveTo>
                      <a:pt x="121" y="20"/>
                    </a:moveTo>
                    <a:cubicBezTo>
                      <a:pt x="53" y="32"/>
                      <a:pt x="53" y="32"/>
                      <a:pt x="53" y="32"/>
                    </a:cubicBezTo>
                    <a:cubicBezTo>
                      <a:pt x="53" y="28"/>
                      <a:pt x="53" y="28"/>
                      <a:pt x="53" y="28"/>
                    </a:cubicBezTo>
                    <a:cubicBezTo>
                      <a:pt x="53" y="20"/>
                      <a:pt x="53" y="20"/>
                      <a:pt x="53" y="20"/>
                    </a:cubicBezTo>
                    <a:cubicBezTo>
                      <a:pt x="121" y="8"/>
                      <a:pt x="121" y="8"/>
                      <a:pt x="121" y="8"/>
                    </a:cubicBezTo>
                    <a:cubicBezTo>
                      <a:pt x="121" y="16"/>
                      <a:pt x="121" y="16"/>
                      <a:pt x="121" y="16"/>
                    </a:cubicBezTo>
                    <a:lnTo>
                      <a:pt x="121" y="20"/>
                    </a:lnTo>
                    <a:close/>
                  </a:path>
                </a:pathLst>
              </a:custGeom>
              <a:solidFill>
                <a:schemeClr val="bg1"/>
              </a:solidFill>
              <a:ln>
                <a:noFill/>
              </a:ln>
            </p:spPr>
            <p:txBody>
              <a:bodyPr lIns="51435" tIns="25718" rIns="51435" bIns="25718"/>
              <a:lstStyle/>
              <a:p>
                <a:pPr defTabSz="514350">
                  <a:defRPr/>
                </a:pPr>
                <a:endParaRPr lang="id-ID" sz="760"/>
              </a:p>
            </p:txBody>
          </p:sp>
          <p:grpSp>
            <p:nvGrpSpPr>
              <p:cNvPr id="8" name="Group 27"/>
              <p:cNvGrpSpPr/>
              <p:nvPr/>
            </p:nvGrpSpPr>
            <p:grpSpPr>
              <a:xfrm>
                <a:off x="8355201" y="767514"/>
                <a:ext cx="422275" cy="482600"/>
                <a:chOff x="2041525" y="3035301"/>
                <a:chExt cx="422275" cy="482600"/>
              </a:xfrm>
              <a:solidFill>
                <a:schemeClr val="bg1"/>
              </a:solidFill>
            </p:grpSpPr>
            <p:sp>
              <p:nvSpPr>
                <p:cNvPr id="79" name="Freeform 61"/>
                <p:cNvSpPr>
                  <a:spLocks noEditPoints="1"/>
                </p:cNvSpPr>
                <p:nvPr/>
              </p:nvSpPr>
              <p:spPr bwMode="auto">
                <a:xfrm>
                  <a:off x="2041525" y="3035301"/>
                  <a:ext cx="422275" cy="482600"/>
                </a:xfrm>
                <a:custGeom>
                  <a:gdLst>
                    <a:gd name="T0" fmla="*/ 56 w 112"/>
                    <a:gd name="T1" fmla="*/ 0 h 128"/>
                    <a:gd name="T2" fmla="*/ 0 w 112"/>
                    <a:gd name="T3" fmla="*/ 26 h 128"/>
                    <a:gd name="T4" fmla="*/ 0 w 112"/>
                    <a:gd name="T5" fmla="*/ 102 h 128"/>
                    <a:gd name="T6" fmla="*/ 56 w 112"/>
                    <a:gd name="T7" fmla="*/ 128 h 128"/>
                    <a:gd name="T8" fmla="*/ 112 w 112"/>
                    <a:gd name="T9" fmla="*/ 102 h 128"/>
                    <a:gd name="T10" fmla="*/ 112 w 112"/>
                    <a:gd name="T11" fmla="*/ 26 h 128"/>
                    <a:gd name="T12" fmla="*/ 56 w 112"/>
                    <a:gd name="T13" fmla="*/ 0 h 128"/>
                    <a:gd name="T14" fmla="*/ 104 w 112"/>
                    <a:gd name="T15" fmla="*/ 102 h 128"/>
                    <a:gd name="T16" fmla="*/ 56 w 112"/>
                    <a:gd name="T17" fmla="*/ 120 h 128"/>
                    <a:gd name="T18" fmla="*/ 8 w 112"/>
                    <a:gd name="T19" fmla="*/ 102 h 128"/>
                    <a:gd name="T20" fmla="*/ 8 w 112"/>
                    <a:gd name="T21" fmla="*/ 87 h 128"/>
                    <a:gd name="T22" fmla="*/ 56 w 112"/>
                    <a:gd name="T23" fmla="*/ 100 h 128"/>
                    <a:gd name="T24" fmla="*/ 104 w 112"/>
                    <a:gd name="T25" fmla="*/ 87 h 128"/>
                    <a:gd name="T26" fmla="*/ 104 w 112"/>
                    <a:gd name="T27" fmla="*/ 102 h 128"/>
                    <a:gd name="T28" fmla="*/ 104 w 112"/>
                    <a:gd name="T29" fmla="*/ 78 h 128"/>
                    <a:gd name="T30" fmla="*/ 104 w 112"/>
                    <a:gd name="T31" fmla="*/ 78 h 128"/>
                    <a:gd name="T32" fmla="*/ 104 w 112"/>
                    <a:gd name="T33" fmla="*/ 78 h 128"/>
                    <a:gd name="T34" fmla="*/ 56 w 112"/>
                    <a:gd name="T35" fmla="*/ 96 h 128"/>
                    <a:gd name="T36" fmla="*/ 8 w 112"/>
                    <a:gd name="T37" fmla="*/ 78 h 128"/>
                    <a:gd name="T38" fmla="*/ 8 w 112"/>
                    <a:gd name="T39" fmla="*/ 78 h 128"/>
                    <a:gd name="T40" fmla="*/ 8 w 112"/>
                    <a:gd name="T41" fmla="*/ 78 h 128"/>
                    <a:gd name="T42" fmla="*/ 8 w 112"/>
                    <a:gd name="T43" fmla="*/ 63 h 128"/>
                    <a:gd name="T44" fmla="*/ 56 w 112"/>
                    <a:gd name="T45" fmla="*/ 76 h 128"/>
                    <a:gd name="T46" fmla="*/ 104 w 112"/>
                    <a:gd name="T47" fmla="*/ 63 h 128"/>
                    <a:gd name="T48" fmla="*/ 104 w 112"/>
                    <a:gd name="T49" fmla="*/ 78 h 128"/>
                    <a:gd name="T50" fmla="*/ 104 w 112"/>
                    <a:gd name="T51" fmla="*/ 54 h 128"/>
                    <a:gd name="T52" fmla="*/ 104 w 112"/>
                    <a:gd name="T53" fmla="*/ 54 h 128"/>
                    <a:gd name="T54" fmla="*/ 104 w 112"/>
                    <a:gd name="T55" fmla="*/ 54 h 128"/>
                    <a:gd name="T56" fmla="*/ 56 w 112"/>
                    <a:gd name="T57" fmla="*/ 72 h 128"/>
                    <a:gd name="T58" fmla="*/ 8 w 112"/>
                    <a:gd name="T59" fmla="*/ 54 h 128"/>
                    <a:gd name="T60" fmla="*/ 8 w 112"/>
                    <a:gd name="T61" fmla="*/ 54 h 128"/>
                    <a:gd name="T62" fmla="*/ 8 w 112"/>
                    <a:gd name="T63" fmla="*/ 54 h 128"/>
                    <a:gd name="T64" fmla="*/ 8 w 112"/>
                    <a:gd name="T65" fmla="*/ 40 h 128"/>
                    <a:gd name="T66" fmla="*/ 56 w 112"/>
                    <a:gd name="T67" fmla="*/ 52 h 128"/>
                    <a:gd name="T68" fmla="*/ 104 w 112"/>
                    <a:gd name="T69" fmla="*/ 40 h 128"/>
                    <a:gd name="T70" fmla="*/ 104 w 112"/>
                    <a:gd name="T71" fmla="*/ 54 h 128"/>
                    <a:gd name="T72" fmla="*/ 56 w 112"/>
                    <a:gd name="T73" fmla="*/ 44 h 128"/>
                    <a:gd name="T74" fmla="*/ 8 w 112"/>
                    <a:gd name="T75" fmla="*/ 26 h 128"/>
                    <a:gd name="T76" fmla="*/ 56 w 112"/>
                    <a:gd name="T77" fmla="*/ 8 h 128"/>
                    <a:gd name="T78" fmla="*/ 104 w 112"/>
                    <a:gd name="T79" fmla="*/ 26 h 128"/>
                    <a:gd name="T80" fmla="*/ 56 w 112"/>
                    <a:gd name="T81" fmla="*/ 44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8">
                      <a:moveTo>
                        <a:pt x="56" y="0"/>
                      </a:moveTo>
                      <a:cubicBezTo>
                        <a:pt x="29" y="0"/>
                        <a:pt x="0" y="8"/>
                        <a:pt x="0" y="26"/>
                      </a:cubicBezTo>
                      <a:cubicBezTo>
                        <a:pt x="0" y="102"/>
                        <a:pt x="0" y="102"/>
                        <a:pt x="0" y="102"/>
                      </a:cubicBezTo>
                      <a:cubicBezTo>
                        <a:pt x="0" y="120"/>
                        <a:pt x="29" y="128"/>
                        <a:pt x="56" y="128"/>
                      </a:cubicBezTo>
                      <a:cubicBezTo>
                        <a:pt x="83" y="128"/>
                        <a:pt x="112" y="120"/>
                        <a:pt x="112" y="102"/>
                      </a:cubicBezTo>
                      <a:cubicBezTo>
                        <a:pt x="112" y="26"/>
                        <a:pt x="112" y="26"/>
                        <a:pt x="112" y="26"/>
                      </a:cubicBezTo>
                      <a:cubicBezTo>
                        <a:pt x="112" y="8"/>
                        <a:pt x="83" y="0"/>
                        <a:pt x="56" y="0"/>
                      </a:cubicBezTo>
                      <a:close/>
                      <a:moveTo>
                        <a:pt x="104" y="102"/>
                      </a:moveTo>
                      <a:cubicBezTo>
                        <a:pt x="104" y="112"/>
                        <a:pt x="83" y="120"/>
                        <a:pt x="56" y="120"/>
                      </a:cubicBezTo>
                      <a:cubicBezTo>
                        <a:pt x="29" y="120"/>
                        <a:pt x="8" y="112"/>
                        <a:pt x="8" y="102"/>
                      </a:cubicBezTo>
                      <a:cubicBezTo>
                        <a:pt x="8" y="87"/>
                        <a:pt x="8" y="87"/>
                        <a:pt x="8" y="87"/>
                      </a:cubicBezTo>
                      <a:cubicBezTo>
                        <a:pt x="16" y="96"/>
                        <a:pt x="36" y="100"/>
                        <a:pt x="56" y="100"/>
                      </a:cubicBezTo>
                      <a:cubicBezTo>
                        <a:pt x="76" y="100"/>
                        <a:pt x="96" y="96"/>
                        <a:pt x="104" y="87"/>
                      </a:cubicBezTo>
                      <a:lnTo>
                        <a:pt x="104" y="102"/>
                      </a:lnTo>
                      <a:close/>
                      <a:moveTo>
                        <a:pt x="104" y="78"/>
                      </a:moveTo>
                      <a:cubicBezTo>
                        <a:pt x="104" y="78"/>
                        <a:pt x="104" y="78"/>
                        <a:pt x="104" y="78"/>
                      </a:cubicBezTo>
                      <a:cubicBezTo>
                        <a:pt x="104" y="78"/>
                        <a:pt x="104" y="78"/>
                        <a:pt x="104" y="78"/>
                      </a:cubicBezTo>
                      <a:cubicBezTo>
                        <a:pt x="104" y="88"/>
                        <a:pt x="83" y="96"/>
                        <a:pt x="56" y="96"/>
                      </a:cubicBezTo>
                      <a:cubicBezTo>
                        <a:pt x="29" y="96"/>
                        <a:pt x="8" y="88"/>
                        <a:pt x="8" y="78"/>
                      </a:cubicBezTo>
                      <a:cubicBezTo>
                        <a:pt x="8" y="78"/>
                        <a:pt x="8" y="78"/>
                        <a:pt x="8" y="78"/>
                      </a:cubicBezTo>
                      <a:cubicBezTo>
                        <a:pt x="8" y="78"/>
                        <a:pt x="8" y="78"/>
                        <a:pt x="8" y="78"/>
                      </a:cubicBezTo>
                      <a:cubicBezTo>
                        <a:pt x="8" y="63"/>
                        <a:pt x="8" y="63"/>
                        <a:pt x="8" y="63"/>
                      </a:cubicBezTo>
                      <a:cubicBezTo>
                        <a:pt x="16" y="72"/>
                        <a:pt x="36" y="76"/>
                        <a:pt x="56" y="76"/>
                      </a:cubicBezTo>
                      <a:cubicBezTo>
                        <a:pt x="76" y="76"/>
                        <a:pt x="96" y="72"/>
                        <a:pt x="104" y="63"/>
                      </a:cubicBezTo>
                      <a:lnTo>
                        <a:pt x="104" y="78"/>
                      </a:lnTo>
                      <a:close/>
                      <a:moveTo>
                        <a:pt x="104" y="54"/>
                      </a:moveTo>
                      <a:cubicBezTo>
                        <a:pt x="104" y="54"/>
                        <a:pt x="104" y="54"/>
                        <a:pt x="104" y="54"/>
                      </a:cubicBezTo>
                      <a:cubicBezTo>
                        <a:pt x="104" y="54"/>
                        <a:pt x="104" y="54"/>
                        <a:pt x="104" y="54"/>
                      </a:cubicBezTo>
                      <a:cubicBezTo>
                        <a:pt x="104" y="64"/>
                        <a:pt x="83" y="72"/>
                        <a:pt x="56" y="72"/>
                      </a:cubicBezTo>
                      <a:cubicBezTo>
                        <a:pt x="29" y="72"/>
                        <a:pt x="8" y="64"/>
                        <a:pt x="8" y="54"/>
                      </a:cubicBezTo>
                      <a:cubicBezTo>
                        <a:pt x="8" y="54"/>
                        <a:pt x="8" y="54"/>
                        <a:pt x="8" y="54"/>
                      </a:cubicBezTo>
                      <a:cubicBezTo>
                        <a:pt x="8" y="54"/>
                        <a:pt x="8" y="54"/>
                        <a:pt x="8" y="54"/>
                      </a:cubicBezTo>
                      <a:cubicBezTo>
                        <a:pt x="8" y="40"/>
                        <a:pt x="8" y="40"/>
                        <a:pt x="8" y="40"/>
                      </a:cubicBezTo>
                      <a:cubicBezTo>
                        <a:pt x="18" y="48"/>
                        <a:pt x="38" y="52"/>
                        <a:pt x="56" y="52"/>
                      </a:cubicBezTo>
                      <a:cubicBezTo>
                        <a:pt x="74" y="52"/>
                        <a:pt x="94" y="48"/>
                        <a:pt x="104" y="40"/>
                      </a:cubicBezTo>
                      <a:lnTo>
                        <a:pt x="104" y="54"/>
                      </a:lnTo>
                      <a:close/>
                      <a:moveTo>
                        <a:pt x="56" y="44"/>
                      </a:moveTo>
                      <a:cubicBezTo>
                        <a:pt x="29" y="44"/>
                        <a:pt x="8" y="36"/>
                        <a:pt x="8" y="26"/>
                      </a:cubicBezTo>
                      <a:cubicBezTo>
                        <a:pt x="8" y="16"/>
                        <a:pt x="29" y="8"/>
                        <a:pt x="56" y="8"/>
                      </a:cubicBezTo>
                      <a:cubicBezTo>
                        <a:pt x="83" y="8"/>
                        <a:pt x="104" y="16"/>
                        <a:pt x="104" y="26"/>
                      </a:cubicBezTo>
                      <a:cubicBezTo>
                        <a:pt x="104" y="36"/>
                        <a:pt x="83" y="44"/>
                        <a:pt x="56" y="44"/>
                      </a:cubicBezTo>
                      <a:close/>
                    </a:path>
                  </a:pathLst>
                </a:custGeom>
                <a:grpFill/>
                <a:ln>
                  <a:noFill/>
                </a:ln>
              </p:spPr>
              <p:txBody>
                <a:bodyPr lIns="51435" tIns="25718" rIns="51435" bIns="25718"/>
                <a:lstStyle/>
                <a:p>
                  <a:pPr defTabSz="514350">
                    <a:defRPr/>
                  </a:pPr>
                  <a:endParaRPr lang="id-ID" sz="760"/>
                </a:p>
              </p:txBody>
            </p:sp>
            <p:sp>
              <p:nvSpPr>
                <p:cNvPr id="80" name="Oval 62"/>
                <p:cNvSpPr>
                  <a:spLocks noChangeArrowheads="1"/>
                </p:cNvSpPr>
                <p:nvPr/>
              </p:nvSpPr>
              <p:spPr bwMode="auto">
                <a:xfrm>
                  <a:off x="2373313" y="3411538"/>
                  <a:ext cx="30162" cy="30163"/>
                </a:xfrm>
                <a:prstGeom prst="ellipse">
                  <a:avLst/>
                </a:prstGeom>
                <a:grpFill/>
                <a:ln>
                  <a:noFill/>
                </a:ln>
              </p:spPr>
              <p:txBody>
                <a:bodyPr lIns="51435" tIns="25718" rIns="51435" bIns="25718"/>
                <a:lstStyle/>
                <a:p>
                  <a:pPr defTabSz="514350">
                    <a:defRPr/>
                  </a:pPr>
                  <a:endParaRPr lang="id-ID" sz="760"/>
                </a:p>
              </p:txBody>
            </p:sp>
            <p:sp>
              <p:nvSpPr>
                <p:cNvPr id="81" name="Oval 63"/>
                <p:cNvSpPr>
                  <a:spLocks noChangeArrowheads="1"/>
                </p:cNvSpPr>
                <p:nvPr/>
              </p:nvSpPr>
              <p:spPr bwMode="auto">
                <a:xfrm>
                  <a:off x="2373313" y="3321051"/>
                  <a:ext cx="30162" cy="30163"/>
                </a:xfrm>
                <a:prstGeom prst="ellipse">
                  <a:avLst/>
                </a:prstGeom>
                <a:grpFill/>
                <a:ln>
                  <a:noFill/>
                </a:ln>
              </p:spPr>
              <p:txBody>
                <a:bodyPr lIns="51435" tIns="25718" rIns="51435" bIns="25718"/>
                <a:lstStyle/>
                <a:p>
                  <a:pPr defTabSz="514350">
                    <a:defRPr/>
                  </a:pPr>
                  <a:endParaRPr lang="id-ID" sz="760"/>
                </a:p>
              </p:txBody>
            </p:sp>
            <p:sp>
              <p:nvSpPr>
                <p:cNvPr id="82" name="Oval 64"/>
                <p:cNvSpPr>
                  <a:spLocks noChangeArrowheads="1"/>
                </p:cNvSpPr>
                <p:nvPr/>
              </p:nvSpPr>
              <p:spPr bwMode="auto">
                <a:xfrm>
                  <a:off x="2373313" y="3230563"/>
                  <a:ext cx="30162" cy="30163"/>
                </a:xfrm>
                <a:prstGeom prst="ellipse">
                  <a:avLst/>
                </a:prstGeom>
                <a:grpFill/>
                <a:ln>
                  <a:noFill/>
                </a:ln>
              </p:spPr>
              <p:txBody>
                <a:bodyPr lIns="51435" tIns="25718" rIns="51435" bIns="25718"/>
                <a:lstStyle/>
                <a:p>
                  <a:pPr defTabSz="514350">
                    <a:defRPr/>
                  </a:pPr>
                  <a:endParaRPr lang="id-ID" sz="760"/>
                </a:p>
              </p:txBody>
            </p:sp>
          </p:grpSp>
          <p:grpSp>
            <p:nvGrpSpPr>
              <p:cNvPr id="9" name="Group 28"/>
              <p:cNvGrpSpPr/>
              <p:nvPr/>
            </p:nvGrpSpPr>
            <p:grpSpPr>
              <a:xfrm>
                <a:off x="10224381" y="3967559"/>
                <a:ext cx="488950" cy="482600"/>
                <a:chOff x="1044576" y="3035301"/>
                <a:chExt cx="488950" cy="482600"/>
              </a:xfrm>
              <a:solidFill>
                <a:schemeClr val="bg1"/>
              </a:solidFill>
            </p:grpSpPr>
            <p:sp>
              <p:nvSpPr>
                <p:cNvPr id="75" name="Freeform 65"/>
                <p:cNvSpPr>
                  <a:spLocks noEditPoints="1"/>
                </p:cNvSpPr>
                <p:nvPr/>
              </p:nvSpPr>
              <p:spPr bwMode="auto">
                <a:xfrm>
                  <a:off x="1044576" y="3035301"/>
                  <a:ext cx="488950" cy="482600"/>
                </a:xfrm>
                <a:custGeom>
                  <a:gdLst>
                    <a:gd name="T0" fmla="*/ 127 w 130"/>
                    <a:gd name="T1" fmla="*/ 42 h 128"/>
                    <a:gd name="T2" fmla="*/ 87 w 130"/>
                    <a:gd name="T3" fmla="*/ 2 h 128"/>
                    <a:gd name="T4" fmla="*/ 79 w 130"/>
                    <a:gd name="T5" fmla="*/ 0 h 128"/>
                    <a:gd name="T6" fmla="*/ 75 w 130"/>
                    <a:gd name="T7" fmla="*/ 2 h 128"/>
                    <a:gd name="T8" fmla="*/ 73 w 130"/>
                    <a:gd name="T9" fmla="*/ 6 h 128"/>
                    <a:gd name="T10" fmla="*/ 64 w 130"/>
                    <a:gd name="T11" fmla="*/ 21 h 128"/>
                    <a:gd name="T12" fmla="*/ 41 w 130"/>
                    <a:gd name="T13" fmla="*/ 37 h 128"/>
                    <a:gd name="T14" fmla="*/ 15 w 130"/>
                    <a:gd name="T15" fmla="*/ 55 h 128"/>
                    <a:gd name="T16" fmla="*/ 1 w 130"/>
                    <a:gd name="T17" fmla="*/ 78 h 128"/>
                    <a:gd name="T18" fmla="*/ 3 w 130"/>
                    <a:gd name="T19" fmla="*/ 86 h 128"/>
                    <a:gd name="T20" fmla="*/ 43 w 130"/>
                    <a:gd name="T21" fmla="*/ 126 h 128"/>
                    <a:gd name="T22" fmla="*/ 51 w 130"/>
                    <a:gd name="T23" fmla="*/ 128 h 128"/>
                    <a:gd name="T24" fmla="*/ 55 w 130"/>
                    <a:gd name="T25" fmla="*/ 126 h 128"/>
                    <a:gd name="T26" fmla="*/ 57 w 130"/>
                    <a:gd name="T27" fmla="*/ 122 h 128"/>
                    <a:gd name="T28" fmla="*/ 66 w 130"/>
                    <a:gd name="T29" fmla="*/ 107 h 128"/>
                    <a:gd name="T30" fmla="*/ 89 w 130"/>
                    <a:gd name="T31" fmla="*/ 91 h 128"/>
                    <a:gd name="T32" fmla="*/ 115 w 130"/>
                    <a:gd name="T33" fmla="*/ 73 h 128"/>
                    <a:gd name="T34" fmla="*/ 129 w 130"/>
                    <a:gd name="T35" fmla="*/ 50 h 128"/>
                    <a:gd name="T36" fmla="*/ 127 w 130"/>
                    <a:gd name="T37" fmla="*/ 42 h 128"/>
                    <a:gd name="T38" fmla="*/ 49 w 130"/>
                    <a:gd name="T39" fmla="*/ 120 h 128"/>
                    <a:gd name="T40" fmla="*/ 9 w 130"/>
                    <a:gd name="T41" fmla="*/ 80 h 128"/>
                    <a:gd name="T42" fmla="*/ 81 w 130"/>
                    <a:gd name="T43" fmla="*/ 8 h 128"/>
                    <a:gd name="T44" fmla="*/ 121 w 130"/>
                    <a:gd name="T45" fmla="*/ 48 h 128"/>
                    <a:gd name="T46" fmla="*/ 49 w 130"/>
                    <a:gd name="T47" fmla="*/ 120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8">
                      <a:moveTo>
                        <a:pt x="127" y="42"/>
                      </a:moveTo>
                      <a:cubicBezTo>
                        <a:pt x="87" y="2"/>
                        <a:pt x="87" y="2"/>
                        <a:pt x="87" y="2"/>
                      </a:cubicBezTo>
                      <a:cubicBezTo>
                        <a:pt x="85" y="0"/>
                        <a:pt x="82" y="0"/>
                        <a:pt x="79" y="0"/>
                      </a:cubicBezTo>
                      <a:cubicBezTo>
                        <a:pt x="78" y="1"/>
                        <a:pt x="76" y="1"/>
                        <a:pt x="75" y="2"/>
                      </a:cubicBezTo>
                      <a:cubicBezTo>
                        <a:pt x="74" y="3"/>
                        <a:pt x="74" y="4"/>
                        <a:pt x="73" y="6"/>
                      </a:cubicBezTo>
                      <a:cubicBezTo>
                        <a:pt x="72" y="12"/>
                        <a:pt x="68" y="17"/>
                        <a:pt x="64" y="21"/>
                      </a:cubicBezTo>
                      <a:cubicBezTo>
                        <a:pt x="58" y="27"/>
                        <a:pt x="50" y="32"/>
                        <a:pt x="41" y="37"/>
                      </a:cubicBezTo>
                      <a:cubicBezTo>
                        <a:pt x="32" y="42"/>
                        <a:pt x="23" y="48"/>
                        <a:pt x="15" y="55"/>
                      </a:cubicBezTo>
                      <a:cubicBezTo>
                        <a:pt x="8" y="62"/>
                        <a:pt x="4" y="69"/>
                        <a:pt x="1" y="78"/>
                      </a:cubicBezTo>
                      <a:cubicBezTo>
                        <a:pt x="0" y="80"/>
                        <a:pt x="1" y="84"/>
                        <a:pt x="3" y="86"/>
                      </a:cubicBezTo>
                      <a:cubicBezTo>
                        <a:pt x="43" y="126"/>
                        <a:pt x="43" y="126"/>
                        <a:pt x="43" y="126"/>
                      </a:cubicBezTo>
                      <a:cubicBezTo>
                        <a:pt x="45" y="128"/>
                        <a:pt x="48" y="128"/>
                        <a:pt x="51" y="128"/>
                      </a:cubicBezTo>
                      <a:cubicBezTo>
                        <a:pt x="52" y="127"/>
                        <a:pt x="54" y="127"/>
                        <a:pt x="55" y="126"/>
                      </a:cubicBezTo>
                      <a:cubicBezTo>
                        <a:pt x="56" y="125"/>
                        <a:pt x="56" y="124"/>
                        <a:pt x="57" y="122"/>
                      </a:cubicBezTo>
                      <a:cubicBezTo>
                        <a:pt x="58" y="116"/>
                        <a:pt x="62" y="111"/>
                        <a:pt x="66" y="107"/>
                      </a:cubicBezTo>
                      <a:cubicBezTo>
                        <a:pt x="72" y="101"/>
                        <a:pt x="80" y="96"/>
                        <a:pt x="89" y="91"/>
                      </a:cubicBezTo>
                      <a:cubicBezTo>
                        <a:pt x="98" y="86"/>
                        <a:pt x="107" y="80"/>
                        <a:pt x="115" y="73"/>
                      </a:cubicBezTo>
                      <a:cubicBezTo>
                        <a:pt x="122" y="66"/>
                        <a:pt x="126" y="59"/>
                        <a:pt x="129" y="50"/>
                      </a:cubicBezTo>
                      <a:cubicBezTo>
                        <a:pt x="130" y="48"/>
                        <a:pt x="129" y="44"/>
                        <a:pt x="127" y="42"/>
                      </a:cubicBezTo>
                      <a:close/>
                      <a:moveTo>
                        <a:pt x="49" y="120"/>
                      </a:moveTo>
                      <a:cubicBezTo>
                        <a:pt x="36" y="107"/>
                        <a:pt x="22" y="93"/>
                        <a:pt x="9" y="80"/>
                      </a:cubicBezTo>
                      <a:cubicBezTo>
                        <a:pt x="20" y="43"/>
                        <a:pt x="70" y="45"/>
                        <a:pt x="81" y="8"/>
                      </a:cubicBezTo>
                      <a:cubicBezTo>
                        <a:pt x="94" y="21"/>
                        <a:pt x="108" y="35"/>
                        <a:pt x="121" y="48"/>
                      </a:cubicBezTo>
                      <a:cubicBezTo>
                        <a:pt x="110" y="85"/>
                        <a:pt x="60" y="83"/>
                        <a:pt x="49" y="120"/>
                      </a:cubicBezTo>
                      <a:close/>
                    </a:path>
                  </a:pathLst>
                </a:custGeom>
                <a:grpFill/>
                <a:ln>
                  <a:noFill/>
                </a:ln>
              </p:spPr>
              <p:txBody>
                <a:bodyPr lIns="51435" tIns="25718" rIns="51435" bIns="25718"/>
                <a:lstStyle/>
                <a:p>
                  <a:pPr defTabSz="514350">
                    <a:defRPr/>
                  </a:pPr>
                  <a:endParaRPr lang="id-ID" sz="760"/>
                </a:p>
              </p:txBody>
            </p:sp>
            <p:sp>
              <p:nvSpPr>
                <p:cNvPr id="76" name="Freeform 66"/>
                <p:cNvSpPr>
                  <a:spLocks noEditPoints="1"/>
                </p:cNvSpPr>
                <p:nvPr/>
              </p:nvSpPr>
              <p:spPr bwMode="auto">
                <a:xfrm>
                  <a:off x="1222375" y="3205163"/>
                  <a:ext cx="131762" cy="134938"/>
                </a:xfrm>
                <a:custGeom>
                  <a:gdLst>
                    <a:gd name="T0" fmla="*/ 28 w 35"/>
                    <a:gd name="T1" fmla="*/ 12 h 36"/>
                    <a:gd name="T2" fmla="*/ 20 w 35"/>
                    <a:gd name="T3" fmla="*/ 13 h 36"/>
                    <a:gd name="T4" fmla="*/ 10 w 35"/>
                    <a:gd name="T5" fmla="*/ 7 h 36"/>
                    <a:gd name="T6" fmla="*/ 15 w 35"/>
                    <a:gd name="T7" fmla="*/ 6 h 36"/>
                    <a:gd name="T8" fmla="*/ 19 w 35"/>
                    <a:gd name="T9" fmla="*/ 6 h 36"/>
                    <a:gd name="T10" fmla="*/ 20 w 35"/>
                    <a:gd name="T11" fmla="*/ 2 h 36"/>
                    <a:gd name="T12" fmla="*/ 13 w 35"/>
                    <a:gd name="T13" fmla="*/ 1 h 36"/>
                    <a:gd name="T14" fmla="*/ 6 w 35"/>
                    <a:gd name="T15" fmla="*/ 4 h 36"/>
                    <a:gd name="T16" fmla="*/ 5 w 35"/>
                    <a:gd name="T17" fmla="*/ 3 h 36"/>
                    <a:gd name="T18" fmla="*/ 3 w 35"/>
                    <a:gd name="T19" fmla="*/ 5 h 36"/>
                    <a:gd name="T20" fmla="*/ 4 w 35"/>
                    <a:gd name="T21" fmla="*/ 6 h 36"/>
                    <a:gd name="T22" fmla="*/ 1 w 35"/>
                    <a:gd name="T23" fmla="*/ 15 h 36"/>
                    <a:gd name="T24" fmla="*/ 3 w 35"/>
                    <a:gd name="T25" fmla="*/ 22 h 36"/>
                    <a:gd name="T26" fmla="*/ 18 w 35"/>
                    <a:gd name="T27" fmla="*/ 21 h 36"/>
                    <a:gd name="T28" fmla="*/ 23 w 35"/>
                    <a:gd name="T29" fmla="*/ 31 h 36"/>
                    <a:gd name="T30" fmla="*/ 19 w 35"/>
                    <a:gd name="T31" fmla="*/ 30 h 36"/>
                    <a:gd name="T32" fmla="*/ 16 w 35"/>
                    <a:gd name="T33" fmla="*/ 28 h 36"/>
                    <a:gd name="T34" fmla="*/ 13 w 35"/>
                    <a:gd name="T35" fmla="*/ 31 h 36"/>
                    <a:gd name="T36" fmla="*/ 17 w 35"/>
                    <a:gd name="T37" fmla="*/ 35 h 36"/>
                    <a:gd name="T38" fmla="*/ 25 w 35"/>
                    <a:gd name="T39" fmla="*/ 36 h 36"/>
                    <a:gd name="T40" fmla="*/ 31 w 35"/>
                    <a:gd name="T41" fmla="*/ 35 h 36"/>
                    <a:gd name="T42" fmla="*/ 33 w 35"/>
                    <a:gd name="T43" fmla="*/ 34 h 36"/>
                    <a:gd name="T44" fmla="*/ 33 w 35"/>
                    <a:gd name="T45" fmla="*/ 32 h 36"/>
                    <a:gd name="T46" fmla="*/ 34 w 35"/>
                    <a:gd name="T47" fmla="*/ 26 h 36"/>
                    <a:gd name="T48" fmla="*/ 35 w 35"/>
                    <a:gd name="T49" fmla="*/ 18 h 36"/>
                    <a:gd name="T50" fmla="*/ 10 w 35"/>
                    <a:gd name="T51" fmla="*/ 17 h 36"/>
                    <a:gd name="T52" fmla="*/ 6 w 35"/>
                    <a:gd name="T53" fmla="*/ 15 h 36"/>
                    <a:gd name="T54" fmla="*/ 7 w 35"/>
                    <a:gd name="T55" fmla="*/ 11 h 36"/>
                    <a:gd name="T56" fmla="*/ 14 w 35"/>
                    <a:gd name="T57" fmla="*/ 16 h 36"/>
                    <a:gd name="T58" fmla="*/ 29 w 35"/>
                    <a:gd name="T59" fmla="*/ 25 h 36"/>
                    <a:gd name="T60" fmla="*/ 21 w 35"/>
                    <a:gd name="T61" fmla="*/ 20 h 36"/>
                    <a:gd name="T62" fmla="*/ 25 w 35"/>
                    <a:gd name="T63" fmla="*/ 18 h 36"/>
                    <a:gd name="T64" fmla="*/ 28 w 35"/>
                    <a:gd name="T65" fmla="*/ 20 h 36"/>
                    <a:gd name="T66" fmla="*/ 29 w 35"/>
                    <a:gd name="T67" fmla="*/ 23 h 3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36">
                      <a:moveTo>
                        <a:pt x="32" y="15"/>
                      </a:moveTo>
                      <a:cubicBezTo>
                        <a:pt x="31" y="14"/>
                        <a:pt x="30" y="13"/>
                        <a:pt x="28" y="12"/>
                      </a:cubicBezTo>
                      <a:cubicBezTo>
                        <a:pt x="27" y="12"/>
                        <a:pt x="26" y="12"/>
                        <a:pt x="24" y="12"/>
                      </a:cubicBezTo>
                      <a:cubicBezTo>
                        <a:pt x="23" y="12"/>
                        <a:pt x="22" y="12"/>
                        <a:pt x="20" y="13"/>
                      </a:cubicBezTo>
                      <a:cubicBezTo>
                        <a:pt x="19" y="13"/>
                        <a:pt x="18" y="14"/>
                        <a:pt x="16" y="15"/>
                      </a:cubicBezTo>
                      <a:cubicBezTo>
                        <a:pt x="14" y="12"/>
                        <a:pt x="12" y="10"/>
                        <a:pt x="10" y="7"/>
                      </a:cubicBezTo>
                      <a:cubicBezTo>
                        <a:pt x="11" y="7"/>
                        <a:pt x="12" y="6"/>
                        <a:pt x="13" y="6"/>
                      </a:cubicBezTo>
                      <a:cubicBezTo>
                        <a:pt x="14" y="6"/>
                        <a:pt x="14" y="6"/>
                        <a:pt x="15" y="6"/>
                      </a:cubicBezTo>
                      <a:cubicBezTo>
                        <a:pt x="16" y="7"/>
                        <a:pt x="17" y="7"/>
                        <a:pt x="18" y="7"/>
                      </a:cubicBezTo>
                      <a:cubicBezTo>
                        <a:pt x="18" y="7"/>
                        <a:pt x="19" y="7"/>
                        <a:pt x="19" y="6"/>
                      </a:cubicBezTo>
                      <a:cubicBezTo>
                        <a:pt x="20" y="6"/>
                        <a:pt x="20" y="5"/>
                        <a:pt x="20" y="5"/>
                      </a:cubicBezTo>
                      <a:cubicBezTo>
                        <a:pt x="20" y="4"/>
                        <a:pt x="20" y="3"/>
                        <a:pt x="20" y="2"/>
                      </a:cubicBezTo>
                      <a:cubicBezTo>
                        <a:pt x="19" y="1"/>
                        <a:pt x="18" y="1"/>
                        <a:pt x="16" y="0"/>
                      </a:cubicBezTo>
                      <a:cubicBezTo>
                        <a:pt x="15" y="0"/>
                        <a:pt x="14" y="0"/>
                        <a:pt x="13" y="1"/>
                      </a:cubicBezTo>
                      <a:cubicBezTo>
                        <a:pt x="11" y="1"/>
                        <a:pt x="10" y="1"/>
                        <a:pt x="9" y="2"/>
                      </a:cubicBezTo>
                      <a:cubicBezTo>
                        <a:pt x="8" y="3"/>
                        <a:pt x="7" y="3"/>
                        <a:pt x="6" y="4"/>
                      </a:cubicBezTo>
                      <a:cubicBezTo>
                        <a:pt x="6" y="4"/>
                        <a:pt x="6" y="3"/>
                        <a:pt x="6" y="3"/>
                      </a:cubicBezTo>
                      <a:cubicBezTo>
                        <a:pt x="5" y="3"/>
                        <a:pt x="5" y="3"/>
                        <a:pt x="5" y="3"/>
                      </a:cubicBezTo>
                      <a:cubicBezTo>
                        <a:pt x="4" y="3"/>
                        <a:pt x="4" y="3"/>
                        <a:pt x="3" y="3"/>
                      </a:cubicBezTo>
                      <a:cubicBezTo>
                        <a:pt x="3" y="4"/>
                        <a:pt x="3" y="4"/>
                        <a:pt x="3" y="5"/>
                      </a:cubicBezTo>
                      <a:cubicBezTo>
                        <a:pt x="3" y="5"/>
                        <a:pt x="3" y="5"/>
                        <a:pt x="4" y="6"/>
                      </a:cubicBezTo>
                      <a:cubicBezTo>
                        <a:pt x="4" y="6"/>
                        <a:pt x="4" y="6"/>
                        <a:pt x="4" y="6"/>
                      </a:cubicBezTo>
                      <a:cubicBezTo>
                        <a:pt x="3" y="7"/>
                        <a:pt x="2" y="9"/>
                        <a:pt x="2" y="10"/>
                      </a:cubicBezTo>
                      <a:cubicBezTo>
                        <a:pt x="1" y="12"/>
                        <a:pt x="1" y="13"/>
                        <a:pt x="1" y="15"/>
                      </a:cubicBezTo>
                      <a:cubicBezTo>
                        <a:pt x="0" y="16"/>
                        <a:pt x="1" y="17"/>
                        <a:pt x="1" y="18"/>
                      </a:cubicBezTo>
                      <a:cubicBezTo>
                        <a:pt x="1" y="20"/>
                        <a:pt x="2" y="21"/>
                        <a:pt x="3" y="22"/>
                      </a:cubicBezTo>
                      <a:cubicBezTo>
                        <a:pt x="5" y="23"/>
                        <a:pt x="8" y="24"/>
                        <a:pt x="10" y="24"/>
                      </a:cubicBezTo>
                      <a:cubicBezTo>
                        <a:pt x="13" y="23"/>
                        <a:pt x="15" y="23"/>
                        <a:pt x="18" y="21"/>
                      </a:cubicBezTo>
                      <a:cubicBezTo>
                        <a:pt x="21" y="24"/>
                        <a:pt x="23" y="27"/>
                        <a:pt x="25" y="29"/>
                      </a:cubicBezTo>
                      <a:cubicBezTo>
                        <a:pt x="24" y="30"/>
                        <a:pt x="24" y="30"/>
                        <a:pt x="23" y="31"/>
                      </a:cubicBezTo>
                      <a:cubicBezTo>
                        <a:pt x="22" y="31"/>
                        <a:pt x="21" y="31"/>
                        <a:pt x="21" y="31"/>
                      </a:cubicBezTo>
                      <a:cubicBezTo>
                        <a:pt x="20" y="30"/>
                        <a:pt x="20" y="30"/>
                        <a:pt x="19" y="30"/>
                      </a:cubicBezTo>
                      <a:cubicBezTo>
                        <a:pt x="18" y="29"/>
                        <a:pt x="18" y="29"/>
                        <a:pt x="17" y="29"/>
                      </a:cubicBezTo>
                      <a:cubicBezTo>
                        <a:pt x="17" y="28"/>
                        <a:pt x="16" y="28"/>
                        <a:pt x="16" y="28"/>
                      </a:cubicBezTo>
                      <a:cubicBezTo>
                        <a:pt x="15" y="28"/>
                        <a:pt x="15" y="29"/>
                        <a:pt x="14" y="29"/>
                      </a:cubicBezTo>
                      <a:cubicBezTo>
                        <a:pt x="13" y="30"/>
                        <a:pt x="13" y="30"/>
                        <a:pt x="13" y="31"/>
                      </a:cubicBezTo>
                      <a:cubicBezTo>
                        <a:pt x="13" y="32"/>
                        <a:pt x="13" y="33"/>
                        <a:pt x="14" y="33"/>
                      </a:cubicBezTo>
                      <a:cubicBezTo>
                        <a:pt x="15" y="34"/>
                        <a:pt x="16" y="35"/>
                        <a:pt x="17" y="35"/>
                      </a:cubicBezTo>
                      <a:cubicBezTo>
                        <a:pt x="18" y="36"/>
                        <a:pt x="19" y="36"/>
                        <a:pt x="20" y="36"/>
                      </a:cubicBezTo>
                      <a:cubicBezTo>
                        <a:pt x="22" y="36"/>
                        <a:pt x="23" y="36"/>
                        <a:pt x="25" y="36"/>
                      </a:cubicBezTo>
                      <a:cubicBezTo>
                        <a:pt x="26" y="35"/>
                        <a:pt x="27" y="34"/>
                        <a:pt x="29" y="33"/>
                      </a:cubicBezTo>
                      <a:cubicBezTo>
                        <a:pt x="30" y="33"/>
                        <a:pt x="30" y="34"/>
                        <a:pt x="31" y="35"/>
                      </a:cubicBezTo>
                      <a:cubicBezTo>
                        <a:pt x="31" y="35"/>
                        <a:pt x="32" y="35"/>
                        <a:pt x="32" y="35"/>
                      </a:cubicBezTo>
                      <a:cubicBezTo>
                        <a:pt x="33" y="35"/>
                        <a:pt x="33" y="35"/>
                        <a:pt x="33" y="34"/>
                      </a:cubicBezTo>
                      <a:cubicBezTo>
                        <a:pt x="33" y="34"/>
                        <a:pt x="34" y="34"/>
                        <a:pt x="34" y="33"/>
                      </a:cubicBezTo>
                      <a:cubicBezTo>
                        <a:pt x="34" y="33"/>
                        <a:pt x="33" y="32"/>
                        <a:pt x="33" y="32"/>
                      </a:cubicBezTo>
                      <a:cubicBezTo>
                        <a:pt x="32" y="32"/>
                        <a:pt x="32" y="31"/>
                        <a:pt x="31" y="30"/>
                      </a:cubicBezTo>
                      <a:cubicBezTo>
                        <a:pt x="32" y="29"/>
                        <a:pt x="33" y="27"/>
                        <a:pt x="34" y="26"/>
                      </a:cubicBezTo>
                      <a:cubicBezTo>
                        <a:pt x="35" y="24"/>
                        <a:pt x="35" y="23"/>
                        <a:pt x="35" y="21"/>
                      </a:cubicBezTo>
                      <a:cubicBezTo>
                        <a:pt x="35" y="20"/>
                        <a:pt x="35" y="19"/>
                        <a:pt x="35" y="18"/>
                      </a:cubicBezTo>
                      <a:cubicBezTo>
                        <a:pt x="34" y="17"/>
                        <a:pt x="33" y="16"/>
                        <a:pt x="32" y="15"/>
                      </a:cubicBezTo>
                      <a:close/>
                      <a:moveTo>
                        <a:pt x="10" y="17"/>
                      </a:moveTo>
                      <a:cubicBezTo>
                        <a:pt x="9" y="17"/>
                        <a:pt x="8" y="17"/>
                        <a:pt x="7" y="16"/>
                      </a:cubicBezTo>
                      <a:cubicBezTo>
                        <a:pt x="7" y="16"/>
                        <a:pt x="6" y="15"/>
                        <a:pt x="6" y="15"/>
                      </a:cubicBezTo>
                      <a:cubicBezTo>
                        <a:pt x="6" y="14"/>
                        <a:pt x="6" y="14"/>
                        <a:pt x="6" y="13"/>
                      </a:cubicBezTo>
                      <a:cubicBezTo>
                        <a:pt x="6" y="13"/>
                        <a:pt x="6" y="12"/>
                        <a:pt x="7" y="11"/>
                      </a:cubicBezTo>
                      <a:cubicBezTo>
                        <a:pt x="7" y="11"/>
                        <a:pt x="7" y="10"/>
                        <a:pt x="8" y="9"/>
                      </a:cubicBezTo>
                      <a:cubicBezTo>
                        <a:pt x="10" y="11"/>
                        <a:pt x="12" y="14"/>
                        <a:pt x="14" y="16"/>
                      </a:cubicBezTo>
                      <a:cubicBezTo>
                        <a:pt x="12" y="17"/>
                        <a:pt x="11" y="17"/>
                        <a:pt x="10" y="17"/>
                      </a:cubicBezTo>
                      <a:close/>
                      <a:moveTo>
                        <a:pt x="29" y="25"/>
                      </a:moveTo>
                      <a:cubicBezTo>
                        <a:pt x="28" y="26"/>
                        <a:pt x="28" y="27"/>
                        <a:pt x="27" y="27"/>
                      </a:cubicBezTo>
                      <a:cubicBezTo>
                        <a:pt x="25" y="25"/>
                        <a:pt x="23" y="22"/>
                        <a:pt x="21" y="20"/>
                      </a:cubicBezTo>
                      <a:cubicBezTo>
                        <a:pt x="21" y="20"/>
                        <a:pt x="22" y="19"/>
                        <a:pt x="23" y="19"/>
                      </a:cubicBezTo>
                      <a:cubicBezTo>
                        <a:pt x="23" y="19"/>
                        <a:pt x="24" y="19"/>
                        <a:pt x="25" y="18"/>
                      </a:cubicBezTo>
                      <a:cubicBezTo>
                        <a:pt x="25" y="18"/>
                        <a:pt x="26" y="18"/>
                        <a:pt x="27" y="19"/>
                      </a:cubicBezTo>
                      <a:cubicBezTo>
                        <a:pt x="27" y="19"/>
                        <a:pt x="28" y="19"/>
                        <a:pt x="28" y="20"/>
                      </a:cubicBezTo>
                      <a:cubicBezTo>
                        <a:pt x="29" y="20"/>
                        <a:pt x="29" y="21"/>
                        <a:pt x="29" y="21"/>
                      </a:cubicBezTo>
                      <a:cubicBezTo>
                        <a:pt x="30" y="22"/>
                        <a:pt x="30" y="23"/>
                        <a:pt x="29" y="23"/>
                      </a:cubicBezTo>
                      <a:cubicBezTo>
                        <a:pt x="29" y="24"/>
                        <a:pt x="29" y="25"/>
                        <a:pt x="29" y="25"/>
                      </a:cubicBezTo>
                      <a:close/>
                    </a:path>
                  </a:pathLst>
                </a:custGeom>
                <a:grpFill/>
                <a:ln>
                  <a:noFill/>
                </a:ln>
              </p:spPr>
              <p:txBody>
                <a:bodyPr lIns="51435" tIns="25718" rIns="51435" bIns="25718"/>
                <a:lstStyle/>
                <a:p>
                  <a:pPr defTabSz="514350">
                    <a:defRPr/>
                  </a:pPr>
                  <a:endParaRPr lang="id-ID" sz="760"/>
                </a:p>
              </p:txBody>
            </p:sp>
            <p:sp>
              <p:nvSpPr>
                <p:cNvPr id="77" name="Freeform 67"/>
                <p:cNvSpPr/>
                <p:nvPr/>
              </p:nvSpPr>
              <p:spPr bwMode="auto">
                <a:xfrm>
                  <a:off x="1211263" y="3367088"/>
                  <a:ext cx="71437" cy="79375"/>
                </a:xfrm>
                <a:custGeom>
                  <a:gdLst>
                    <a:gd name="T0" fmla="*/ 16 w 19"/>
                    <a:gd name="T1" fmla="*/ 1 h 21"/>
                    <a:gd name="T2" fmla="*/ 16 w 19"/>
                    <a:gd name="T3" fmla="*/ 1 h 21"/>
                    <a:gd name="T4" fmla="*/ 9 w 19"/>
                    <a:gd name="T5" fmla="*/ 7 h 21"/>
                    <a:gd name="T6" fmla="*/ 3 w 19"/>
                    <a:gd name="T7" fmla="*/ 14 h 21"/>
                    <a:gd name="T8" fmla="*/ 0 w 19"/>
                    <a:gd name="T9" fmla="*/ 17 h 21"/>
                    <a:gd name="T10" fmla="*/ 0 w 19"/>
                    <a:gd name="T11" fmla="*/ 17 h 21"/>
                    <a:gd name="T12" fmla="*/ 0 w 19"/>
                    <a:gd name="T13" fmla="*/ 20 h 21"/>
                    <a:gd name="T14" fmla="*/ 3 w 19"/>
                    <a:gd name="T15" fmla="*/ 20 h 21"/>
                    <a:gd name="T16" fmla="*/ 3 w 19"/>
                    <a:gd name="T17" fmla="*/ 20 h 21"/>
                    <a:gd name="T18" fmla="*/ 6 w 19"/>
                    <a:gd name="T19" fmla="*/ 16 h 21"/>
                    <a:gd name="T20" fmla="*/ 11 w 19"/>
                    <a:gd name="T21" fmla="*/ 10 h 21"/>
                    <a:gd name="T22" fmla="*/ 18 w 19"/>
                    <a:gd name="T23" fmla="*/ 4 h 21"/>
                    <a:gd name="T24" fmla="*/ 18 w 19"/>
                    <a:gd name="T25" fmla="*/ 4 h 21"/>
                    <a:gd name="T26" fmla="*/ 19 w 19"/>
                    <a:gd name="T27" fmla="*/ 4 h 21"/>
                    <a:gd name="T28" fmla="*/ 19 w 19"/>
                    <a:gd name="T29" fmla="*/ 1 h 21"/>
                    <a:gd name="T30" fmla="*/ 16 w 19"/>
                    <a:gd name="T31" fmla="*/ 1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21">
                      <a:moveTo>
                        <a:pt x="16" y="1"/>
                      </a:moveTo>
                      <a:cubicBezTo>
                        <a:pt x="16" y="1"/>
                        <a:pt x="16" y="1"/>
                        <a:pt x="16" y="1"/>
                      </a:cubicBezTo>
                      <a:cubicBezTo>
                        <a:pt x="13" y="3"/>
                        <a:pt x="11" y="5"/>
                        <a:pt x="9" y="7"/>
                      </a:cubicBezTo>
                      <a:cubicBezTo>
                        <a:pt x="6" y="9"/>
                        <a:pt x="5" y="11"/>
                        <a:pt x="3" y="14"/>
                      </a:cubicBezTo>
                      <a:cubicBezTo>
                        <a:pt x="0" y="17"/>
                        <a:pt x="0" y="17"/>
                        <a:pt x="0" y="17"/>
                      </a:cubicBezTo>
                      <a:cubicBezTo>
                        <a:pt x="0" y="17"/>
                        <a:pt x="0" y="17"/>
                        <a:pt x="0" y="17"/>
                      </a:cubicBezTo>
                      <a:cubicBezTo>
                        <a:pt x="0" y="18"/>
                        <a:pt x="0" y="19"/>
                        <a:pt x="0" y="20"/>
                      </a:cubicBezTo>
                      <a:cubicBezTo>
                        <a:pt x="1" y="21"/>
                        <a:pt x="2" y="21"/>
                        <a:pt x="3" y="20"/>
                      </a:cubicBezTo>
                      <a:cubicBezTo>
                        <a:pt x="3" y="20"/>
                        <a:pt x="3" y="20"/>
                        <a:pt x="3" y="20"/>
                      </a:cubicBezTo>
                      <a:cubicBezTo>
                        <a:pt x="6" y="16"/>
                        <a:pt x="6" y="16"/>
                        <a:pt x="6" y="16"/>
                      </a:cubicBezTo>
                      <a:cubicBezTo>
                        <a:pt x="8" y="14"/>
                        <a:pt x="9" y="12"/>
                        <a:pt x="11" y="10"/>
                      </a:cubicBezTo>
                      <a:cubicBezTo>
                        <a:pt x="14" y="8"/>
                        <a:pt x="16" y="6"/>
                        <a:pt x="18" y="4"/>
                      </a:cubicBezTo>
                      <a:cubicBezTo>
                        <a:pt x="18" y="4"/>
                        <a:pt x="18" y="4"/>
                        <a:pt x="18" y="4"/>
                      </a:cubicBezTo>
                      <a:cubicBezTo>
                        <a:pt x="18" y="4"/>
                        <a:pt x="18" y="4"/>
                        <a:pt x="19" y="4"/>
                      </a:cubicBezTo>
                      <a:cubicBezTo>
                        <a:pt x="19" y="3"/>
                        <a:pt x="19" y="2"/>
                        <a:pt x="19" y="1"/>
                      </a:cubicBezTo>
                      <a:cubicBezTo>
                        <a:pt x="18" y="0"/>
                        <a:pt x="17" y="0"/>
                        <a:pt x="16" y="1"/>
                      </a:cubicBezTo>
                      <a:close/>
                    </a:path>
                  </a:pathLst>
                </a:custGeom>
                <a:grpFill/>
                <a:ln>
                  <a:noFill/>
                </a:ln>
              </p:spPr>
              <p:txBody>
                <a:bodyPr lIns="51435" tIns="25718" rIns="51435" bIns="25718"/>
                <a:lstStyle/>
                <a:p>
                  <a:pPr defTabSz="514350">
                    <a:defRPr/>
                  </a:pPr>
                  <a:endParaRPr lang="id-ID" sz="760"/>
                </a:p>
              </p:txBody>
            </p:sp>
            <p:sp>
              <p:nvSpPr>
                <p:cNvPr id="78" name="Freeform 68"/>
                <p:cNvSpPr/>
                <p:nvPr/>
              </p:nvSpPr>
              <p:spPr bwMode="auto">
                <a:xfrm>
                  <a:off x="1296988" y="3111501"/>
                  <a:ext cx="74612" cy="77788"/>
                </a:xfrm>
                <a:custGeom>
                  <a:gdLst>
                    <a:gd name="T0" fmla="*/ 8 w 20"/>
                    <a:gd name="T1" fmla="*/ 11 h 21"/>
                    <a:gd name="T2" fmla="*/ 1 w 20"/>
                    <a:gd name="T3" fmla="*/ 17 h 21"/>
                    <a:gd name="T4" fmla="*/ 0 w 20"/>
                    <a:gd name="T5" fmla="*/ 17 h 21"/>
                    <a:gd name="T6" fmla="*/ 0 w 20"/>
                    <a:gd name="T7" fmla="*/ 20 h 21"/>
                    <a:gd name="T8" fmla="*/ 3 w 20"/>
                    <a:gd name="T9" fmla="*/ 20 h 21"/>
                    <a:gd name="T10" fmla="*/ 3 w 20"/>
                    <a:gd name="T11" fmla="*/ 20 h 21"/>
                    <a:gd name="T12" fmla="*/ 10 w 20"/>
                    <a:gd name="T13" fmla="*/ 14 h 21"/>
                    <a:gd name="T14" fmla="*/ 16 w 20"/>
                    <a:gd name="T15" fmla="*/ 7 h 21"/>
                    <a:gd name="T16" fmla="*/ 19 w 20"/>
                    <a:gd name="T17" fmla="*/ 3 h 21"/>
                    <a:gd name="T18" fmla="*/ 19 w 20"/>
                    <a:gd name="T19" fmla="*/ 3 h 21"/>
                    <a:gd name="T20" fmla="*/ 19 w 20"/>
                    <a:gd name="T21" fmla="*/ 0 h 21"/>
                    <a:gd name="T22" fmla="*/ 16 w 20"/>
                    <a:gd name="T23" fmla="*/ 0 h 21"/>
                    <a:gd name="T24" fmla="*/ 16 w 20"/>
                    <a:gd name="T25" fmla="*/ 1 h 21"/>
                    <a:gd name="T26" fmla="*/ 13 w 20"/>
                    <a:gd name="T27" fmla="*/ 5 h 21"/>
                    <a:gd name="T28" fmla="*/ 8 w 20"/>
                    <a:gd name="T29" fmla="*/ 11 h 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1">
                      <a:moveTo>
                        <a:pt x="8" y="11"/>
                      </a:moveTo>
                      <a:cubicBezTo>
                        <a:pt x="5" y="13"/>
                        <a:pt x="3" y="15"/>
                        <a:pt x="1" y="17"/>
                      </a:cubicBezTo>
                      <a:cubicBezTo>
                        <a:pt x="1" y="17"/>
                        <a:pt x="0" y="17"/>
                        <a:pt x="0" y="17"/>
                      </a:cubicBezTo>
                      <a:cubicBezTo>
                        <a:pt x="0" y="18"/>
                        <a:pt x="0" y="19"/>
                        <a:pt x="0" y="20"/>
                      </a:cubicBezTo>
                      <a:cubicBezTo>
                        <a:pt x="1" y="21"/>
                        <a:pt x="2" y="21"/>
                        <a:pt x="3" y="20"/>
                      </a:cubicBezTo>
                      <a:cubicBezTo>
                        <a:pt x="3" y="20"/>
                        <a:pt x="3" y="20"/>
                        <a:pt x="3" y="20"/>
                      </a:cubicBezTo>
                      <a:cubicBezTo>
                        <a:pt x="6" y="18"/>
                        <a:pt x="8" y="16"/>
                        <a:pt x="10" y="14"/>
                      </a:cubicBezTo>
                      <a:cubicBezTo>
                        <a:pt x="13" y="12"/>
                        <a:pt x="14" y="9"/>
                        <a:pt x="16" y="7"/>
                      </a:cubicBezTo>
                      <a:cubicBezTo>
                        <a:pt x="19" y="3"/>
                        <a:pt x="19" y="3"/>
                        <a:pt x="19" y="3"/>
                      </a:cubicBezTo>
                      <a:cubicBezTo>
                        <a:pt x="19" y="3"/>
                        <a:pt x="19" y="3"/>
                        <a:pt x="19" y="3"/>
                      </a:cubicBezTo>
                      <a:cubicBezTo>
                        <a:pt x="20" y="2"/>
                        <a:pt x="20" y="1"/>
                        <a:pt x="19" y="0"/>
                      </a:cubicBezTo>
                      <a:cubicBezTo>
                        <a:pt x="18" y="0"/>
                        <a:pt x="17" y="0"/>
                        <a:pt x="16" y="0"/>
                      </a:cubicBezTo>
                      <a:cubicBezTo>
                        <a:pt x="16" y="1"/>
                        <a:pt x="16" y="1"/>
                        <a:pt x="16" y="1"/>
                      </a:cubicBezTo>
                      <a:cubicBezTo>
                        <a:pt x="13" y="5"/>
                        <a:pt x="13" y="5"/>
                        <a:pt x="13" y="5"/>
                      </a:cubicBezTo>
                      <a:cubicBezTo>
                        <a:pt x="11" y="7"/>
                        <a:pt x="10" y="9"/>
                        <a:pt x="8" y="11"/>
                      </a:cubicBezTo>
                      <a:close/>
                    </a:path>
                  </a:pathLst>
                </a:custGeom>
                <a:grpFill/>
                <a:ln>
                  <a:noFill/>
                </a:ln>
              </p:spPr>
              <p:txBody>
                <a:bodyPr lIns="51435" tIns="25718" rIns="51435" bIns="25718"/>
                <a:lstStyle/>
                <a:p>
                  <a:pPr defTabSz="514350">
                    <a:defRPr/>
                  </a:pPr>
                  <a:endParaRPr lang="id-ID" sz="760"/>
                </a:p>
              </p:txBody>
            </p:sp>
          </p:grpSp>
          <p:grpSp>
            <p:nvGrpSpPr>
              <p:cNvPr id="10" name="Group 29"/>
              <p:cNvGrpSpPr/>
              <p:nvPr/>
            </p:nvGrpSpPr>
            <p:grpSpPr>
              <a:xfrm>
                <a:off x="7197315" y="3405112"/>
                <a:ext cx="331787" cy="482600"/>
                <a:chOff x="4029075" y="2071688"/>
                <a:chExt cx="331787" cy="482600"/>
              </a:xfrm>
              <a:solidFill>
                <a:schemeClr val="bg1"/>
              </a:solidFill>
            </p:grpSpPr>
            <p:sp>
              <p:nvSpPr>
                <p:cNvPr id="66" name="Oval 69"/>
                <p:cNvSpPr>
                  <a:spLocks noChangeArrowheads="1"/>
                </p:cNvSpPr>
                <p:nvPr/>
              </p:nvSpPr>
              <p:spPr bwMode="auto">
                <a:xfrm>
                  <a:off x="4164013" y="2208213"/>
                  <a:ext cx="30162" cy="30163"/>
                </a:xfrm>
                <a:prstGeom prst="ellipse">
                  <a:avLst/>
                </a:prstGeom>
                <a:grpFill/>
                <a:ln>
                  <a:noFill/>
                </a:ln>
              </p:spPr>
              <p:txBody>
                <a:bodyPr lIns="51435" tIns="25718" rIns="51435" bIns="25718"/>
                <a:lstStyle/>
                <a:p>
                  <a:pPr defTabSz="514350">
                    <a:defRPr/>
                  </a:pPr>
                  <a:endParaRPr lang="id-ID" sz="760"/>
                </a:p>
              </p:txBody>
            </p:sp>
            <p:sp>
              <p:nvSpPr>
                <p:cNvPr id="67" name="Oval 70"/>
                <p:cNvSpPr>
                  <a:spLocks noChangeArrowheads="1"/>
                </p:cNvSpPr>
                <p:nvPr/>
              </p:nvSpPr>
              <p:spPr bwMode="auto">
                <a:xfrm>
                  <a:off x="4164013" y="2389188"/>
                  <a:ext cx="30162" cy="28575"/>
                </a:xfrm>
                <a:prstGeom prst="ellipse">
                  <a:avLst/>
                </a:prstGeom>
                <a:grpFill/>
                <a:ln>
                  <a:noFill/>
                </a:ln>
              </p:spPr>
              <p:txBody>
                <a:bodyPr lIns="51435" tIns="25718" rIns="51435" bIns="25718"/>
                <a:lstStyle/>
                <a:p>
                  <a:pPr defTabSz="514350">
                    <a:defRPr/>
                  </a:pPr>
                  <a:endParaRPr lang="id-ID" sz="760"/>
                </a:p>
              </p:txBody>
            </p:sp>
            <p:sp>
              <p:nvSpPr>
                <p:cNvPr id="68" name="Oval 71"/>
                <p:cNvSpPr>
                  <a:spLocks noChangeArrowheads="1"/>
                </p:cNvSpPr>
                <p:nvPr/>
              </p:nvSpPr>
              <p:spPr bwMode="auto">
                <a:xfrm>
                  <a:off x="4073525" y="2298701"/>
                  <a:ext cx="30162" cy="30163"/>
                </a:xfrm>
                <a:prstGeom prst="ellipse">
                  <a:avLst/>
                </a:prstGeom>
                <a:grpFill/>
                <a:ln>
                  <a:noFill/>
                </a:ln>
              </p:spPr>
              <p:txBody>
                <a:bodyPr lIns="51435" tIns="25718" rIns="51435" bIns="25718"/>
                <a:lstStyle/>
                <a:p>
                  <a:pPr defTabSz="514350">
                    <a:defRPr/>
                  </a:pPr>
                  <a:endParaRPr lang="id-ID" sz="760"/>
                </a:p>
              </p:txBody>
            </p:sp>
            <p:sp>
              <p:nvSpPr>
                <p:cNvPr id="69" name="Oval 72"/>
                <p:cNvSpPr>
                  <a:spLocks noChangeArrowheads="1"/>
                </p:cNvSpPr>
                <p:nvPr/>
              </p:nvSpPr>
              <p:spPr bwMode="auto">
                <a:xfrm>
                  <a:off x="4254500" y="2298701"/>
                  <a:ext cx="30162" cy="30163"/>
                </a:xfrm>
                <a:prstGeom prst="ellipse">
                  <a:avLst/>
                </a:prstGeom>
                <a:grpFill/>
                <a:ln>
                  <a:noFill/>
                </a:ln>
              </p:spPr>
              <p:txBody>
                <a:bodyPr lIns="51435" tIns="25718" rIns="51435" bIns="25718"/>
                <a:lstStyle/>
                <a:p>
                  <a:pPr defTabSz="514350">
                    <a:defRPr/>
                  </a:pPr>
                  <a:endParaRPr lang="id-ID" sz="760"/>
                </a:p>
              </p:txBody>
            </p:sp>
            <p:sp>
              <p:nvSpPr>
                <p:cNvPr id="70" name="Freeform 73"/>
                <p:cNvSpPr/>
                <p:nvPr/>
              </p:nvSpPr>
              <p:spPr bwMode="auto">
                <a:xfrm>
                  <a:off x="4100513" y="2362201"/>
                  <a:ext cx="30162" cy="30163"/>
                </a:xfrm>
                <a:custGeom>
                  <a:gdLst>
                    <a:gd name="T0" fmla="*/ 1 w 8"/>
                    <a:gd name="T1" fmla="*/ 1 h 8"/>
                    <a:gd name="T2" fmla="*/ 1 w 8"/>
                    <a:gd name="T3" fmla="*/ 7 h 8"/>
                    <a:gd name="T4" fmla="*/ 7 w 8"/>
                    <a:gd name="T5" fmla="*/ 7 h 8"/>
                    <a:gd name="T6" fmla="*/ 7 w 8"/>
                    <a:gd name="T7" fmla="*/ 1 h 8"/>
                    <a:gd name="T8" fmla="*/ 1 w 8"/>
                    <a:gd name="T9" fmla="*/ 1 h 8"/>
                  </a:gdLst>
                  <a:cxnLst>
                    <a:cxn ang="0">
                      <a:pos x="T0" y="T1"/>
                    </a:cxn>
                    <a:cxn ang="0">
                      <a:pos x="T2" y="T3"/>
                    </a:cxn>
                    <a:cxn ang="0">
                      <a:pos x="T4" y="T5"/>
                    </a:cxn>
                    <a:cxn ang="0">
                      <a:pos x="T6" y="T7"/>
                    </a:cxn>
                    <a:cxn ang="0">
                      <a:pos x="T8" y="T9"/>
                    </a:cxn>
                  </a:cxnLst>
                  <a:rect l="0" t="0" r="r" b="b"/>
                  <a:pathLst>
                    <a:path w="8" h="8">
                      <a:moveTo>
                        <a:pt x="1" y="1"/>
                      </a:moveTo>
                      <a:cubicBezTo>
                        <a:pt x="0" y="3"/>
                        <a:pt x="0" y="5"/>
                        <a:pt x="1" y="7"/>
                      </a:cubicBezTo>
                      <a:cubicBezTo>
                        <a:pt x="3" y="8"/>
                        <a:pt x="5" y="8"/>
                        <a:pt x="7" y="7"/>
                      </a:cubicBezTo>
                      <a:cubicBezTo>
                        <a:pt x="8" y="5"/>
                        <a:pt x="8" y="3"/>
                        <a:pt x="7" y="1"/>
                      </a:cubicBezTo>
                      <a:cubicBezTo>
                        <a:pt x="5" y="0"/>
                        <a:pt x="3" y="0"/>
                        <a:pt x="1" y="1"/>
                      </a:cubicBezTo>
                      <a:close/>
                    </a:path>
                  </a:pathLst>
                </a:custGeom>
                <a:grpFill/>
                <a:ln>
                  <a:noFill/>
                </a:ln>
              </p:spPr>
              <p:txBody>
                <a:bodyPr lIns="51435" tIns="25718" rIns="51435" bIns="25718"/>
                <a:lstStyle/>
                <a:p>
                  <a:pPr defTabSz="514350">
                    <a:defRPr/>
                  </a:pPr>
                  <a:endParaRPr lang="id-ID" sz="760"/>
                </a:p>
              </p:txBody>
            </p:sp>
            <p:sp>
              <p:nvSpPr>
                <p:cNvPr id="71" name="Freeform 74"/>
                <p:cNvSpPr/>
                <p:nvPr/>
              </p:nvSpPr>
              <p:spPr bwMode="auto">
                <a:xfrm>
                  <a:off x="4100513" y="2233613"/>
                  <a:ext cx="30162" cy="30163"/>
                </a:xfrm>
                <a:custGeom>
                  <a:gdLst>
                    <a:gd name="T0" fmla="*/ 1 w 8"/>
                    <a:gd name="T1" fmla="*/ 1 h 8"/>
                    <a:gd name="T2" fmla="*/ 1 w 8"/>
                    <a:gd name="T3" fmla="*/ 7 h 8"/>
                    <a:gd name="T4" fmla="*/ 7 w 8"/>
                    <a:gd name="T5" fmla="*/ 7 h 8"/>
                    <a:gd name="T6" fmla="*/ 7 w 8"/>
                    <a:gd name="T7" fmla="*/ 1 h 8"/>
                    <a:gd name="T8" fmla="*/ 1 w 8"/>
                    <a:gd name="T9" fmla="*/ 1 h 8"/>
                  </a:gdLst>
                  <a:cxnLst>
                    <a:cxn ang="0">
                      <a:pos x="T0" y="T1"/>
                    </a:cxn>
                    <a:cxn ang="0">
                      <a:pos x="T2" y="T3"/>
                    </a:cxn>
                    <a:cxn ang="0">
                      <a:pos x="T4" y="T5"/>
                    </a:cxn>
                    <a:cxn ang="0">
                      <a:pos x="T6" y="T7"/>
                    </a:cxn>
                    <a:cxn ang="0">
                      <a:pos x="T8" y="T9"/>
                    </a:cxn>
                  </a:cxnLst>
                  <a:rect l="0" t="0" r="r" b="b"/>
                  <a:pathLst>
                    <a:path w="8" h="8">
                      <a:moveTo>
                        <a:pt x="1" y="1"/>
                      </a:moveTo>
                      <a:cubicBezTo>
                        <a:pt x="0" y="3"/>
                        <a:pt x="0" y="5"/>
                        <a:pt x="1" y="7"/>
                      </a:cubicBezTo>
                      <a:cubicBezTo>
                        <a:pt x="3" y="8"/>
                        <a:pt x="5" y="8"/>
                        <a:pt x="7" y="7"/>
                      </a:cubicBezTo>
                      <a:cubicBezTo>
                        <a:pt x="8" y="5"/>
                        <a:pt x="8" y="3"/>
                        <a:pt x="7" y="1"/>
                      </a:cubicBezTo>
                      <a:cubicBezTo>
                        <a:pt x="5" y="0"/>
                        <a:pt x="3" y="0"/>
                        <a:pt x="1" y="1"/>
                      </a:cubicBezTo>
                      <a:close/>
                    </a:path>
                  </a:pathLst>
                </a:custGeom>
                <a:grpFill/>
                <a:ln>
                  <a:noFill/>
                </a:ln>
              </p:spPr>
              <p:txBody>
                <a:bodyPr lIns="51435" tIns="25718" rIns="51435" bIns="25718"/>
                <a:lstStyle/>
                <a:p>
                  <a:pPr defTabSz="514350">
                    <a:defRPr/>
                  </a:pPr>
                  <a:endParaRPr lang="id-ID" sz="760"/>
                </a:p>
              </p:txBody>
            </p:sp>
            <p:sp>
              <p:nvSpPr>
                <p:cNvPr id="72" name="Freeform 75"/>
                <p:cNvSpPr/>
                <p:nvPr/>
              </p:nvSpPr>
              <p:spPr bwMode="auto">
                <a:xfrm>
                  <a:off x="4229100" y="2362201"/>
                  <a:ext cx="30162" cy="30163"/>
                </a:xfrm>
                <a:custGeom>
                  <a:gdLst>
                    <a:gd name="T0" fmla="*/ 1 w 8"/>
                    <a:gd name="T1" fmla="*/ 1 h 8"/>
                    <a:gd name="T2" fmla="*/ 1 w 8"/>
                    <a:gd name="T3" fmla="*/ 7 h 8"/>
                    <a:gd name="T4" fmla="*/ 7 w 8"/>
                    <a:gd name="T5" fmla="*/ 7 h 8"/>
                    <a:gd name="T6" fmla="*/ 7 w 8"/>
                    <a:gd name="T7" fmla="*/ 1 h 8"/>
                    <a:gd name="T8" fmla="*/ 1 w 8"/>
                    <a:gd name="T9" fmla="*/ 1 h 8"/>
                  </a:gdLst>
                  <a:cxnLst>
                    <a:cxn ang="0">
                      <a:pos x="T0" y="T1"/>
                    </a:cxn>
                    <a:cxn ang="0">
                      <a:pos x="T2" y="T3"/>
                    </a:cxn>
                    <a:cxn ang="0">
                      <a:pos x="T4" y="T5"/>
                    </a:cxn>
                    <a:cxn ang="0">
                      <a:pos x="T6" y="T7"/>
                    </a:cxn>
                    <a:cxn ang="0">
                      <a:pos x="T8" y="T9"/>
                    </a:cxn>
                  </a:cxnLst>
                  <a:rect l="0" t="0" r="r" b="b"/>
                  <a:pathLst>
                    <a:path w="8" h="8">
                      <a:moveTo>
                        <a:pt x="1" y="1"/>
                      </a:moveTo>
                      <a:cubicBezTo>
                        <a:pt x="0" y="3"/>
                        <a:pt x="0" y="5"/>
                        <a:pt x="1" y="7"/>
                      </a:cubicBezTo>
                      <a:cubicBezTo>
                        <a:pt x="3" y="8"/>
                        <a:pt x="5" y="8"/>
                        <a:pt x="7" y="7"/>
                      </a:cubicBezTo>
                      <a:cubicBezTo>
                        <a:pt x="8" y="5"/>
                        <a:pt x="8" y="3"/>
                        <a:pt x="7" y="1"/>
                      </a:cubicBezTo>
                      <a:cubicBezTo>
                        <a:pt x="5" y="0"/>
                        <a:pt x="3" y="0"/>
                        <a:pt x="1" y="1"/>
                      </a:cubicBezTo>
                      <a:close/>
                    </a:path>
                  </a:pathLst>
                </a:custGeom>
                <a:grpFill/>
                <a:ln>
                  <a:noFill/>
                </a:ln>
              </p:spPr>
              <p:txBody>
                <a:bodyPr lIns="51435" tIns="25718" rIns="51435" bIns="25718"/>
                <a:lstStyle/>
                <a:p>
                  <a:pPr defTabSz="514350">
                    <a:defRPr/>
                  </a:pPr>
                  <a:endParaRPr lang="id-ID" sz="760"/>
                </a:p>
              </p:txBody>
            </p:sp>
            <p:sp>
              <p:nvSpPr>
                <p:cNvPr id="73" name="Freeform 76"/>
                <p:cNvSpPr>
                  <a:spLocks noEditPoints="1"/>
                </p:cNvSpPr>
                <p:nvPr/>
              </p:nvSpPr>
              <p:spPr bwMode="auto">
                <a:xfrm>
                  <a:off x="4029075" y="2071688"/>
                  <a:ext cx="331787" cy="482600"/>
                </a:xfrm>
                <a:custGeom>
                  <a:gdLst>
                    <a:gd name="T0" fmla="*/ 80 w 88"/>
                    <a:gd name="T1" fmla="*/ 56 h 128"/>
                    <a:gd name="T2" fmla="*/ 79 w 88"/>
                    <a:gd name="T3" fmla="*/ 56 h 128"/>
                    <a:gd name="T4" fmla="*/ 70 w 88"/>
                    <a:gd name="T5" fmla="*/ 38 h 128"/>
                    <a:gd name="T6" fmla="*/ 64 w 88"/>
                    <a:gd name="T7" fmla="*/ 7 h 128"/>
                    <a:gd name="T8" fmla="*/ 56 w 88"/>
                    <a:gd name="T9" fmla="*/ 0 h 128"/>
                    <a:gd name="T10" fmla="*/ 24 w 88"/>
                    <a:gd name="T11" fmla="*/ 0 h 128"/>
                    <a:gd name="T12" fmla="*/ 17 w 88"/>
                    <a:gd name="T13" fmla="*/ 7 h 128"/>
                    <a:gd name="T14" fmla="*/ 11 w 88"/>
                    <a:gd name="T15" fmla="*/ 37 h 128"/>
                    <a:gd name="T16" fmla="*/ 0 w 88"/>
                    <a:gd name="T17" fmla="*/ 64 h 128"/>
                    <a:gd name="T18" fmla="*/ 10 w 88"/>
                    <a:gd name="T19" fmla="*/ 91 h 128"/>
                    <a:gd name="T20" fmla="*/ 16 w 88"/>
                    <a:gd name="T21" fmla="*/ 121 h 128"/>
                    <a:gd name="T22" fmla="*/ 24 w 88"/>
                    <a:gd name="T23" fmla="*/ 128 h 128"/>
                    <a:gd name="T24" fmla="*/ 56 w 88"/>
                    <a:gd name="T25" fmla="*/ 128 h 128"/>
                    <a:gd name="T26" fmla="*/ 64 w 88"/>
                    <a:gd name="T27" fmla="*/ 121 h 128"/>
                    <a:gd name="T28" fmla="*/ 70 w 88"/>
                    <a:gd name="T29" fmla="*/ 91 h 128"/>
                    <a:gd name="T30" fmla="*/ 79 w 88"/>
                    <a:gd name="T31" fmla="*/ 72 h 128"/>
                    <a:gd name="T32" fmla="*/ 80 w 88"/>
                    <a:gd name="T33" fmla="*/ 72 h 128"/>
                    <a:gd name="T34" fmla="*/ 88 w 88"/>
                    <a:gd name="T35" fmla="*/ 64 h 128"/>
                    <a:gd name="T36" fmla="*/ 80 w 88"/>
                    <a:gd name="T37" fmla="*/ 56 h 128"/>
                    <a:gd name="T38" fmla="*/ 24 w 88"/>
                    <a:gd name="T39" fmla="*/ 8 h 128"/>
                    <a:gd name="T40" fmla="*/ 56 w 88"/>
                    <a:gd name="T41" fmla="*/ 8 h 128"/>
                    <a:gd name="T42" fmla="*/ 60 w 88"/>
                    <a:gd name="T43" fmla="*/ 30 h 128"/>
                    <a:gd name="T44" fmla="*/ 40 w 88"/>
                    <a:gd name="T45" fmla="*/ 24 h 128"/>
                    <a:gd name="T46" fmla="*/ 20 w 88"/>
                    <a:gd name="T47" fmla="*/ 30 h 128"/>
                    <a:gd name="T48" fmla="*/ 24 w 88"/>
                    <a:gd name="T49" fmla="*/ 8 h 128"/>
                    <a:gd name="T50" fmla="*/ 56 w 88"/>
                    <a:gd name="T51" fmla="*/ 120 h 128"/>
                    <a:gd name="T52" fmla="*/ 24 w 88"/>
                    <a:gd name="T53" fmla="*/ 120 h 128"/>
                    <a:gd name="T54" fmla="*/ 20 w 88"/>
                    <a:gd name="T55" fmla="*/ 98 h 128"/>
                    <a:gd name="T56" fmla="*/ 40 w 88"/>
                    <a:gd name="T57" fmla="*/ 104 h 128"/>
                    <a:gd name="T58" fmla="*/ 60 w 88"/>
                    <a:gd name="T59" fmla="*/ 98 h 128"/>
                    <a:gd name="T60" fmla="*/ 56 w 88"/>
                    <a:gd name="T61" fmla="*/ 120 h 128"/>
                    <a:gd name="T62" fmla="*/ 40 w 88"/>
                    <a:gd name="T63" fmla="*/ 96 h 128"/>
                    <a:gd name="T64" fmla="*/ 8 w 88"/>
                    <a:gd name="T65" fmla="*/ 64 h 128"/>
                    <a:gd name="T66" fmla="*/ 40 w 88"/>
                    <a:gd name="T67" fmla="*/ 32 h 128"/>
                    <a:gd name="T68" fmla="*/ 72 w 88"/>
                    <a:gd name="T69" fmla="*/ 64 h 128"/>
                    <a:gd name="T70" fmla="*/ 40 w 88"/>
                    <a:gd name="T71" fmla="*/ 96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 h="128">
                      <a:moveTo>
                        <a:pt x="80" y="56"/>
                      </a:moveTo>
                      <a:cubicBezTo>
                        <a:pt x="80" y="56"/>
                        <a:pt x="79" y="56"/>
                        <a:pt x="79" y="56"/>
                      </a:cubicBezTo>
                      <a:cubicBezTo>
                        <a:pt x="78" y="49"/>
                        <a:pt x="75" y="43"/>
                        <a:pt x="70" y="38"/>
                      </a:cubicBezTo>
                      <a:cubicBezTo>
                        <a:pt x="64" y="7"/>
                        <a:pt x="64" y="7"/>
                        <a:pt x="64" y="7"/>
                      </a:cubicBezTo>
                      <a:cubicBezTo>
                        <a:pt x="64" y="3"/>
                        <a:pt x="60" y="0"/>
                        <a:pt x="56" y="0"/>
                      </a:cubicBezTo>
                      <a:cubicBezTo>
                        <a:pt x="24" y="0"/>
                        <a:pt x="24" y="0"/>
                        <a:pt x="24" y="0"/>
                      </a:cubicBezTo>
                      <a:cubicBezTo>
                        <a:pt x="21" y="0"/>
                        <a:pt x="17" y="3"/>
                        <a:pt x="17" y="7"/>
                      </a:cubicBezTo>
                      <a:cubicBezTo>
                        <a:pt x="11" y="37"/>
                        <a:pt x="11" y="37"/>
                        <a:pt x="11" y="37"/>
                      </a:cubicBezTo>
                      <a:cubicBezTo>
                        <a:pt x="4" y="44"/>
                        <a:pt x="0" y="53"/>
                        <a:pt x="0" y="64"/>
                      </a:cubicBezTo>
                      <a:cubicBezTo>
                        <a:pt x="0" y="74"/>
                        <a:pt x="4" y="84"/>
                        <a:pt x="10" y="91"/>
                      </a:cubicBezTo>
                      <a:cubicBezTo>
                        <a:pt x="16" y="121"/>
                        <a:pt x="16" y="121"/>
                        <a:pt x="16" y="121"/>
                      </a:cubicBezTo>
                      <a:cubicBezTo>
                        <a:pt x="17" y="125"/>
                        <a:pt x="20" y="128"/>
                        <a:pt x="24" y="128"/>
                      </a:cubicBezTo>
                      <a:cubicBezTo>
                        <a:pt x="56" y="128"/>
                        <a:pt x="56" y="128"/>
                        <a:pt x="56" y="128"/>
                      </a:cubicBezTo>
                      <a:cubicBezTo>
                        <a:pt x="60" y="128"/>
                        <a:pt x="63" y="125"/>
                        <a:pt x="64" y="121"/>
                      </a:cubicBezTo>
                      <a:cubicBezTo>
                        <a:pt x="70" y="91"/>
                        <a:pt x="70" y="91"/>
                        <a:pt x="70" y="91"/>
                      </a:cubicBezTo>
                      <a:cubicBezTo>
                        <a:pt x="74" y="85"/>
                        <a:pt x="78" y="79"/>
                        <a:pt x="79" y="72"/>
                      </a:cubicBezTo>
                      <a:cubicBezTo>
                        <a:pt x="79" y="72"/>
                        <a:pt x="80" y="72"/>
                        <a:pt x="80" y="72"/>
                      </a:cubicBezTo>
                      <a:cubicBezTo>
                        <a:pt x="84" y="72"/>
                        <a:pt x="88" y="68"/>
                        <a:pt x="88" y="64"/>
                      </a:cubicBezTo>
                      <a:cubicBezTo>
                        <a:pt x="88" y="60"/>
                        <a:pt x="84" y="56"/>
                        <a:pt x="80" y="56"/>
                      </a:cubicBezTo>
                      <a:close/>
                      <a:moveTo>
                        <a:pt x="24" y="8"/>
                      </a:moveTo>
                      <a:cubicBezTo>
                        <a:pt x="56" y="8"/>
                        <a:pt x="56" y="8"/>
                        <a:pt x="56" y="8"/>
                      </a:cubicBezTo>
                      <a:cubicBezTo>
                        <a:pt x="60" y="30"/>
                        <a:pt x="60" y="30"/>
                        <a:pt x="60" y="30"/>
                      </a:cubicBezTo>
                      <a:cubicBezTo>
                        <a:pt x="55" y="26"/>
                        <a:pt x="48" y="24"/>
                        <a:pt x="40" y="24"/>
                      </a:cubicBezTo>
                      <a:cubicBezTo>
                        <a:pt x="33" y="24"/>
                        <a:pt x="26" y="26"/>
                        <a:pt x="20" y="30"/>
                      </a:cubicBezTo>
                      <a:lnTo>
                        <a:pt x="24" y="8"/>
                      </a:lnTo>
                      <a:close/>
                      <a:moveTo>
                        <a:pt x="56" y="120"/>
                      </a:moveTo>
                      <a:cubicBezTo>
                        <a:pt x="24" y="120"/>
                        <a:pt x="24" y="120"/>
                        <a:pt x="24" y="120"/>
                      </a:cubicBezTo>
                      <a:cubicBezTo>
                        <a:pt x="20" y="98"/>
                        <a:pt x="20" y="98"/>
                        <a:pt x="20" y="98"/>
                      </a:cubicBezTo>
                      <a:cubicBezTo>
                        <a:pt x="26" y="102"/>
                        <a:pt x="33" y="104"/>
                        <a:pt x="40" y="104"/>
                      </a:cubicBezTo>
                      <a:cubicBezTo>
                        <a:pt x="47" y="104"/>
                        <a:pt x="54" y="102"/>
                        <a:pt x="60" y="98"/>
                      </a:cubicBezTo>
                      <a:lnTo>
                        <a:pt x="56" y="120"/>
                      </a:lnTo>
                      <a:close/>
                      <a:moveTo>
                        <a:pt x="40" y="96"/>
                      </a:moveTo>
                      <a:cubicBezTo>
                        <a:pt x="22" y="96"/>
                        <a:pt x="8" y="82"/>
                        <a:pt x="8" y="64"/>
                      </a:cubicBezTo>
                      <a:cubicBezTo>
                        <a:pt x="8" y="46"/>
                        <a:pt x="22" y="32"/>
                        <a:pt x="40" y="32"/>
                      </a:cubicBezTo>
                      <a:cubicBezTo>
                        <a:pt x="58" y="32"/>
                        <a:pt x="72" y="46"/>
                        <a:pt x="72" y="64"/>
                      </a:cubicBezTo>
                      <a:cubicBezTo>
                        <a:pt x="72" y="82"/>
                        <a:pt x="58" y="96"/>
                        <a:pt x="40" y="96"/>
                      </a:cubicBezTo>
                      <a:close/>
                    </a:path>
                  </a:pathLst>
                </a:custGeom>
                <a:grpFill/>
                <a:ln>
                  <a:noFill/>
                </a:ln>
              </p:spPr>
              <p:txBody>
                <a:bodyPr lIns="51435" tIns="25718" rIns="51435" bIns="25718"/>
                <a:lstStyle/>
                <a:p>
                  <a:pPr defTabSz="514350">
                    <a:defRPr/>
                  </a:pPr>
                  <a:endParaRPr lang="id-ID" sz="760"/>
                </a:p>
              </p:txBody>
            </p:sp>
            <p:sp>
              <p:nvSpPr>
                <p:cNvPr id="74" name="Freeform 77"/>
                <p:cNvSpPr/>
                <p:nvPr/>
              </p:nvSpPr>
              <p:spPr bwMode="auto">
                <a:xfrm>
                  <a:off x="4164013" y="2238376"/>
                  <a:ext cx="90487" cy="90488"/>
                </a:xfrm>
                <a:custGeom>
                  <a:gdLst>
                    <a:gd name="T0" fmla="*/ 24 w 24"/>
                    <a:gd name="T1" fmla="*/ 0 h 24"/>
                    <a:gd name="T2" fmla="*/ 22 w 24"/>
                    <a:gd name="T3" fmla="*/ 0 h 24"/>
                    <a:gd name="T4" fmla="*/ 1 w 24"/>
                    <a:gd name="T5" fmla="*/ 17 h 24"/>
                    <a:gd name="T6" fmla="*/ 0 w 24"/>
                    <a:gd name="T7" fmla="*/ 20 h 24"/>
                    <a:gd name="T8" fmla="*/ 1 w 24"/>
                    <a:gd name="T9" fmla="*/ 23 h 24"/>
                    <a:gd name="T10" fmla="*/ 4 w 24"/>
                    <a:gd name="T11" fmla="*/ 24 h 24"/>
                    <a:gd name="T12" fmla="*/ 7 w 24"/>
                    <a:gd name="T13" fmla="*/ 23 h 24"/>
                    <a:gd name="T14" fmla="*/ 14 w 24"/>
                    <a:gd name="T15" fmla="*/ 14 h 24"/>
                    <a:gd name="T16" fmla="*/ 24 w 24"/>
                    <a:gd name="T17" fmla="*/ 2 h 24"/>
                    <a:gd name="T18" fmla="*/ 24 w 24"/>
                    <a:gd name="T19" fmla="*/ 0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0"/>
                      </a:moveTo>
                      <a:cubicBezTo>
                        <a:pt x="23" y="0"/>
                        <a:pt x="23" y="0"/>
                        <a:pt x="22" y="0"/>
                      </a:cubicBezTo>
                      <a:cubicBezTo>
                        <a:pt x="1" y="17"/>
                        <a:pt x="1" y="17"/>
                        <a:pt x="1" y="17"/>
                      </a:cubicBezTo>
                      <a:cubicBezTo>
                        <a:pt x="0" y="18"/>
                        <a:pt x="0" y="19"/>
                        <a:pt x="0" y="20"/>
                      </a:cubicBezTo>
                      <a:cubicBezTo>
                        <a:pt x="0" y="21"/>
                        <a:pt x="0" y="22"/>
                        <a:pt x="1" y="23"/>
                      </a:cubicBezTo>
                      <a:cubicBezTo>
                        <a:pt x="2" y="24"/>
                        <a:pt x="3" y="24"/>
                        <a:pt x="4" y="24"/>
                      </a:cubicBezTo>
                      <a:cubicBezTo>
                        <a:pt x="5" y="24"/>
                        <a:pt x="6" y="24"/>
                        <a:pt x="7" y="23"/>
                      </a:cubicBezTo>
                      <a:cubicBezTo>
                        <a:pt x="14" y="14"/>
                        <a:pt x="14" y="14"/>
                        <a:pt x="14" y="14"/>
                      </a:cubicBezTo>
                      <a:cubicBezTo>
                        <a:pt x="24" y="2"/>
                        <a:pt x="24" y="2"/>
                        <a:pt x="24" y="2"/>
                      </a:cubicBezTo>
                      <a:cubicBezTo>
                        <a:pt x="24" y="1"/>
                        <a:pt x="24" y="1"/>
                        <a:pt x="24" y="0"/>
                      </a:cubicBezTo>
                      <a:close/>
                    </a:path>
                  </a:pathLst>
                </a:custGeom>
                <a:grpFill/>
                <a:ln>
                  <a:noFill/>
                </a:ln>
              </p:spPr>
              <p:txBody>
                <a:bodyPr lIns="51435" tIns="25718" rIns="51435" bIns="25718"/>
                <a:lstStyle/>
                <a:p>
                  <a:pPr defTabSz="514350">
                    <a:defRPr/>
                  </a:pPr>
                  <a:endParaRPr lang="id-ID" sz="760"/>
                </a:p>
              </p:txBody>
            </p:sp>
          </p:grpSp>
          <p:grpSp>
            <p:nvGrpSpPr>
              <p:cNvPr id="11" name="Group 30"/>
              <p:cNvGrpSpPr/>
              <p:nvPr/>
            </p:nvGrpSpPr>
            <p:grpSpPr>
              <a:xfrm>
                <a:off x="9012997" y="1679576"/>
                <a:ext cx="482600" cy="452438"/>
                <a:chOff x="2974975" y="2071688"/>
                <a:chExt cx="482600" cy="452438"/>
              </a:xfrm>
              <a:solidFill>
                <a:schemeClr val="bg1"/>
              </a:solidFill>
            </p:grpSpPr>
            <p:sp>
              <p:nvSpPr>
                <p:cNvPr id="57" name="Freeform 78"/>
                <p:cNvSpPr>
                  <a:spLocks noEditPoints="1"/>
                </p:cNvSpPr>
                <p:nvPr/>
              </p:nvSpPr>
              <p:spPr bwMode="auto">
                <a:xfrm>
                  <a:off x="2974975" y="2071688"/>
                  <a:ext cx="482600" cy="452438"/>
                </a:xfrm>
                <a:custGeom>
                  <a:gdLst>
                    <a:gd name="T0" fmla="*/ 126 w 128"/>
                    <a:gd name="T1" fmla="*/ 26 h 120"/>
                    <a:gd name="T2" fmla="*/ 102 w 128"/>
                    <a:gd name="T3" fmla="*/ 2 h 120"/>
                    <a:gd name="T4" fmla="*/ 96 w 128"/>
                    <a:gd name="T5" fmla="*/ 0 h 120"/>
                    <a:gd name="T6" fmla="*/ 12 w 128"/>
                    <a:gd name="T7" fmla="*/ 0 h 120"/>
                    <a:gd name="T8" fmla="*/ 0 w 128"/>
                    <a:gd name="T9" fmla="*/ 12 h 120"/>
                    <a:gd name="T10" fmla="*/ 0 w 128"/>
                    <a:gd name="T11" fmla="*/ 108 h 120"/>
                    <a:gd name="T12" fmla="*/ 12 w 128"/>
                    <a:gd name="T13" fmla="*/ 120 h 120"/>
                    <a:gd name="T14" fmla="*/ 116 w 128"/>
                    <a:gd name="T15" fmla="*/ 120 h 120"/>
                    <a:gd name="T16" fmla="*/ 128 w 128"/>
                    <a:gd name="T17" fmla="*/ 108 h 120"/>
                    <a:gd name="T18" fmla="*/ 128 w 128"/>
                    <a:gd name="T19" fmla="*/ 32 h 120"/>
                    <a:gd name="T20" fmla="*/ 126 w 128"/>
                    <a:gd name="T21" fmla="*/ 26 h 120"/>
                    <a:gd name="T22" fmla="*/ 120 w 128"/>
                    <a:gd name="T23" fmla="*/ 108 h 120"/>
                    <a:gd name="T24" fmla="*/ 116 w 128"/>
                    <a:gd name="T25" fmla="*/ 112 h 120"/>
                    <a:gd name="T26" fmla="*/ 12 w 128"/>
                    <a:gd name="T27" fmla="*/ 112 h 120"/>
                    <a:gd name="T28" fmla="*/ 8 w 128"/>
                    <a:gd name="T29" fmla="*/ 108 h 120"/>
                    <a:gd name="T30" fmla="*/ 8 w 128"/>
                    <a:gd name="T31" fmla="*/ 12 h 120"/>
                    <a:gd name="T32" fmla="*/ 12 w 128"/>
                    <a:gd name="T33" fmla="*/ 8 h 120"/>
                    <a:gd name="T34" fmla="*/ 92 w 128"/>
                    <a:gd name="T35" fmla="*/ 8 h 120"/>
                    <a:gd name="T36" fmla="*/ 92 w 128"/>
                    <a:gd name="T37" fmla="*/ 24 h 120"/>
                    <a:gd name="T38" fmla="*/ 92 w 128"/>
                    <a:gd name="T39" fmla="*/ 24 h 120"/>
                    <a:gd name="T40" fmla="*/ 104 w 128"/>
                    <a:gd name="T41" fmla="*/ 36 h 120"/>
                    <a:gd name="T42" fmla="*/ 108 w 128"/>
                    <a:gd name="T43" fmla="*/ 36 h 120"/>
                    <a:gd name="T44" fmla="*/ 120 w 128"/>
                    <a:gd name="T45" fmla="*/ 36 h 120"/>
                    <a:gd name="T46" fmla="*/ 120 w 128"/>
                    <a:gd name="T47" fmla="*/ 108 h 120"/>
                    <a:gd name="T48" fmla="*/ 108 w 128"/>
                    <a:gd name="T49" fmla="*/ 32 h 120"/>
                    <a:gd name="T50" fmla="*/ 104 w 128"/>
                    <a:gd name="T51" fmla="*/ 32 h 120"/>
                    <a:gd name="T52" fmla="*/ 96 w 128"/>
                    <a:gd name="T53" fmla="*/ 24 h 120"/>
                    <a:gd name="T54" fmla="*/ 96 w 128"/>
                    <a:gd name="T55" fmla="*/ 24 h 120"/>
                    <a:gd name="T56" fmla="*/ 96 w 128"/>
                    <a:gd name="T57" fmla="*/ 8 h 120"/>
                    <a:gd name="T58" fmla="*/ 120 w 128"/>
                    <a:gd name="T59" fmla="*/ 32 h 120"/>
                    <a:gd name="T60" fmla="*/ 108 w 128"/>
                    <a:gd name="T61" fmla="*/ 32 h 12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8" h="120">
                      <a:moveTo>
                        <a:pt x="126" y="26"/>
                      </a:moveTo>
                      <a:cubicBezTo>
                        <a:pt x="102" y="2"/>
                        <a:pt x="102" y="2"/>
                        <a:pt x="102" y="2"/>
                      </a:cubicBezTo>
                      <a:cubicBezTo>
                        <a:pt x="100" y="1"/>
                        <a:pt x="98" y="0"/>
                        <a:pt x="96" y="0"/>
                      </a:cubicBezTo>
                      <a:cubicBezTo>
                        <a:pt x="12" y="0"/>
                        <a:pt x="12" y="0"/>
                        <a:pt x="12" y="0"/>
                      </a:cubicBezTo>
                      <a:cubicBezTo>
                        <a:pt x="5" y="0"/>
                        <a:pt x="0" y="5"/>
                        <a:pt x="0" y="12"/>
                      </a:cubicBezTo>
                      <a:cubicBezTo>
                        <a:pt x="0" y="108"/>
                        <a:pt x="0" y="108"/>
                        <a:pt x="0" y="108"/>
                      </a:cubicBezTo>
                      <a:cubicBezTo>
                        <a:pt x="0" y="115"/>
                        <a:pt x="5" y="120"/>
                        <a:pt x="12" y="120"/>
                      </a:cubicBezTo>
                      <a:cubicBezTo>
                        <a:pt x="116" y="120"/>
                        <a:pt x="116" y="120"/>
                        <a:pt x="116" y="120"/>
                      </a:cubicBezTo>
                      <a:cubicBezTo>
                        <a:pt x="123" y="120"/>
                        <a:pt x="128" y="115"/>
                        <a:pt x="128" y="108"/>
                      </a:cubicBezTo>
                      <a:cubicBezTo>
                        <a:pt x="128" y="32"/>
                        <a:pt x="128" y="32"/>
                        <a:pt x="128" y="32"/>
                      </a:cubicBezTo>
                      <a:cubicBezTo>
                        <a:pt x="128" y="30"/>
                        <a:pt x="127" y="28"/>
                        <a:pt x="126" y="26"/>
                      </a:cubicBezTo>
                      <a:close/>
                      <a:moveTo>
                        <a:pt x="120" y="108"/>
                      </a:moveTo>
                      <a:cubicBezTo>
                        <a:pt x="120" y="110"/>
                        <a:pt x="118" y="112"/>
                        <a:pt x="116" y="112"/>
                      </a:cubicBezTo>
                      <a:cubicBezTo>
                        <a:pt x="12" y="112"/>
                        <a:pt x="12" y="112"/>
                        <a:pt x="12" y="112"/>
                      </a:cubicBezTo>
                      <a:cubicBezTo>
                        <a:pt x="10" y="112"/>
                        <a:pt x="8" y="110"/>
                        <a:pt x="8" y="108"/>
                      </a:cubicBezTo>
                      <a:cubicBezTo>
                        <a:pt x="8" y="12"/>
                        <a:pt x="8" y="12"/>
                        <a:pt x="8" y="12"/>
                      </a:cubicBezTo>
                      <a:cubicBezTo>
                        <a:pt x="8" y="10"/>
                        <a:pt x="10" y="8"/>
                        <a:pt x="12" y="8"/>
                      </a:cubicBezTo>
                      <a:cubicBezTo>
                        <a:pt x="92" y="8"/>
                        <a:pt x="92" y="8"/>
                        <a:pt x="92" y="8"/>
                      </a:cubicBezTo>
                      <a:cubicBezTo>
                        <a:pt x="92" y="24"/>
                        <a:pt x="92" y="24"/>
                        <a:pt x="92" y="24"/>
                      </a:cubicBezTo>
                      <a:cubicBezTo>
                        <a:pt x="92" y="24"/>
                        <a:pt x="92" y="24"/>
                        <a:pt x="92" y="24"/>
                      </a:cubicBezTo>
                      <a:cubicBezTo>
                        <a:pt x="92" y="31"/>
                        <a:pt x="97" y="36"/>
                        <a:pt x="104" y="36"/>
                      </a:cubicBezTo>
                      <a:cubicBezTo>
                        <a:pt x="108" y="36"/>
                        <a:pt x="108" y="36"/>
                        <a:pt x="108" y="36"/>
                      </a:cubicBezTo>
                      <a:cubicBezTo>
                        <a:pt x="120" y="36"/>
                        <a:pt x="120" y="36"/>
                        <a:pt x="120" y="36"/>
                      </a:cubicBezTo>
                      <a:lnTo>
                        <a:pt x="120" y="108"/>
                      </a:lnTo>
                      <a:close/>
                      <a:moveTo>
                        <a:pt x="108" y="32"/>
                      </a:moveTo>
                      <a:cubicBezTo>
                        <a:pt x="104" y="32"/>
                        <a:pt x="104" y="32"/>
                        <a:pt x="104" y="32"/>
                      </a:cubicBezTo>
                      <a:cubicBezTo>
                        <a:pt x="100" y="32"/>
                        <a:pt x="96" y="28"/>
                        <a:pt x="96" y="24"/>
                      </a:cubicBezTo>
                      <a:cubicBezTo>
                        <a:pt x="96" y="24"/>
                        <a:pt x="96" y="24"/>
                        <a:pt x="96" y="24"/>
                      </a:cubicBezTo>
                      <a:cubicBezTo>
                        <a:pt x="96" y="8"/>
                        <a:pt x="96" y="8"/>
                        <a:pt x="96" y="8"/>
                      </a:cubicBezTo>
                      <a:cubicBezTo>
                        <a:pt x="120" y="32"/>
                        <a:pt x="120" y="32"/>
                        <a:pt x="120" y="32"/>
                      </a:cubicBezTo>
                      <a:lnTo>
                        <a:pt x="108" y="32"/>
                      </a:lnTo>
                      <a:close/>
                    </a:path>
                  </a:pathLst>
                </a:custGeom>
                <a:grpFill/>
                <a:ln>
                  <a:noFill/>
                </a:ln>
              </p:spPr>
              <p:txBody>
                <a:bodyPr lIns="51435" tIns="25718" rIns="51435" bIns="25718"/>
                <a:lstStyle/>
                <a:p>
                  <a:pPr defTabSz="514350">
                    <a:defRPr/>
                  </a:pPr>
                  <a:endParaRPr lang="id-ID" sz="760"/>
                </a:p>
              </p:txBody>
            </p:sp>
            <p:sp>
              <p:nvSpPr>
                <p:cNvPr id="58" name="Freeform 79"/>
                <p:cNvSpPr/>
                <p:nvPr/>
              </p:nvSpPr>
              <p:spPr bwMode="auto">
                <a:xfrm>
                  <a:off x="3200400" y="2162176"/>
                  <a:ext cx="90487" cy="15875"/>
                </a:xfrm>
                <a:custGeom>
                  <a:gdLst>
                    <a:gd name="T0" fmla="*/ 2 w 24"/>
                    <a:gd name="T1" fmla="*/ 4 h 4"/>
                    <a:gd name="T2" fmla="*/ 22 w 24"/>
                    <a:gd name="T3" fmla="*/ 4 h 4"/>
                    <a:gd name="T4" fmla="*/ 24 w 24"/>
                    <a:gd name="T5" fmla="*/ 2 h 4"/>
                    <a:gd name="T6" fmla="*/ 22 w 24"/>
                    <a:gd name="T7" fmla="*/ 0 h 4"/>
                    <a:gd name="T8" fmla="*/ 2 w 24"/>
                    <a:gd name="T9" fmla="*/ 0 h 4"/>
                    <a:gd name="T10" fmla="*/ 0 w 24"/>
                    <a:gd name="T11" fmla="*/ 2 h 4"/>
                    <a:gd name="T12" fmla="*/ 2 w 24"/>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24" h="4">
                      <a:moveTo>
                        <a:pt x="2" y="4"/>
                      </a:moveTo>
                      <a:cubicBezTo>
                        <a:pt x="22" y="4"/>
                        <a:pt x="22" y="4"/>
                        <a:pt x="22" y="4"/>
                      </a:cubicBezTo>
                      <a:cubicBezTo>
                        <a:pt x="23" y="4"/>
                        <a:pt x="24" y="3"/>
                        <a:pt x="24" y="2"/>
                      </a:cubicBezTo>
                      <a:cubicBezTo>
                        <a:pt x="24" y="1"/>
                        <a:pt x="23" y="0"/>
                        <a:pt x="22" y="0"/>
                      </a:cubicBezTo>
                      <a:cubicBezTo>
                        <a:pt x="2" y="0"/>
                        <a:pt x="2" y="0"/>
                        <a:pt x="2" y="0"/>
                      </a:cubicBezTo>
                      <a:cubicBezTo>
                        <a:pt x="1" y="0"/>
                        <a:pt x="0" y="1"/>
                        <a:pt x="0" y="2"/>
                      </a:cubicBezTo>
                      <a:cubicBezTo>
                        <a:pt x="0" y="3"/>
                        <a:pt x="1" y="4"/>
                        <a:pt x="2" y="4"/>
                      </a:cubicBezTo>
                      <a:close/>
                    </a:path>
                  </a:pathLst>
                </a:custGeom>
                <a:grpFill/>
                <a:ln>
                  <a:noFill/>
                </a:ln>
              </p:spPr>
              <p:txBody>
                <a:bodyPr lIns="51435" tIns="25718" rIns="51435" bIns="25718"/>
                <a:lstStyle/>
                <a:p>
                  <a:pPr defTabSz="514350">
                    <a:defRPr/>
                  </a:pPr>
                  <a:endParaRPr lang="id-ID" sz="760"/>
                </a:p>
              </p:txBody>
            </p:sp>
            <p:sp>
              <p:nvSpPr>
                <p:cNvPr id="59" name="Freeform 80"/>
                <p:cNvSpPr/>
                <p:nvPr/>
              </p:nvSpPr>
              <p:spPr bwMode="auto">
                <a:xfrm>
                  <a:off x="3200400" y="2208213"/>
                  <a:ext cx="90487" cy="14288"/>
                </a:xfrm>
                <a:custGeom>
                  <a:gdLst>
                    <a:gd name="T0" fmla="*/ 2 w 24"/>
                    <a:gd name="T1" fmla="*/ 4 h 4"/>
                    <a:gd name="T2" fmla="*/ 22 w 24"/>
                    <a:gd name="T3" fmla="*/ 4 h 4"/>
                    <a:gd name="T4" fmla="*/ 24 w 24"/>
                    <a:gd name="T5" fmla="*/ 2 h 4"/>
                    <a:gd name="T6" fmla="*/ 22 w 24"/>
                    <a:gd name="T7" fmla="*/ 0 h 4"/>
                    <a:gd name="T8" fmla="*/ 2 w 24"/>
                    <a:gd name="T9" fmla="*/ 0 h 4"/>
                    <a:gd name="T10" fmla="*/ 0 w 24"/>
                    <a:gd name="T11" fmla="*/ 2 h 4"/>
                    <a:gd name="T12" fmla="*/ 2 w 24"/>
                    <a:gd name="T13" fmla="*/ 4 h 4"/>
                  </a:gdLst>
                  <a:cxnLst>
                    <a:cxn ang="0">
                      <a:pos x="T0" y="T1"/>
                    </a:cxn>
                    <a:cxn ang="0">
                      <a:pos x="T2" y="T3"/>
                    </a:cxn>
                    <a:cxn ang="0">
                      <a:pos x="T4" y="T5"/>
                    </a:cxn>
                    <a:cxn ang="0">
                      <a:pos x="T6" y="T7"/>
                    </a:cxn>
                    <a:cxn ang="0">
                      <a:pos x="T8" y="T9"/>
                    </a:cxn>
                    <a:cxn ang="0">
                      <a:pos x="T10" y="T11"/>
                    </a:cxn>
                    <a:cxn ang="0">
                      <a:pos x="T12" y="T13"/>
                    </a:cxn>
                  </a:cxnLst>
                  <a:rect l="0" t="0" r="r" b="b"/>
                  <a:pathLst>
                    <a:path w="24" h="4">
                      <a:moveTo>
                        <a:pt x="2" y="4"/>
                      </a:moveTo>
                      <a:cubicBezTo>
                        <a:pt x="22" y="4"/>
                        <a:pt x="22" y="4"/>
                        <a:pt x="22" y="4"/>
                      </a:cubicBezTo>
                      <a:cubicBezTo>
                        <a:pt x="23" y="4"/>
                        <a:pt x="24" y="3"/>
                        <a:pt x="24" y="2"/>
                      </a:cubicBezTo>
                      <a:cubicBezTo>
                        <a:pt x="24" y="1"/>
                        <a:pt x="23" y="0"/>
                        <a:pt x="22" y="0"/>
                      </a:cubicBezTo>
                      <a:cubicBezTo>
                        <a:pt x="2" y="0"/>
                        <a:pt x="2" y="0"/>
                        <a:pt x="2" y="0"/>
                      </a:cubicBezTo>
                      <a:cubicBezTo>
                        <a:pt x="1" y="0"/>
                        <a:pt x="0" y="1"/>
                        <a:pt x="0" y="2"/>
                      </a:cubicBezTo>
                      <a:cubicBezTo>
                        <a:pt x="0" y="3"/>
                        <a:pt x="1" y="4"/>
                        <a:pt x="2" y="4"/>
                      </a:cubicBezTo>
                      <a:close/>
                    </a:path>
                  </a:pathLst>
                </a:custGeom>
                <a:grpFill/>
                <a:ln>
                  <a:noFill/>
                </a:ln>
              </p:spPr>
              <p:txBody>
                <a:bodyPr lIns="51435" tIns="25718" rIns="51435" bIns="25718"/>
                <a:lstStyle/>
                <a:p>
                  <a:pPr defTabSz="514350">
                    <a:defRPr/>
                  </a:pPr>
                  <a:endParaRPr lang="id-ID" sz="760"/>
                </a:p>
              </p:txBody>
            </p:sp>
            <p:sp>
              <p:nvSpPr>
                <p:cNvPr id="60" name="Freeform 81"/>
                <p:cNvSpPr/>
                <p:nvPr/>
              </p:nvSpPr>
              <p:spPr bwMode="auto">
                <a:xfrm>
                  <a:off x="3200400" y="2252663"/>
                  <a:ext cx="196850" cy="15875"/>
                </a:xfrm>
                <a:custGeom>
                  <a:gdLst>
                    <a:gd name="T0" fmla="*/ 0 w 52"/>
                    <a:gd name="T1" fmla="*/ 2 h 4"/>
                    <a:gd name="T2" fmla="*/ 2 w 52"/>
                    <a:gd name="T3" fmla="*/ 4 h 4"/>
                    <a:gd name="T4" fmla="*/ 50 w 52"/>
                    <a:gd name="T5" fmla="*/ 4 h 4"/>
                    <a:gd name="T6" fmla="*/ 52 w 52"/>
                    <a:gd name="T7" fmla="*/ 2 h 4"/>
                    <a:gd name="T8" fmla="*/ 50 w 52"/>
                    <a:gd name="T9" fmla="*/ 0 h 4"/>
                    <a:gd name="T10" fmla="*/ 2 w 52"/>
                    <a:gd name="T11" fmla="*/ 0 h 4"/>
                    <a:gd name="T12" fmla="*/ 0 w 52"/>
                    <a:gd name="T13" fmla="*/ 2 h 4"/>
                  </a:gdLst>
                  <a:cxnLst>
                    <a:cxn ang="0">
                      <a:pos x="T0" y="T1"/>
                    </a:cxn>
                    <a:cxn ang="0">
                      <a:pos x="T2" y="T3"/>
                    </a:cxn>
                    <a:cxn ang="0">
                      <a:pos x="T4" y="T5"/>
                    </a:cxn>
                    <a:cxn ang="0">
                      <a:pos x="T6" y="T7"/>
                    </a:cxn>
                    <a:cxn ang="0">
                      <a:pos x="T8" y="T9"/>
                    </a:cxn>
                    <a:cxn ang="0">
                      <a:pos x="T10" y="T11"/>
                    </a:cxn>
                    <a:cxn ang="0">
                      <a:pos x="T12" y="T13"/>
                    </a:cxn>
                  </a:cxnLst>
                  <a:rect l="0" t="0" r="r" b="b"/>
                  <a:pathLst>
                    <a:path w="52" h="4">
                      <a:moveTo>
                        <a:pt x="0" y="2"/>
                      </a:moveTo>
                      <a:cubicBezTo>
                        <a:pt x="0" y="3"/>
                        <a:pt x="1" y="4"/>
                        <a:pt x="2" y="4"/>
                      </a:cubicBezTo>
                      <a:cubicBezTo>
                        <a:pt x="50" y="4"/>
                        <a:pt x="50" y="4"/>
                        <a:pt x="50" y="4"/>
                      </a:cubicBezTo>
                      <a:cubicBezTo>
                        <a:pt x="51" y="4"/>
                        <a:pt x="52" y="3"/>
                        <a:pt x="52" y="2"/>
                      </a:cubicBezTo>
                      <a:cubicBezTo>
                        <a:pt x="52" y="1"/>
                        <a:pt x="51" y="0"/>
                        <a:pt x="50" y="0"/>
                      </a:cubicBezTo>
                      <a:cubicBezTo>
                        <a:pt x="2" y="0"/>
                        <a:pt x="2" y="0"/>
                        <a:pt x="2" y="0"/>
                      </a:cubicBezTo>
                      <a:cubicBezTo>
                        <a:pt x="1" y="0"/>
                        <a:pt x="0" y="1"/>
                        <a:pt x="0" y="2"/>
                      </a:cubicBezTo>
                      <a:close/>
                    </a:path>
                  </a:pathLst>
                </a:custGeom>
                <a:grpFill/>
                <a:ln>
                  <a:noFill/>
                </a:ln>
              </p:spPr>
              <p:txBody>
                <a:bodyPr lIns="51435" tIns="25718" rIns="51435" bIns="25718"/>
                <a:lstStyle/>
                <a:p>
                  <a:pPr defTabSz="514350">
                    <a:defRPr/>
                  </a:pPr>
                  <a:endParaRPr lang="id-ID" sz="760"/>
                </a:p>
              </p:txBody>
            </p:sp>
            <p:sp>
              <p:nvSpPr>
                <p:cNvPr id="61" name="Freeform 82"/>
                <p:cNvSpPr/>
                <p:nvPr/>
              </p:nvSpPr>
              <p:spPr bwMode="auto">
                <a:xfrm>
                  <a:off x="3035300" y="2343151"/>
                  <a:ext cx="361950" cy="15875"/>
                </a:xfrm>
                <a:custGeom>
                  <a:gdLst>
                    <a:gd name="T0" fmla="*/ 94 w 96"/>
                    <a:gd name="T1" fmla="*/ 0 h 4"/>
                    <a:gd name="T2" fmla="*/ 2 w 96"/>
                    <a:gd name="T3" fmla="*/ 0 h 4"/>
                    <a:gd name="T4" fmla="*/ 0 w 96"/>
                    <a:gd name="T5" fmla="*/ 2 h 4"/>
                    <a:gd name="T6" fmla="*/ 2 w 96"/>
                    <a:gd name="T7" fmla="*/ 4 h 4"/>
                    <a:gd name="T8" fmla="*/ 94 w 96"/>
                    <a:gd name="T9" fmla="*/ 4 h 4"/>
                    <a:gd name="T10" fmla="*/ 96 w 96"/>
                    <a:gd name="T11" fmla="*/ 2 h 4"/>
                    <a:gd name="T12" fmla="*/ 94 w 96"/>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96" h="4">
                      <a:moveTo>
                        <a:pt x="94" y="0"/>
                      </a:moveTo>
                      <a:cubicBezTo>
                        <a:pt x="2" y="0"/>
                        <a:pt x="2" y="0"/>
                        <a:pt x="2" y="0"/>
                      </a:cubicBezTo>
                      <a:cubicBezTo>
                        <a:pt x="1" y="0"/>
                        <a:pt x="0" y="1"/>
                        <a:pt x="0" y="2"/>
                      </a:cubicBezTo>
                      <a:cubicBezTo>
                        <a:pt x="0" y="3"/>
                        <a:pt x="1" y="4"/>
                        <a:pt x="2" y="4"/>
                      </a:cubicBezTo>
                      <a:cubicBezTo>
                        <a:pt x="94" y="4"/>
                        <a:pt x="94" y="4"/>
                        <a:pt x="94" y="4"/>
                      </a:cubicBezTo>
                      <a:cubicBezTo>
                        <a:pt x="95" y="4"/>
                        <a:pt x="96" y="3"/>
                        <a:pt x="96" y="2"/>
                      </a:cubicBezTo>
                      <a:cubicBezTo>
                        <a:pt x="96" y="1"/>
                        <a:pt x="95" y="0"/>
                        <a:pt x="94" y="0"/>
                      </a:cubicBezTo>
                      <a:close/>
                    </a:path>
                  </a:pathLst>
                </a:custGeom>
                <a:grpFill/>
                <a:ln>
                  <a:noFill/>
                </a:ln>
              </p:spPr>
              <p:txBody>
                <a:bodyPr lIns="51435" tIns="25718" rIns="51435" bIns="25718"/>
                <a:lstStyle/>
                <a:p>
                  <a:pPr defTabSz="514350">
                    <a:defRPr/>
                  </a:pPr>
                  <a:endParaRPr lang="id-ID" sz="760"/>
                </a:p>
              </p:txBody>
            </p:sp>
            <p:sp>
              <p:nvSpPr>
                <p:cNvPr id="62" name="Freeform 83"/>
                <p:cNvSpPr/>
                <p:nvPr/>
              </p:nvSpPr>
              <p:spPr bwMode="auto">
                <a:xfrm>
                  <a:off x="3035300" y="2389188"/>
                  <a:ext cx="361950" cy="14288"/>
                </a:xfrm>
                <a:custGeom>
                  <a:gdLst>
                    <a:gd name="T0" fmla="*/ 94 w 96"/>
                    <a:gd name="T1" fmla="*/ 0 h 4"/>
                    <a:gd name="T2" fmla="*/ 2 w 96"/>
                    <a:gd name="T3" fmla="*/ 0 h 4"/>
                    <a:gd name="T4" fmla="*/ 0 w 96"/>
                    <a:gd name="T5" fmla="*/ 2 h 4"/>
                    <a:gd name="T6" fmla="*/ 2 w 96"/>
                    <a:gd name="T7" fmla="*/ 4 h 4"/>
                    <a:gd name="T8" fmla="*/ 94 w 96"/>
                    <a:gd name="T9" fmla="*/ 4 h 4"/>
                    <a:gd name="T10" fmla="*/ 96 w 96"/>
                    <a:gd name="T11" fmla="*/ 2 h 4"/>
                    <a:gd name="T12" fmla="*/ 94 w 96"/>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96" h="4">
                      <a:moveTo>
                        <a:pt x="94" y="0"/>
                      </a:moveTo>
                      <a:cubicBezTo>
                        <a:pt x="2" y="0"/>
                        <a:pt x="2" y="0"/>
                        <a:pt x="2" y="0"/>
                      </a:cubicBezTo>
                      <a:cubicBezTo>
                        <a:pt x="1" y="0"/>
                        <a:pt x="0" y="1"/>
                        <a:pt x="0" y="2"/>
                      </a:cubicBezTo>
                      <a:cubicBezTo>
                        <a:pt x="0" y="3"/>
                        <a:pt x="1" y="4"/>
                        <a:pt x="2" y="4"/>
                      </a:cubicBezTo>
                      <a:cubicBezTo>
                        <a:pt x="94" y="4"/>
                        <a:pt x="94" y="4"/>
                        <a:pt x="94" y="4"/>
                      </a:cubicBezTo>
                      <a:cubicBezTo>
                        <a:pt x="95" y="4"/>
                        <a:pt x="96" y="3"/>
                        <a:pt x="96" y="2"/>
                      </a:cubicBezTo>
                      <a:cubicBezTo>
                        <a:pt x="96" y="1"/>
                        <a:pt x="95" y="0"/>
                        <a:pt x="94" y="0"/>
                      </a:cubicBezTo>
                      <a:close/>
                    </a:path>
                  </a:pathLst>
                </a:custGeom>
                <a:grpFill/>
                <a:ln>
                  <a:noFill/>
                </a:ln>
              </p:spPr>
              <p:txBody>
                <a:bodyPr lIns="51435" tIns="25718" rIns="51435" bIns="25718"/>
                <a:lstStyle/>
                <a:p>
                  <a:pPr defTabSz="514350">
                    <a:defRPr/>
                  </a:pPr>
                  <a:endParaRPr lang="id-ID" sz="760"/>
                </a:p>
              </p:txBody>
            </p:sp>
            <p:sp>
              <p:nvSpPr>
                <p:cNvPr id="63" name="Freeform 84"/>
                <p:cNvSpPr/>
                <p:nvPr/>
              </p:nvSpPr>
              <p:spPr bwMode="auto">
                <a:xfrm>
                  <a:off x="3035300" y="2433638"/>
                  <a:ext cx="361950" cy="14288"/>
                </a:xfrm>
                <a:custGeom>
                  <a:gdLst>
                    <a:gd name="T0" fmla="*/ 94 w 96"/>
                    <a:gd name="T1" fmla="*/ 0 h 4"/>
                    <a:gd name="T2" fmla="*/ 2 w 96"/>
                    <a:gd name="T3" fmla="*/ 0 h 4"/>
                    <a:gd name="T4" fmla="*/ 0 w 96"/>
                    <a:gd name="T5" fmla="*/ 2 h 4"/>
                    <a:gd name="T6" fmla="*/ 2 w 96"/>
                    <a:gd name="T7" fmla="*/ 4 h 4"/>
                    <a:gd name="T8" fmla="*/ 94 w 96"/>
                    <a:gd name="T9" fmla="*/ 4 h 4"/>
                    <a:gd name="T10" fmla="*/ 96 w 96"/>
                    <a:gd name="T11" fmla="*/ 2 h 4"/>
                    <a:gd name="T12" fmla="*/ 94 w 96"/>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96" h="4">
                      <a:moveTo>
                        <a:pt x="94" y="0"/>
                      </a:moveTo>
                      <a:cubicBezTo>
                        <a:pt x="2" y="0"/>
                        <a:pt x="2" y="0"/>
                        <a:pt x="2" y="0"/>
                      </a:cubicBezTo>
                      <a:cubicBezTo>
                        <a:pt x="1" y="0"/>
                        <a:pt x="0" y="1"/>
                        <a:pt x="0" y="2"/>
                      </a:cubicBezTo>
                      <a:cubicBezTo>
                        <a:pt x="0" y="3"/>
                        <a:pt x="1" y="4"/>
                        <a:pt x="2" y="4"/>
                      </a:cubicBezTo>
                      <a:cubicBezTo>
                        <a:pt x="94" y="4"/>
                        <a:pt x="94" y="4"/>
                        <a:pt x="94" y="4"/>
                      </a:cubicBezTo>
                      <a:cubicBezTo>
                        <a:pt x="95" y="4"/>
                        <a:pt x="96" y="3"/>
                        <a:pt x="96" y="2"/>
                      </a:cubicBezTo>
                      <a:cubicBezTo>
                        <a:pt x="96" y="1"/>
                        <a:pt x="95" y="0"/>
                        <a:pt x="94" y="0"/>
                      </a:cubicBezTo>
                      <a:close/>
                    </a:path>
                  </a:pathLst>
                </a:custGeom>
                <a:grpFill/>
                <a:ln>
                  <a:noFill/>
                </a:ln>
              </p:spPr>
              <p:txBody>
                <a:bodyPr lIns="51435" tIns="25718" rIns="51435" bIns="25718"/>
                <a:lstStyle/>
                <a:p>
                  <a:pPr defTabSz="514350">
                    <a:defRPr/>
                  </a:pPr>
                  <a:endParaRPr lang="id-ID" sz="760"/>
                </a:p>
              </p:txBody>
            </p:sp>
            <p:sp>
              <p:nvSpPr>
                <p:cNvPr id="64" name="Freeform 85"/>
                <p:cNvSpPr/>
                <p:nvPr/>
              </p:nvSpPr>
              <p:spPr bwMode="auto">
                <a:xfrm>
                  <a:off x="3035300" y="2298701"/>
                  <a:ext cx="361950" cy="14288"/>
                </a:xfrm>
                <a:custGeom>
                  <a:gdLst>
                    <a:gd name="T0" fmla="*/ 94 w 96"/>
                    <a:gd name="T1" fmla="*/ 0 h 4"/>
                    <a:gd name="T2" fmla="*/ 2 w 96"/>
                    <a:gd name="T3" fmla="*/ 0 h 4"/>
                    <a:gd name="T4" fmla="*/ 0 w 96"/>
                    <a:gd name="T5" fmla="*/ 2 h 4"/>
                    <a:gd name="T6" fmla="*/ 2 w 96"/>
                    <a:gd name="T7" fmla="*/ 4 h 4"/>
                    <a:gd name="T8" fmla="*/ 94 w 96"/>
                    <a:gd name="T9" fmla="*/ 4 h 4"/>
                    <a:gd name="T10" fmla="*/ 96 w 96"/>
                    <a:gd name="T11" fmla="*/ 2 h 4"/>
                    <a:gd name="T12" fmla="*/ 94 w 96"/>
                    <a:gd name="T13" fmla="*/ 0 h 4"/>
                  </a:gdLst>
                  <a:cxnLst>
                    <a:cxn ang="0">
                      <a:pos x="T0" y="T1"/>
                    </a:cxn>
                    <a:cxn ang="0">
                      <a:pos x="T2" y="T3"/>
                    </a:cxn>
                    <a:cxn ang="0">
                      <a:pos x="T4" y="T5"/>
                    </a:cxn>
                    <a:cxn ang="0">
                      <a:pos x="T6" y="T7"/>
                    </a:cxn>
                    <a:cxn ang="0">
                      <a:pos x="T8" y="T9"/>
                    </a:cxn>
                    <a:cxn ang="0">
                      <a:pos x="T10" y="T11"/>
                    </a:cxn>
                    <a:cxn ang="0">
                      <a:pos x="T12" y="T13"/>
                    </a:cxn>
                  </a:cxnLst>
                  <a:rect l="0" t="0" r="r" b="b"/>
                  <a:pathLst>
                    <a:path w="96" h="4">
                      <a:moveTo>
                        <a:pt x="94" y="0"/>
                      </a:moveTo>
                      <a:cubicBezTo>
                        <a:pt x="2" y="0"/>
                        <a:pt x="2" y="0"/>
                        <a:pt x="2" y="0"/>
                      </a:cubicBezTo>
                      <a:cubicBezTo>
                        <a:pt x="1" y="0"/>
                        <a:pt x="0" y="1"/>
                        <a:pt x="0" y="2"/>
                      </a:cubicBezTo>
                      <a:cubicBezTo>
                        <a:pt x="0" y="3"/>
                        <a:pt x="1" y="4"/>
                        <a:pt x="2" y="4"/>
                      </a:cubicBezTo>
                      <a:cubicBezTo>
                        <a:pt x="94" y="4"/>
                        <a:pt x="94" y="4"/>
                        <a:pt x="94" y="4"/>
                      </a:cubicBezTo>
                      <a:cubicBezTo>
                        <a:pt x="95" y="4"/>
                        <a:pt x="96" y="3"/>
                        <a:pt x="96" y="2"/>
                      </a:cubicBezTo>
                      <a:cubicBezTo>
                        <a:pt x="96" y="1"/>
                        <a:pt x="95" y="0"/>
                        <a:pt x="94" y="0"/>
                      </a:cubicBezTo>
                      <a:close/>
                    </a:path>
                  </a:pathLst>
                </a:custGeom>
                <a:grpFill/>
                <a:ln>
                  <a:noFill/>
                </a:ln>
              </p:spPr>
              <p:txBody>
                <a:bodyPr lIns="51435" tIns="25718" rIns="51435" bIns="25718"/>
                <a:lstStyle/>
                <a:p>
                  <a:pPr defTabSz="514350">
                    <a:defRPr/>
                  </a:pPr>
                  <a:endParaRPr lang="id-ID" sz="760"/>
                </a:p>
              </p:txBody>
            </p:sp>
            <p:sp>
              <p:nvSpPr>
                <p:cNvPr id="65" name="Freeform 86"/>
                <p:cNvSpPr>
                  <a:spLocks noEditPoints="1"/>
                </p:cNvSpPr>
                <p:nvPr/>
              </p:nvSpPr>
              <p:spPr bwMode="auto">
                <a:xfrm>
                  <a:off x="3035300" y="2147888"/>
                  <a:ext cx="134937" cy="120650"/>
                </a:xfrm>
                <a:custGeom>
                  <a:gdLst>
                    <a:gd name="T0" fmla="*/ 4 w 36"/>
                    <a:gd name="T1" fmla="*/ 32 h 32"/>
                    <a:gd name="T2" fmla="*/ 32 w 36"/>
                    <a:gd name="T3" fmla="*/ 32 h 32"/>
                    <a:gd name="T4" fmla="*/ 36 w 36"/>
                    <a:gd name="T5" fmla="*/ 28 h 32"/>
                    <a:gd name="T6" fmla="*/ 36 w 36"/>
                    <a:gd name="T7" fmla="*/ 4 h 32"/>
                    <a:gd name="T8" fmla="*/ 32 w 36"/>
                    <a:gd name="T9" fmla="*/ 0 h 32"/>
                    <a:gd name="T10" fmla="*/ 4 w 36"/>
                    <a:gd name="T11" fmla="*/ 0 h 32"/>
                    <a:gd name="T12" fmla="*/ 0 w 36"/>
                    <a:gd name="T13" fmla="*/ 4 h 32"/>
                    <a:gd name="T14" fmla="*/ 0 w 36"/>
                    <a:gd name="T15" fmla="*/ 28 h 32"/>
                    <a:gd name="T16" fmla="*/ 4 w 36"/>
                    <a:gd name="T17" fmla="*/ 32 h 32"/>
                    <a:gd name="T18" fmla="*/ 8 w 36"/>
                    <a:gd name="T19" fmla="*/ 8 h 32"/>
                    <a:gd name="T20" fmla="*/ 28 w 36"/>
                    <a:gd name="T21" fmla="*/ 8 h 32"/>
                    <a:gd name="T22" fmla="*/ 28 w 36"/>
                    <a:gd name="T23" fmla="*/ 24 h 32"/>
                    <a:gd name="T24" fmla="*/ 8 w 36"/>
                    <a:gd name="T25" fmla="*/ 24 h 32"/>
                    <a:gd name="T26" fmla="*/ 8 w 36"/>
                    <a:gd name="T27" fmla="*/ 8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2">
                      <a:moveTo>
                        <a:pt x="4" y="32"/>
                      </a:moveTo>
                      <a:cubicBezTo>
                        <a:pt x="32" y="32"/>
                        <a:pt x="32" y="32"/>
                        <a:pt x="32" y="32"/>
                      </a:cubicBezTo>
                      <a:cubicBezTo>
                        <a:pt x="34" y="32"/>
                        <a:pt x="36" y="30"/>
                        <a:pt x="36" y="28"/>
                      </a:cubicBezTo>
                      <a:cubicBezTo>
                        <a:pt x="36" y="4"/>
                        <a:pt x="36" y="4"/>
                        <a:pt x="36" y="4"/>
                      </a:cubicBezTo>
                      <a:cubicBezTo>
                        <a:pt x="36" y="2"/>
                        <a:pt x="34" y="0"/>
                        <a:pt x="32" y="0"/>
                      </a:cubicBezTo>
                      <a:cubicBezTo>
                        <a:pt x="4" y="0"/>
                        <a:pt x="4" y="0"/>
                        <a:pt x="4" y="0"/>
                      </a:cubicBezTo>
                      <a:cubicBezTo>
                        <a:pt x="2" y="0"/>
                        <a:pt x="0" y="2"/>
                        <a:pt x="0" y="4"/>
                      </a:cubicBezTo>
                      <a:cubicBezTo>
                        <a:pt x="0" y="28"/>
                        <a:pt x="0" y="28"/>
                        <a:pt x="0" y="28"/>
                      </a:cubicBezTo>
                      <a:cubicBezTo>
                        <a:pt x="0" y="30"/>
                        <a:pt x="2" y="32"/>
                        <a:pt x="4" y="32"/>
                      </a:cubicBezTo>
                      <a:close/>
                      <a:moveTo>
                        <a:pt x="8" y="8"/>
                      </a:moveTo>
                      <a:cubicBezTo>
                        <a:pt x="28" y="8"/>
                        <a:pt x="28" y="8"/>
                        <a:pt x="28" y="8"/>
                      </a:cubicBezTo>
                      <a:cubicBezTo>
                        <a:pt x="28" y="24"/>
                        <a:pt x="28" y="24"/>
                        <a:pt x="28" y="24"/>
                      </a:cubicBezTo>
                      <a:cubicBezTo>
                        <a:pt x="8" y="24"/>
                        <a:pt x="8" y="24"/>
                        <a:pt x="8" y="24"/>
                      </a:cubicBezTo>
                      <a:lnTo>
                        <a:pt x="8" y="8"/>
                      </a:lnTo>
                      <a:close/>
                    </a:path>
                  </a:pathLst>
                </a:custGeom>
                <a:grpFill/>
                <a:ln>
                  <a:noFill/>
                </a:ln>
              </p:spPr>
              <p:txBody>
                <a:bodyPr lIns="51435" tIns="25718" rIns="51435" bIns="25718"/>
                <a:lstStyle/>
                <a:p>
                  <a:pPr defTabSz="514350">
                    <a:defRPr/>
                  </a:pPr>
                  <a:endParaRPr lang="id-ID" sz="760"/>
                </a:p>
              </p:txBody>
            </p:sp>
          </p:grpSp>
          <p:grpSp>
            <p:nvGrpSpPr>
              <p:cNvPr id="12" name="Group 31"/>
              <p:cNvGrpSpPr/>
              <p:nvPr/>
            </p:nvGrpSpPr>
            <p:grpSpPr>
              <a:xfrm>
                <a:off x="9983081" y="717253"/>
                <a:ext cx="450850" cy="482600"/>
                <a:chOff x="2027238" y="2071688"/>
                <a:chExt cx="450850" cy="482600"/>
              </a:xfrm>
              <a:solidFill>
                <a:schemeClr val="bg1"/>
              </a:solidFill>
            </p:grpSpPr>
            <p:sp>
              <p:nvSpPr>
                <p:cNvPr id="54" name="Freeform 87"/>
                <p:cNvSpPr>
                  <a:spLocks noEditPoints="1"/>
                </p:cNvSpPr>
                <p:nvPr/>
              </p:nvSpPr>
              <p:spPr bwMode="auto">
                <a:xfrm>
                  <a:off x="2027238" y="2071688"/>
                  <a:ext cx="450850" cy="482600"/>
                </a:xfrm>
                <a:custGeom>
                  <a:gdLst>
                    <a:gd name="T0" fmla="*/ 104 w 120"/>
                    <a:gd name="T1" fmla="*/ 0 h 128"/>
                    <a:gd name="T2" fmla="*/ 16 w 120"/>
                    <a:gd name="T3" fmla="*/ 0 h 128"/>
                    <a:gd name="T4" fmla="*/ 0 w 120"/>
                    <a:gd name="T5" fmla="*/ 16 h 128"/>
                    <a:gd name="T6" fmla="*/ 0 w 120"/>
                    <a:gd name="T7" fmla="*/ 112 h 128"/>
                    <a:gd name="T8" fmla="*/ 16 w 120"/>
                    <a:gd name="T9" fmla="*/ 128 h 128"/>
                    <a:gd name="T10" fmla="*/ 104 w 120"/>
                    <a:gd name="T11" fmla="*/ 128 h 128"/>
                    <a:gd name="T12" fmla="*/ 120 w 120"/>
                    <a:gd name="T13" fmla="*/ 112 h 128"/>
                    <a:gd name="T14" fmla="*/ 120 w 120"/>
                    <a:gd name="T15" fmla="*/ 16 h 128"/>
                    <a:gd name="T16" fmla="*/ 104 w 120"/>
                    <a:gd name="T17" fmla="*/ 0 h 128"/>
                    <a:gd name="T18" fmla="*/ 112 w 120"/>
                    <a:gd name="T19" fmla="*/ 112 h 128"/>
                    <a:gd name="T20" fmla="*/ 104 w 120"/>
                    <a:gd name="T21" fmla="*/ 120 h 128"/>
                    <a:gd name="T22" fmla="*/ 16 w 120"/>
                    <a:gd name="T23" fmla="*/ 120 h 128"/>
                    <a:gd name="T24" fmla="*/ 8 w 120"/>
                    <a:gd name="T25" fmla="*/ 112 h 128"/>
                    <a:gd name="T26" fmla="*/ 8 w 120"/>
                    <a:gd name="T27" fmla="*/ 16 h 128"/>
                    <a:gd name="T28" fmla="*/ 16 w 120"/>
                    <a:gd name="T29" fmla="*/ 8 h 128"/>
                    <a:gd name="T30" fmla="*/ 104 w 120"/>
                    <a:gd name="T31" fmla="*/ 8 h 128"/>
                    <a:gd name="T32" fmla="*/ 112 w 120"/>
                    <a:gd name="T33" fmla="*/ 16 h 128"/>
                    <a:gd name="T34" fmla="*/ 112 w 120"/>
                    <a:gd name="T35" fmla="*/ 112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04" y="0"/>
                      </a:moveTo>
                      <a:cubicBezTo>
                        <a:pt x="16" y="0"/>
                        <a:pt x="16" y="0"/>
                        <a:pt x="16" y="0"/>
                      </a:cubicBezTo>
                      <a:cubicBezTo>
                        <a:pt x="7" y="0"/>
                        <a:pt x="0" y="7"/>
                        <a:pt x="0" y="16"/>
                      </a:cubicBezTo>
                      <a:cubicBezTo>
                        <a:pt x="0" y="112"/>
                        <a:pt x="0" y="112"/>
                        <a:pt x="0" y="112"/>
                      </a:cubicBezTo>
                      <a:cubicBezTo>
                        <a:pt x="0" y="121"/>
                        <a:pt x="7" y="128"/>
                        <a:pt x="16" y="128"/>
                      </a:cubicBezTo>
                      <a:cubicBezTo>
                        <a:pt x="104" y="128"/>
                        <a:pt x="104" y="128"/>
                        <a:pt x="104" y="128"/>
                      </a:cubicBezTo>
                      <a:cubicBezTo>
                        <a:pt x="113" y="128"/>
                        <a:pt x="120" y="121"/>
                        <a:pt x="120" y="112"/>
                      </a:cubicBezTo>
                      <a:cubicBezTo>
                        <a:pt x="120" y="16"/>
                        <a:pt x="120" y="16"/>
                        <a:pt x="120" y="16"/>
                      </a:cubicBezTo>
                      <a:cubicBezTo>
                        <a:pt x="120" y="7"/>
                        <a:pt x="113" y="0"/>
                        <a:pt x="104" y="0"/>
                      </a:cubicBezTo>
                      <a:close/>
                      <a:moveTo>
                        <a:pt x="112" y="112"/>
                      </a:moveTo>
                      <a:cubicBezTo>
                        <a:pt x="112" y="116"/>
                        <a:pt x="108" y="120"/>
                        <a:pt x="104" y="120"/>
                      </a:cubicBezTo>
                      <a:cubicBezTo>
                        <a:pt x="16" y="120"/>
                        <a:pt x="16" y="120"/>
                        <a:pt x="16" y="120"/>
                      </a:cubicBezTo>
                      <a:cubicBezTo>
                        <a:pt x="12" y="120"/>
                        <a:pt x="8" y="116"/>
                        <a:pt x="8" y="112"/>
                      </a:cubicBezTo>
                      <a:cubicBezTo>
                        <a:pt x="8" y="16"/>
                        <a:pt x="8" y="16"/>
                        <a:pt x="8" y="16"/>
                      </a:cubicBezTo>
                      <a:cubicBezTo>
                        <a:pt x="8" y="12"/>
                        <a:pt x="12" y="8"/>
                        <a:pt x="16" y="8"/>
                      </a:cubicBezTo>
                      <a:cubicBezTo>
                        <a:pt x="104" y="8"/>
                        <a:pt x="104" y="8"/>
                        <a:pt x="104" y="8"/>
                      </a:cubicBezTo>
                      <a:cubicBezTo>
                        <a:pt x="108" y="8"/>
                        <a:pt x="112" y="12"/>
                        <a:pt x="112" y="16"/>
                      </a:cubicBezTo>
                      <a:lnTo>
                        <a:pt x="112" y="112"/>
                      </a:lnTo>
                      <a:close/>
                    </a:path>
                  </a:pathLst>
                </a:custGeom>
                <a:grpFill/>
                <a:ln>
                  <a:noFill/>
                </a:ln>
              </p:spPr>
              <p:txBody>
                <a:bodyPr lIns="51435" tIns="25718" rIns="51435" bIns="25718"/>
                <a:lstStyle/>
                <a:p>
                  <a:pPr defTabSz="514350">
                    <a:defRPr/>
                  </a:pPr>
                  <a:endParaRPr lang="id-ID" sz="760"/>
                </a:p>
              </p:txBody>
            </p:sp>
            <p:sp>
              <p:nvSpPr>
                <p:cNvPr id="55" name="Freeform 88"/>
                <p:cNvSpPr>
                  <a:spLocks noEditPoints="1"/>
                </p:cNvSpPr>
                <p:nvPr/>
              </p:nvSpPr>
              <p:spPr bwMode="auto">
                <a:xfrm>
                  <a:off x="2087563" y="2132013"/>
                  <a:ext cx="330200" cy="301625"/>
                </a:xfrm>
                <a:custGeom>
                  <a:gdLst>
                    <a:gd name="T0" fmla="*/ 84 w 88"/>
                    <a:gd name="T1" fmla="*/ 0 h 80"/>
                    <a:gd name="T2" fmla="*/ 4 w 88"/>
                    <a:gd name="T3" fmla="*/ 0 h 80"/>
                    <a:gd name="T4" fmla="*/ 0 w 88"/>
                    <a:gd name="T5" fmla="*/ 4 h 80"/>
                    <a:gd name="T6" fmla="*/ 0 w 88"/>
                    <a:gd name="T7" fmla="*/ 76 h 80"/>
                    <a:gd name="T8" fmla="*/ 4 w 88"/>
                    <a:gd name="T9" fmla="*/ 80 h 80"/>
                    <a:gd name="T10" fmla="*/ 84 w 88"/>
                    <a:gd name="T11" fmla="*/ 80 h 80"/>
                    <a:gd name="T12" fmla="*/ 88 w 88"/>
                    <a:gd name="T13" fmla="*/ 76 h 80"/>
                    <a:gd name="T14" fmla="*/ 88 w 88"/>
                    <a:gd name="T15" fmla="*/ 4 h 80"/>
                    <a:gd name="T16" fmla="*/ 84 w 88"/>
                    <a:gd name="T17" fmla="*/ 0 h 80"/>
                    <a:gd name="T18" fmla="*/ 84 w 88"/>
                    <a:gd name="T19" fmla="*/ 4 h 80"/>
                    <a:gd name="T20" fmla="*/ 84 w 88"/>
                    <a:gd name="T21" fmla="*/ 59 h 80"/>
                    <a:gd name="T22" fmla="*/ 71 w 88"/>
                    <a:gd name="T23" fmla="*/ 45 h 80"/>
                    <a:gd name="T24" fmla="*/ 68 w 88"/>
                    <a:gd name="T25" fmla="*/ 44 h 80"/>
                    <a:gd name="T26" fmla="*/ 65 w 88"/>
                    <a:gd name="T27" fmla="*/ 45 h 80"/>
                    <a:gd name="T28" fmla="*/ 55 w 88"/>
                    <a:gd name="T29" fmla="*/ 57 h 80"/>
                    <a:gd name="T30" fmla="*/ 23 w 88"/>
                    <a:gd name="T31" fmla="*/ 21 h 80"/>
                    <a:gd name="T32" fmla="*/ 20 w 88"/>
                    <a:gd name="T33" fmla="*/ 20 h 80"/>
                    <a:gd name="T34" fmla="*/ 17 w 88"/>
                    <a:gd name="T35" fmla="*/ 21 h 80"/>
                    <a:gd name="T36" fmla="*/ 4 w 88"/>
                    <a:gd name="T37" fmla="*/ 36 h 80"/>
                    <a:gd name="T38" fmla="*/ 4 w 88"/>
                    <a:gd name="T39" fmla="*/ 4 h 80"/>
                    <a:gd name="T40" fmla="*/ 84 w 88"/>
                    <a:gd name="T41" fmla="*/ 4 h 80"/>
                    <a:gd name="T42" fmla="*/ 4 w 88"/>
                    <a:gd name="T43" fmla="*/ 42 h 80"/>
                    <a:gd name="T44" fmla="*/ 20 w 88"/>
                    <a:gd name="T45" fmla="*/ 24 h 80"/>
                    <a:gd name="T46" fmla="*/ 52 w 88"/>
                    <a:gd name="T47" fmla="*/ 61 h 80"/>
                    <a:gd name="T48" fmla="*/ 55 w 88"/>
                    <a:gd name="T49" fmla="*/ 63 h 80"/>
                    <a:gd name="T50" fmla="*/ 66 w 88"/>
                    <a:gd name="T51" fmla="*/ 76 h 80"/>
                    <a:gd name="T52" fmla="*/ 4 w 88"/>
                    <a:gd name="T53" fmla="*/ 76 h 80"/>
                    <a:gd name="T54" fmla="*/ 4 w 88"/>
                    <a:gd name="T55" fmla="*/ 42 h 80"/>
                    <a:gd name="T56" fmla="*/ 71 w 88"/>
                    <a:gd name="T57" fmla="*/ 76 h 80"/>
                    <a:gd name="T58" fmla="*/ 57 w 88"/>
                    <a:gd name="T59" fmla="*/ 60 h 80"/>
                    <a:gd name="T60" fmla="*/ 68 w 88"/>
                    <a:gd name="T61" fmla="*/ 48 h 80"/>
                    <a:gd name="T62" fmla="*/ 84 w 88"/>
                    <a:gd name="T63" fmla="*/ 66 h 80"/>
                    <a:gd name="T64" fmla="*/ 84 w 88"/>
                    <a:gd name="T65" fmla="*/ 76 h 80"/>
                    <a:gd name="T66" fmla="*/ 71 w 88"/>
                    <a:gd name="T67" fmla="*/ 76 h 8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0">
                      <a:moveTo>
                        <a:pt x="84" y="0"/>
                      </a:moveTo>
                      <a:cubicBezTo>
                        <a:pt x="4" y="0"/>
                        <a:pt x="4" y="0"/>
                        <a:pt x="4" y="0"/>
                      </a:cubicBezTo>
                      <a:cubicBezTo>
                        <a:pt x="2" y="0"/>
                        <a:pt x="0" y="2"/>
                        <a:pt x="0" y="4"/>
                      </a:cubicBezTo>
                      <a:cubicBezTo>
                        <a:pt x="0" y="76"/>
                        <a:pt x="0" y="76"/>
                        <a:pt x="0" y="76"/>
                      </a:cubicBezTo>
                      <a:cubicBezTo>
                        <a:pt x="0" y="78"/>
                        <a:pt x="2" y="80"/>
                        <a:pt x="4" y="80"/>
                      </a:cubicBezTo>
                      <a:cubicBezTo>
                        <a:pt x="84" y="80"/>
                        <a:pt x="84" y="80"/>
                        <a:pt x="84" y="80"/>
                      </a:cubicBezTo>
                      <a:cubicBezTo>
                        <a:pt x="86" y="80"/>
                        <a:pt x="88" y="78"/>
                        <a:pt x="88" y="76"/>
                      </a:cubicBezTo>
                      <a:cubicBezTo>
                        <a:pt x="88" y="4"/>
                        <a:pt x="88" y="4"/>
                        <a:pt x="88" y="4"/>
                      </a:cubicBezTo>
                      <a:cubicBezTo>
                        <a:pt x="88" y="2"/>
                        <a:pt x="86" y="0"/>
                        <a:pt x="84" y="0"/>
                      </a:cubicBezTo>
                      <a:close/>
                      <a:moveTo>
                        <a:pt x="84" y="4"/>
                      </a:moveTo>
                      <a:cubicBezTo>
                        <a:pt x="84" y="59"/>
                        <a:pt x="84" y="59"/>
                        <a:pt x="84" y="59"/>
                      </a:cubicBezTo>
                      <a:cubicBezTo>
                        <a:pt x="71" y="45"/>
                        <a:pt x="71" y="45"/>
                        <a:pt x="71" y="45"/>
                      </a:cubicBezTo>
                      <a:cubicBezTo>
                        <a:pt x="70" y="44"/>
                        <a:pt x="69" y="44"/>
                        <a:pt x="68" y="44"/>
                      </a:cubicBezTo>
                      <a:cubicBezTo>
                        <a:pt x="67" y="44"/>
                        <a:pt x="66" y="44"/>
                        <a:pt x="65" y="45"/>
                      </a:cubicBezTo>
                      <a:cubicBezTo>
                        <a:pt x="55" y="57"/>
                        <a:pt x="55" y="57"/>
                        <a:pt x="55" y="57"/>
                      </a:cubicBezTo>
                      <a:cubicBezTo>
                        <a:pt x="23" y="21"/>
                        <a:pt x="23" y="21"/>
                        <a:pt x="23" y="21"/>
                      </a:cubicBezTo>
                      <a:cubicBezTo>
                        <a:pt x="22" y="20"/>
                        <a:pt x="21" y="20"/>
                        <a:pt x="20" y="20"/>
                      </a:cubicBezTo>
                      <a:cubicBezTo>
                        <a:pt x="19" y="20"/>
                        <a:pt x="18" y="20"/>
                        <a:pt x="17" y="21"/>
                      </a:cubicBezTo>
                      <a:cubicBezTo>
                        <a:pt x="4" y="36"/>
                        <a:pt x="4" y="36"/>
                        <a:pt x="4" y="36"/>
                      </a:cubicBezTo>
                      <a:cubicBezTo>
                        <a:pt x="4" y="4"/>
                        <a:pt x="4" y="4"/>
                        <a:pt x="4" y="4"/>
                      </a:cubicBezTo>
                      <a:lnTo>
                        <a:pt x="84" y="4"/>
                      </a:lnTo>
                      <a:close/>
                      <a:moveTo>
                        <a:pt x="4" y="42"/>
                      </a:moveTo>
                      <a:cubicBezTo>
                        <a:pt x="20" y="24"/>
                        <a:pt x="20" y="24"/>
                        <a:pt x="20" y="24"/>
                      </a:cubicBezTo>
                      <a:cubicBezTo>
                        <a:pt x="52" y="61"/>
                        <a:pt x="52" y="61"/>
                        <a:pt x="52" y="61"/>
                      </a:cubicBezTo>
                      <a:cubicBezTo>
                        <a:pt x="55" y="63"/>
                        <a:pt x="55" y="63"/>
                        <a:pt x="55" y="63"/>
                      </a:cubicBezTo>
                      <a:cubicBezTo>
                        <a:pt x="66" y="76"/>
                        <a:pt x="66" y="76"/>
                        <a:pt x="66" y="76"/>
                      </a:cubicBezTo>
                      <a:cubicBezTo>
                        <a:pt x="4" y="76"/>
                        <a:pt x="4" y="76"/>
                        <a:pt x="4" y="76"/>
                      </a:cubicBezTo>
                      <a:lnTo>
                        <a:pt x="4" y="42"/>
                      </a:lnTo>
                      <a:close/>
                      <a:moveTo>
                        <a:pt x="71" y="76"/>
                      </a:moveTo>
                      <a:cubicBezTo>
                        <a:pt x="57" y="60"/>
                        <a:pt x="57" y="60"/>
                        <a:pt x="57" y="60"/>
                      </a:cubicBezTo>
                      <a:cubicBezTo>
                        <a:pt x="68" y="48"/>
                        <a:pt x="68" y="48"/>
                        <a:pt x="68" y="48"/>
                      </a:cubicBezTo>
                      <a:cubicBezTo>
                        <a:pt x="84" y="66"/>
                        <a:pt x="84" y="66"/>
                        <a:pt x="84" y="66"/>
                      </a:cubicBezTo>
                      <a:cubicBezTo>
                        <a:pt x="84" y="76"/>
                        <a:pt x="84" y="76"/>
                        <a:pt x="84" y="76"/>
                      </a:cubicBezTo>
                      <a:lnTo>
                        <a:pt x="71" y="76"/>
                      </a:lnTo>
                      <a:close/>
                    </a:path>
                  </a:pathLst>
                </a:custGeom>
                <a:grpFill/>
                <a:ln>
                  <a:noFill/>
                </a:ln>
              </p:spPr>
              <p:txBody>
                <a:bodyPr lIns="51435" tIns="25718" rIns="51435" bIns="25718"/>
                <a:lstStyle/>
                <a:p>
                  <a:pPr defTabSz="514350">
                    <a:defRPr/>
                  </a:pPr>
                  <a:endParaRPr lang="id-ID" sz="760"/>
                </a:p>
              </p:txBody>
            </p:sp>
            <p:sp>
              <p:nvSpPr>
                <p:cNvPr id="56" name="Freeform 89"/>
                <p:cNvSpPr>
                  <a:spLocks noEditPoints="1"/>
                </p:cNvSpPr>
                <p:nvPr/>
              </p:nvSpPr>
              <p:spPr bwMode="auto">
                <a:xfrm>
                  <a:off x="2268538" y="2178051"/>
                  <a:ext cx="88900" cy="90488"/>
                </a:xfrm>
                <a:custGeom>
                  <a:gdLst>
                    <a:gd name="T0" fmla="*/ 12 w 24"/>
                    <a:gd name="T1" fmla="*/ 24 h 24"/>
                    <a:gd name="T2" fmla="*/ 24 w 24"/>
                    <a:gd name="T3" fmla="*/ 12 h 24"/>
                    <a:gd name="T4" fmla="*/ 12 w 24"/>
                    <a:gd name="T5" fmla="*/ 0 h 24"/>
                    <a:gd name="T6" fmla="*/ 0 w 24"/>
                    <a:gd name="T7" fmla="*/ 12 h 24"/>
                    <a:gd name="T8" fmla="*/ 12 w 24"/>
                    <a:gd name="T9" fmla="*/ 24 h 24"/>
                    <a:gd name="T10" fmla="*/ 12 w 24"/>
                    <a:gd name="T11" fmla="*/ 4 h 24"/>
                    <a:gd name="T12" fmla="*/ 20 w 24"/>
                    <a:gd name="T13" fmla="*/ 12 h 24"/>
                    <a:gd name="T14" fmla="*/ 12 w 24"/>
                    <a:gd name="T15" fmla="*/ 20 h 24"/>
                    <a:gd name="T16" fmla="*/ 4 w 24"/>
                    <a:gd name="T17" fmla="*/ 12 h 24"/>
                    <a:gd name="T18" fmla="*/ 12 w 24"/>
                    <a:gd name="T19" fmla="*/ 4 h 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19" y="24"/>
                        <a:pt x="24" y="19"/>
                        <a:pt x="24" y="12"/>
                      </a:cubicBezTo>
                      <a:cubicBezTo>
                        <a:pt x="24" y="5"/>
                        <a:pt x="19" y="0"/>
                        <a:pt x="12" y="0"/>
                      </a:cubicBezTo>
                      <a:cubicBezTo>
                        <a:pt x="5" y="0"/>
                        <a:pt x="0" y="5"/>
                        <a:pt x="0" y="12"/>
                      </a:cubicBezTo>
                      <a:cubicBezTo>
                        <a:pt x="0" y="19"/>
                        <a:pt x="5" y="24"/>
                        <a:pt x="12" y="24"/>
                      </a:cubicBezTo>
                      <a:close/>
                      <a:moveTo>
                        <a:pt x="12" y="4"/>
                      </a:moveTo>
                      <a:cubicBezTo>
                        <a:pt x="16" y="4"/>
                        <a:pt x="20" y="8"/>
                        <a:pt x="20" y="12"/>
                      </a:cubicBezTo>
                      <a:cubicBezTo>
                        <a:pt x="20" y="16"/>
                        <a:pt x="16" y="20"/>
                        <a:pt x="12" y="20"/>
                      </a:cubicBezTo>
                      <a:cubicBezTo>
                        <a:pt x="8" y="20"/>
                        <a:pt x="4" y="16"/>
                        <a:pt x="4" y="12"/>
                      </a:cubicBezTo>
                      <a:cubicBezTo>
                        <a:pt x="4" y="8"/>
                        <a:pt x="8" y="4"/>
                        <a:pt x="12" y="4"/>
                      </a:cubicBezTo>
                      <a:close/>
                    </a:path>
                  </a:pathLst>
                </a:custGeom>
                <a:grpFill/>
                <a:ln>
                  <a:noFill/>
                </a:ln>
              </p:spPr>
              <p:txBody>
                <a:bodyPr lIns="51435" tIns="25718" rIns="51435" bIns="25718"/>
                <a:lstStyle/>
                <a:p>
                  <a:pPr defTabSz="514350">
                    <a:defRPr/>
                  </a:pPr>
                  <a:endParaRPr lang="id-ID" sz="760"/>
                </a:p>
              </p:txBody>
            </p:sp>
          </p:grpSp>
          <p:grpSp>
            <p:nvGrpSpPr>
              <p:cNvPr id="13" name="Group 32"/>
              <p:cNvGrpSpPr/>
              <p:nvPr/>
            </p:nvGrpSpPr>
            <p:grpSpPr>
              <a:xfrm>
                <a:off x="10091435" y="2775575"/>
                <a:ext cx="481012" cy="482600"/>
                <a:chOff x="1049338" y="2071688"/>
                <a:chExt cx="481012" cy="482600"/>
              </a:xfrm>
              <a:solidFill>
                <a:schemeClr val="bg1"/>
              </a:solidFill>
            </p:grpSpPr>
            <p:sp>
              <p:nvSpPr>
                <p:cNvPr id="52" name="Freeform 90"/>
                <p:cNvSpPr>
                  <a:spLocks noEditPoints="1"/>
                </p:cNvSpPr>
                <p:nvPr/>
              </p:nvSpPr>
              <p:spPr bwMode="auto">
                <a:xfrm>
                  <a:off x="1049338" y="2071688"/>
                  <a:ext cx="481012" cy="482600"/>
                </a:xfrm>
                <a:custGeom>
                  <a:gdLst>
                    <a:gd name="T0" fmla="*/ 83 w 128"/>
                    <a:gd name="T1" fmla="*/ 40 h 128"/>
                    <a:gd name="T2" fmla="*/ 64 w 128"/>
                    <a:gd name="T3" fmla="*/ 0 h 128"/>
                    <a:gd name="T4" fmla="*/ 36 w 128"/>
                    <a:gd name="T5" fmla="*/ 41 h 128"/>
                    <a:gd name="T6" fmla="*/ 32 w 128"/>
                    <a:gd name="T7" fmla="*/ 43 h 128"/>
                    <a:gd name="T8" fmla="*/ 12 w 128"/>
                    <a:gd name="T9" fmla="*/ 40 h 128"/>
                    <a:gd name="T10" fmla="*/ 0 w 128"/>
                    <a:gd name="T11" fmla="*/ 116 h 128"/>
                    <a:gd name="T12" fmla="*/ 24 w 128"/>
                    <a:gd name="T13" fmla="*/ 128 h 128"/>
                    <a:gd name="T14" fmla="*/ 35 w 128"/>
                    <a:gd name="T15" fmla="*/ 121 h 128"/>
                    <a:gd name="T16" fmla="*/ 36 w 128"/>
                    <a:gd name="T17" fmla="*/ 121 h 128"/>
                    <a:gd name="T18" fmla="*/ 76 w 128"/>
                    <a:gd name="T19" fmla="*/ 128 h 128"/>
                    <a:gd name="T20" fmla="*/ 112 w 128"/>
                    <a:gd name="T21" fmla="*/ 120 h 128"/>
                    <a:gd name="T22" fmla="*/ 114 w 128"/>
                    <a:gd name="T23" fmla="*/ 109 h 128"/>
                    <a:gd name="T24" fmla="*/ 121 w 128"/>
                    <a:gd name="T25" fmla="*/ 88 h 128"/>
                    <a:gd name="T26" fmla="*/ 124 w 128"/>
                    <a:gd name="T27" fmla="*/ 67 h 128"/>
                    <a:gd name="T28" fmla="*/ 128 w 128"/>
                    <a:gd name="T29" fmla="*/ 58 h 128"/>
                    <a:gd name="T30" fmla="*/ 117 w 128"/>
                    <a:gd name="T31" fmla="*/ 42 h 128"/>
                    <a:gd name="T32" fmla="*/ 24 w 128"/>
                    <a:gd name="T33" fmla="*/ 120 h 128"/>
                    <a:gd name="T34" fmla="*/ 8 w 128"/>
                    <a:gd name="T35" fmla="*/ 116 h 128"/>
                    <a:gd name="T36" fmla="*/ 12 w 128"/>
                    <a:gd name="T37" fmla="*/ 48 h 128"/>
                    <a:gd name="T38" fmla="*/ 28 w 128"/>
                    <a:gd name="T39" fmla="*/ 52 h 128"/>
                    <a:gd name="T40" fmla="*/ 120 w 128"/>
                    <a:gd name="T41" fmla="*/ 58 h 128"/>
                    <a:gd name="T42" fmla="*/ 104 w 128"/>
                    <a:gd name="T43" fmla="*/ 64 h 128"/>
                    <a:gd name="T44" fmla="*/ 104 w 128"/>
                    <a:gd name="T45" fmla="*/ 68 h 128"/>
                    <a:gd name="T46" fmla="*/ 118 w 128"/>
                    <a:gd name="T47" fmla="*/ 75 h 128"/>
                    <a:gd name="T48" fmla="*/ 100 w 128"/>
                    <a:gd name="T49" fmla="*/ 84 h 128"/>
                    <a:gd name="T50" fmla="*/ 100 w 128"/>
                    <a:gd name="T51" fmla="*/ 88 h 128"/>
                    <a:gd name="T52" fmla="*/ 113 w 128"/>
                    <a:gd name="T53" fmla="*/ 96 h 128"/>
                    <a:gd name="T54" fmla="*/ 96 w 128"/>
                    <a:gd name="T55" fmla="*/ 104 h 128"/>
                    <a:gd name="T56" fmla="*/ 96 w 128"/>
                    <a:gd name="T57" fmla="*/ 108 h 128"/>
                    <a:gd name="T58" fmla="*/ 106 w 128"/>
                    <a:gd name="T59" fmla="*/ 114 h 128"/>
                    <a:gd name="T60" fmla="*/ 98 w 128"/>
                    <a:gd name="T61" fmla="*/ 120 h 128"/>
                    <a:gd name="T62" fmla="*/ 54 w 128"/>
                    <a:gd name="T63" fmla="*/ 117 h 128"/>
                    <a:gd name="T64" fmla="*/ 32 w 128"/>
                    <a:gd name="T65" fmla="*/ 110 h 128"/>
                    <a:gd name="T66" fmla="*/ 35 w 128"/>
                    <a:gd name="T67" fmla="*/ 50 h 128"/>
                    <a:gd name="T68" fmla="*/ 60 w 128"/>
                    <a:gd name="T69" fmla="*/ 12 h 128"/>
                    <a:gd name="T70" fmla="*/ 76 w 128"/>
                    <a:gd name="T71" fmla="*/ 27 h 128"/>
                    <a:gd name="T72" fmla="*/ 115 w 128"/>
                    <a:gd name="T73" fmla="*/ 50 h 128"/>
                    <a:gd name="T74" fmla="*/ 120 w 128"/>
                    <a:gd name="T75" fmla="*/ 58 h 1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28">
                      <a:moveTo>
                        <a:pt x="117" y="42"/>
                      </a:moveTo>
                      <a:cubicBezTo>
                        <a:pt x="112" y="41"/>
                        <a:pt x="100" y="41"/>
                        <a:pt x="83" y="40"/>
                      </a:cubicBezTo>
                      <a:cubicBezTo>
                        <a:pt x="84" y="36"/>
                        <a:pt x="84" y="33"/>
                        <a:pt x="84" y="27"/>
                      </a:cubicBezTo>
                      <a:cubicBezTo>
                        <a:pt x="84" y="13"/>
                        <a:pt x="73" y="0"/>
                        <a:pt x="64" y="0"/>
                      </a:cubicBezTo>
                      <a:cubicBezTo>
                        <a:pt x="57" y="0"/>
                        <a:pt x="52" y="5"/>
                        <a:pt x="52" y="12"/>
                      </a:cubicBezTo>
                      <a:cubicBezTo>
                        <a:pt x="52" y="20"/>
                        <a:pt x="49" y="34"/>
                        <a:pt x="36" y="41"/>
                      </a:cubicBezTo>
                      <a:cubicBezTo>
                        <a:pt x="35" y="41"/>
                        <a:pt x="32" y="43"/>
                        <a:pt x="32" y="43"/>
                      </a:cubicBezTo>
                      <a:cubicBezTo>
                        <a:pt x="32" y="43"/>
                        <a:pt x="32" y="43"/>
                        <a:pt x="32" y="43"/>
                      </a:cubicBezTo>
                      <a:cubicBezTo>
                        <a:pt x="30" y="41"/>
                        <a:pt x="27" y="40"/>
                        <a:pt x="24" y="40"/>
                      </a:cubicBezTo>
                      <a:cubicBezTo>
                        <a:pt x="12" y="40"/>
                        <a:pt x="12" y="40"/>
                        <a:pt x="12" y="40"/>
                      </a:cubicBezTo>
                      <a:cubicBezTo>
                        <a:pt x="5" y="40"/>
                        <a:pt x="0" y="45"/>
                        <a:pt x="0" y="52"/>
                      </a:cubicBezTo>
                      <a:cubicBezTo>
                        <a:pt x="0" y="116"/>
                        <a:pt x="0" y="116"/>
                        <a:pt x="0" y="116"/>
                      </a:cubicBezTo>
                      <a:cubicBezTo>
                        <a:pt x="0" y="123"/>
                        <a:pt x="5" y="128"/>
                        <a:pt x="12" y="128"/>
                      </a:cubicBezTo>
                      <a:cubicBezTo>
                        <a:pt x="24" y="128"/>
                        <a:pt x="24" y="128"/>
                        <a:pt x="24" y="128"/>
                      </a:cubicBezTo>
                      <a:cubicBezTo>
                        <a:pt x="29" y="128"/>
                        <a:pt x="33" y="125"/>
                        <a:pt x="35" y="121"/>
                      </a:cubicBezTo>
                      <a:cubicBezTo>
                        <a:pt x="35" y="121"/>
                        <a:pt x="35" y="121"/>
                        <a:pt x="35" y="121"/>
                      </a:cubicBezTo>
                      <a:cubicBezTo>
                        <a:pt x="35" y="121"/>
                        <a:pt x="35" y="121"/>
                        <a:pt x="36" y="121"/>
                      </a:cubicBezTo>
                      <a:cubicBezTo>
                        <a:pt x="36" y="121"/>
                        <a:pt x="36" y="121"/>
                        <a:pt x="36" y="121"/>
                      </a:cubicBezTo>
                      <a:cubicBezTo>
                        <a:pt x="38" y="122"/>
                        <a:pt x="43" y="123"/>
                        <a:pt x="52" y="125"/>
                      </a:cubicBezTo>
                      <a:cubicBezTo>
                        <a:pt x="54" y="126"/>
                        <a:pt x="65" y="128"/>
                        <a:pt x="76" y="128"/>
                      </a:cubicBezTo>
                      <a:cubicBezTo>
                        <a:pt x="98" y="128"/>
                        <a:pt x="98" y="128"/>
                        <a:pt x="98" y="128"/>
                      </a:cubicBezTo>
                      <a:cubicBezTo>
                        <a:pt x="105" y="128"/>
                        <a:pt x="109" y="125"/>
                        <a:pt x="112" y="120"/>
                      </a:cubicBezTo>
                      <a:cubicBezTo>
                        <a:pt x="112" y="120"/>
                        <a:pt x="113" y="118"/>
                        <a:pt x="114" y="116"/>
                      </a:cubicBezTo>
                      <a:cubicBezTo>
                        <a:pt x="115" y="114"/>
                        <a:pt x="115" y="112"/>
                        <a:pt x="114" y="109"/>
                      </a:cubicBezTo>
                      <a:cubicBezTo>
                        <a:pt x="118" y="106"/>
                        <a:pt x="120" y="102"/>
                        <a:pt x="121" y="99"/>
                      </a:cubicBezTo>
                      <a:cubicBezTo>
                        <a:pt x="122" y="94"/>
                        <a:pt x="122" y="90"/>
                        <a:pt x="121" y="88"/>
                      </a:cubicBezTo>
                      <a:cubicBezTo>
                        <a:pt x="123" y="85"/>
                        <a:pt x="125" y="82"/>
                        <a:pt x="126" y="77"/>
                      </a:cubicBezTo>
                      <a:cubicBezTo>
                        <a:pt x="127" y="73"/>
                        <a:pt x="126" y="70"/>
                        <a:pt x="124" y="67"/>
                      </a:cubicBezTo>
                      <a:cubicBezTo>
                        <a:pt x="127" y="65"/>
                        <a:pt x="128" y="61"/>
                        <a:pt x="128" y="58"/>
                      </a:cubicBezTo>
                      <a:cubicBezTo>
                        <a:pt x="128" y="58"/>
                        <a:pt x="128" y="58"/>
                        <a:pt x="128" y="58"/>
                      </a:cubicBezTo>
                      <a:cubicBezTo>
                        <a:pt x="128" y="57"/>
                        <a:pt x="128" y="57"/>
                        <a:pt x="128" y="56"/>
                      </a:cubicBezTo>
                      <a:cubicBezTo>
                        <a:pt x="128" y="51"/>
                        <a:pt x="125" y="44"/>
                        <a:pt x="117" y="42"/>
                      </a:cubicBezTo>
                      <a:close/>
                      <a:moveTo>
                        <a:pt x="28" y="116"/>
                      </a:moveTo>
                      <a:cubicBezTo>
                        <a:pt x="28" y="118"/>
                        <a:pt x="26" y="120"/>
                        <a:pt x="24" y="120"/>
                      </a:cubicBezTo>
                      <a:cubicBezTo>
                        <a:pt x="12" y="120"/>
                        <a:pt x="12" y="120"/>
                        <a:pt x="12" y="120"/>
                      </a:cubicBezTo>
                      <a:cubicBezTo>
                        <a:pt x="10" y="120"/>
                        <a:pt x="8" y="118"/>
                        <a:pt x="8" y="116"/>
                      </a:cubicBezTo>
                      <a:cubicBezTo>
                        <a:pt x="8" y="52"/>
                        <a:pt x="8" y="52"/>
                        <a:pt x="8" y="52"/>
                      </a:cubicBezTo>
                      <a:cubicBezTo>
                        <a:pt x="8" y="50"/>
                        <a:pt x="10" y="48"/>
                        <a:pt x="12" y="48"/>
                      </a:cubicBezTo>
                      <a:cubicBezTo>
                        <a:pt x="24" y="48"/>
                        <a:pt x="24" y="48"/>
                        <a:pt x="24" y="48"/>
                      </a:cubicBezTo>
                      <a:cubicBezTo>
                        <a:pt x="26" y="48"/>
                        <a:pt x="28" y="50"/>
                        <a:pt x="28" y="52"/>
                      </a:cubicBezTo>
                      <a:lnTo>
                        <a:pt x="28" y="116"/>
                      </a:lnTo>
                      <a:close/>
                      <a:moveTo>
                        <a:pt x="120" y="58"/>
                      </a:moveTo>
                      <a:cubicBezTo>
                        <a:pt x="120" y="60"/>
                        <a:pt x="119" y="64"/>
                        <a:pt x="112" y="64"/>
                      </a:cubicBezTo>
                      <a:cubicBezTo>
                        <a:pt x="106" y="64"/>
                        <a:pt x="104" y="64"/>
                        <a:pt x="104" y="64"/>
                      </a:cubicBezTo>
                      <a:cubicBezTo>
                        <a:pt x="103" y="64"/>
                        <a:pt x="102" y="65"/>
                        <a:pt x="102" y="66"/>
                      </a:cubicBezTo>
                      <a:cubicBezTo>
                        <a:pt x="102" y="67"/>
                        <a:pt x="103" y="68"/>
                        <a:pt x="104" y="68"/>
                      </a:cubicBezTo>
                      <a:cubicBezTo>
                        <a:pt x="104" y="68"/>
                        <a:pt x="106" y="68"/>
                        <a:pt x="112" y="68"/>
                      </a:cubicBezTo>
                      <a:cubicBezTo>
                        <a:pt x="118" y="68"/>
                        <a:pt x="119" y="73"/>
                        <a:pt x="118" y="75"/>
                      </a:cubicBezTo>
                      <a:cubicBezTo>
                        <a:pt x="118" y="78"/>
                        <a:pt x="116" y="84"/>
                        <a:pt x="110" y="84"/>
                      </a:cubicBezTo>
                      <a:cubicBezTo>
                        <a:pt x="103" y="84"/>
                        <a:pt x="100" y="84"/>
                        <a:pt x="100" y="84"/>
                      </a:cubicBezTo>
                      <a:cubicBezTo>
                        <a:pt x="99" y="84"/>
                        <a:pt x="98" y="85"/>
                        <a:pt x="98" y="86"/>
                      </a:cubicBezTo>
                      <a:cubicBezTo>
                        <a:pt x="98" y="87"/>
                        <a:pt x="99" y="88"/>
                        <a:pt x="100" y="88"/>
                      </a:cubicBezTo>
                      <a:cubicBezTo>
                        <a:pt x="100" y="88"/>
                        <a:pt x="105" y="88"/>
                        <a:pt x="108" y="88"/>
                      </a:cubicBezTo>
                      <a:cubicBezTo>
                        <a:pt x="115" y="88"/>
                        <a:pt x="114" y="93"/>
                        <a:pt x="113" y="96"/>
                      </a:cubicBezTo>
                      <a:cubicBezTo>
                        <a:pt x="112" y="100"/>
                        <a:pt x="111" y="104"/>
                        <a:pt x="103" y="104"/>
                      </a:cubicBezTo>
                      <a:cubicBezTo>
                        <a:pt x="100" y="104"/>
                        <a:pt x="96" y="104"/>
                        <a:pt x="96" y="104"/>
                      </a:cubicBezTo>
                      <a:cubicBezTo>
                        <a:pt x="95" y="104"/>
                        <a:pt x="94" y="105"/>
                        <a:pt x="94" y="106"/>
                      </a:cubicBezTo>
                      <a:cubicBezTo>
                        <a:pt x="94" y="107"/>
                        <a:pt x="95" y="108"/>
                        <a:pt x="96" y="108"/>
                      </a:cubicBezTo>
                      <a:cubicBezTo>
                        <a:pt x="96" y="108"/>
                        <a:pt x="99" y="108"/>
                        <a:pt x="102" y="108"/>
                      </a:cubicBezTo>
                      <a:cubicBezTo>
                        <a:pt x="107" y="108"/>
                        <a:pt x="107" y="112"/>
                        <a:pt x="106" y="114"/>
                      </a:cubicBezTo>
                      <a:cubicBezTo>
                        <a:pt x="106" y="115"/>
                        <a:pt x="105" y="116"/>
                        <a:pt x="105" y="117"/>
                      </a:cubicBezTo>
                      <a:cubicBezTo>
                        <a:pt x="104" y="119"/>
                        <a:pt x="102" y="120"/>
                        <a:pt x="98" y="120"/>
                      </a:cubicBezTo>
                      <a:cubicBezTo>
                        <a:pt x="76" y="120"/>
                        <a:pt x="76" y="120"/>
                        <a:pt x="76" y="120"/>
                      </a:cubicBezTo>
                      <a:cubicBezTo>
                        <a:pt x="65" y="120"/>
                        <a:pt x="54" y="118"/>
                        <a:pt x="54" y="117"/>
                      </a:cubicBezTo>
                      <a:cubicBezTo>
                        <a:pt x="37" y="114"/>
                        <a:pt x="36" y="113"/>
                        <a:pt x="35" y="113"/>
                      </a:cubicBezTo>
                      <a:cubicBezTo>
                        <a:pt x="35" y="113"/>
                        <a:pt x="32" y="112"/>
                        <a:pt x="32" y="110"/>
                      </a:cubicBezTo>
                      <a:cubicBezTo>
                        <a:pt x="32" y="54"/>
                        <a:pt x="32" y="54"/>
                        <a:pt x="32" y="54"/>
                      </a:cubicBezTo>
                      <a:cubicBezTo>
                        <a:pt x="32" y="52"/>
                        <a:pt x="33" y="51"/>
                        <a:pt x="35" y="50"/>
                      </a:cubicBezTo>
                      <a:cubicBezTo>
                        <a:pt x="35" y="50"/>
                        <a:pt x="36" y="50"/>
                        <a:pt x="36" y="50"/>
                      </a:cubicBezTo>
                      <a:cubicBezTo>
                        <a:pt x="54" y="42"/>
                        <a:pt x="60" y="26"/>
                        <a:pt x="60" y="12"/>
                      </a:cubicBezTo>
                      <a:cubicBezTo>
                        <a:pt x="60" y="10"/>
                        <a:pt x="62" y="8"/>
                        <a:pt x="64" y="8"/>
                      </a:cubicBezTo>
                      <a:cubicBezTo>
                        <a:pt x="68" y="8"/>
                        <a:pt x="76" y="16"/>
                        <a:pt x="76" y="27"/>
                      </a:cubicBezTo>
                      <a:cubicBezTo>
                        <a:pt x="76" y="36"/>
                        <a:pt x="75" y="38"/>
                        <a:pt x="72" y="48"/>
                      </a:cubicBezTo>
                      <a:cubicBezTo>
                        <a:pt x="112" y="48"/>
                        <a:pt x="112" y="49"/>
                        <a:pt x="115" y="50"/>
                      </a:cubicBezTo>
                      <a:cubicBezTo>
                        <a:pt x="120" y="51"/>
                        <a:pt x="120" y="54"/>
                        <a:pt x="120" y="56"/>
                      </a:cubicBezTo>
                      <a:cubicBezTo>
                        <a:pt x="120" y="57"/>
                        <a:pt x="120" y="57"/>
                        <a:pt x="120" y="58"/>
                      </a:cubicBezTo>
                      <a:close/>
                    </a:path>
                  </a:pathLst>
                </a:custGeom>
                <a:grpFill/>
                <a:ln>
                  <a:noFill/>
                </a:ln>
              </p:spPr>
              <p:txBody>
                <a:bodyPr lIns="51435" tIns="25718" rIns="51435" bIns="25718"/>
                <a:lstStyle/>
                <a:p>
                  <a:pPr defTabSz="514350">
                    <a:defRPr/>
                  </a:pPr>
                  <a:endParaRPr lang="id-ID" sz="760"/>
                </a:p>
              </p:txBody>
            </p:sp>
            <p:sp>
              <p:nvSpPr>
                <p:cNvPr id="53" name="Freeform 91"/>
                <p:cNvSpPr>
                  <a:spLocks noEditPoints="1"/>
                </p:cNvSpPr>
                <p:nvPr/>
              </p:nvSpPr>
              <p:spPr bwMode="auto">
                <a:xfrm>
                  <a:off x="1093788" y="2463801"/>
                  <a:ext cx="44450" cy="44450"/>
                </a:xfrm>
                <a:custGeom>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p:spPr>
              <p:txBody>
                <a:bodyPr lIns="51435" tIns="25718" rIns="51435" bIns="25718"/>
                <a:lstStyle/>
                <a:p>
                  <a:pPr defTabSz="514350">
                    <a:defRPr/>
                  </a:pPr>
                  <a:endParaRPr lang="id-ID" sz="760"/>
                </a:p>
              </p:txBody>
            </p:sp>
          </p:grpSp>
        </p:grpSp>
      </p:grpSp>
      <p:grpSp>
        <p:nvGrpSpPr>
          <p:cNvPr id="14" name="Group 84"/>
          <p:cNvGrpSpPr>
            <a:grpSpLocks noChangeAspect="1"/>
          </p:cNvGrpSpPr>
          <p:nvPr/>
        </p:nvGrpSpPr>
        <p:grpSpPr>
          <a:xfrm>
            <a:off x="4268405" y="1436623"/>
            <a:ext cx="324079" cy="323765"/>
            <a:chOff x="7275513" y="5302250"/>
            <a:chExt cx="1012825" cy="1012825"/>
          </a:xfrm>
          <a:solidFill>
            <a:schemeClr val="accent1"/>
          </a:solidFill>
        </p:grpSpPr>
        <p:sp>
          <p:nvSpPr>
            <p:cNvPr id="101" name="Freeform 34"/>
            <p:cNvSpPr/>
            <p:nvPr/>
          </p:nvSpPr>
          <p:spPr bwMode="auto">
            <a:xfrm>
              <a:off x="7467601" y="5521325"/>
              <a:ext cx="608013" cy="606425"/>
            </a:xfrm>
            <a:custGeom>
              <a:gdLst>
                <a:gd name="T0" fmla="*/ 189 w 211"/>
                <a:gd name="T1" fmla="*/ 85 h 211"/>
                <a:gd name="T2" fmla="*/ 187 w 211"/>
                <a:gd name="T3" fmla="*/ 64 h 211"/>
                <a:gd name="T4" fmla="*/ 192 w 211"/>
                <a:gd name="T5" fmla="*/ 41 h 211"/>
                <a:gd name="T6" fmla="*/ 179 w 211"/>
                <a:gd name="T7" fmla="*/ 31 h 211"/>
                <a:gd name="T8" fmla="*/ 170 w 211"/>
                <a:gd name="T9" fmla="*/ 36 h 211"/>
                <a:gd name="T10" fmla="*/ 164 w 211"/>
                <a:gd name="T11" fmla="*/ 34 h 211"/>
                <a:gd name="T12" fmla="*/ 155 w 211"/>
                <a:gd name="T13" fmla="*/ 26 h 211"/>
                <a:gd name="T14" fmla="*/ 148 w 211"/>
                <a:gd name="T15" fmla="*/ 20 h 211"/>
                <a:gd name="T16" fmla="*/ 149 w 211"/>
                <a:gd name="T17" fmla="*/ 11 h 211"/>
                <a:gd name="T18" fmla="*/ 125 w 211"/>
                <a:gd name="T19" fmla="*/ 5 h 211"/>
                <a:gd name="T20" fmla="*/ 106 w 211"/>
                <a:gd name="T21" fmla="*/ 1 h 211"/>
                <a:gd name="T22" fmla="*/ 89 w 211"/>
                <a:gd name="T23" fmla="*/ 2 h 211"/>
                <a:gd name="T24" fmla="*/ 88 w 211"/>
                <a:gd name="T25" fmla="*/ 7 h 211"/>
                <a:gd name="T26" fmla="*/ 99 w 211"/>
                <a:gd name="T27" fmla="*/ 3 h 211"/>
                <a:gd name="T28" fmla="*/ 101 w 211"/>
                <a:gd name="T29" fmla="*/ 13 h 211"/>
                <a:gd name="T30" fmla="*/ 83 w 211"/>
                <a:gd name="T31" fmla="*/ 23 h 211"/>
                <a:gd name="T32" fmla="*/ 87 w 211"/>
                <a:gd name="T33" fmla="*/ 31 h 211"/>
                <a:gd name="T34" fmla="*/ 96 w 211"/>
                <a:gd name="T35" fmla="*/ 25 h 211"/>
                <a:gd name="T36" fmla="*/ 108 w 211"/>
                <a:gd name="T37" fmla="*/ 30 h 211"/>
                <a:gd name="T38" fmla="*/ 118 w 211"/>
                <a:gd name="T39" fmla="*/ 29 h 211"/>
                <a:gd name="T40" fmla="*/ 130 w 211"/>
                <a:gd name="T41" fmla="*/ 32 h 211"/>
                <a:gd name="T42" fmla="*/ 128 w 211"/>
                <a:gd name="T43" fmla="*/ 37 h 211"/>
                <a:gd name="T44" fmla="*/ 116 w 211"/>
                <a:gd name="T45" fmla="*/ 43 h 211"/>
                <a:gd name="T46" fmla="*/ 117 w 211"/>
                <a:gd name="T47" fmla="*/ 50 h 211"/>
                <a:gd name="T48" fmla="*/ 113 w 211"/>
                <a:gd name="T49" fmla="*/ 58 h 211"/>
                <a:gd name="T50" fmla="*/ 110 w 211"/>
                <a:gd name="T51" fmla="*/ 91 h 211"/>
                <a:gd name="T52" fmla="*/ 104 w 211"/>
                <a:gd name="T53" fmla="*/ 97 h 211"/>
                <a:gd name="T54" fmla="*/ 88 w 211"/>
                <a:gd name="T55" fmla="*/ 77 h 211"/>
                <a:gd name="T56" fmla="*/ 57 w 211"/>
                <a:gd name="T57" fmla="*/ 83 h 211"/>
                <a:gd name="T58" fmla="*/ 73 w 211"/>
                <a:gd name="T59" fmla="*/ 89 h 211"/>
                <a:gd name="T60" fmla="*/ 75 w 211"/>
                <a:gd name="T61" fmla="*/ 94 h 211"/>
                <a:gd name="T62" fmla="*/ 63 w 211"/>
                <a:gd name="T63" fmla="*/ 97 h 211"/>
                <a:gd name="T64" fmla="*/ 62 w 211"/>
                <a:gd name="T65" fmla="*/ 105 h 211"/>
                <a:gd name="T66" fmla="*/ 70 w 211"/>
                <a:gd name="T67" fmla="*/ 110 h 211"/>
                <a:gd name="T68" fmla="*/ 84 w 211"/>
                <a:gd name="T69" fmla="*/ 107 h 211"/>
                <a:gd name="T70" fmla="*/ 99 w 211"/>
                <a:gd name="T71" fmla="*/ 114 h 211"/>
                <a:gd name="T72" fmla="*/ 116 w 211"/>
                <a:gd name="T73" fmla="*/ 109 h 211"/>
                <a:gd name="T74" fmla="*/ 118 w 211"/>
                <a:gd name="T75" fmla="*/ 131 h 211"/>
                <a:gd name="T76" fmla="*/ 109 w 211"/>
                <a:gd name="T77" fmla="*/ 159 h 211"/>
                <a:gd name="T78" fmla="*/ 90 w 211"/>
                <a:gd name="T79" fmla="*/ 189 h 211"/>
                <a:gd name="T80" fmla="*/ 82 w 211"/>
                <a:gd name="T81" fmla="*/ 197 h 211"/>
                <a:gd name="T82" fmla="*/ 79 w 211"/>
                <a:gd name="T83" fmla="*/ 181 h 211"/>
                <a:gd name="T84" fmla="*/ 78 w 211"/>
                <a:gd name="T85" fmla="*/ 159 h 211"/>
                <a:gd name="T86" fmla="*/ 63 w 211"/>
                <a:gd name="T87" fmla="*/ 132 h 211"/>
                <a:gd name="T88" fmla="*/ 72 w 211"/>
                <a:gd name="T89" fmla="*/ 125 h 211"/>
                <a:gd name="T90" fmla="*/ 60 w 211"/>
                <a:gd name="T91" fmla="*/ 115 h 211"/>
                <a:gd name="T92" fmla="*/ 55 w 211"/>
                <a:gd name="T93" fmla="*/ 102 h 211"/>
                <a:gd name="T94" fmla="*/ 50 w 211"/>
                <a:gd name="T95" fmla="*/ 89 h 211"/>
                <a:gd name="T96" fmla="*/ 38 w 211"/>
                <a:gd name="T97" fmla="*/ 78 h 211"/>
                <a:gd name="T98" fmla="*/ 37 w 211"/>
                <a:gd name="T99" fmla="*/ 91 h 211"/>
                <a:gd name="T100" fmla="*/ 30 w 211"/>
                <a:gd name="T101" fmla="*/ 91 h 211"/>
                <a:gd name="T102" fmla="*/ 32 w 211"/>
                <a:gd name="T103" fmla="*/ 52 h 211"/>
                <a:gd name="T104" fmla="*/ 20 w 211"/>
                <a:gd name="T105" fmla="*/ 148 h 211"/>
                <a:gd name="T106" fmla="*/ 167 w 211"/>
                <a:gd name="T107" fmla="*/ 185 h 211"/>
                <a:gd name="T108" fmla="*/ 160 w 211"/>
                <a:gd name="T109" fmla="*/ 127 h 211"/>
                <a:gd name="T110" fmla="*/ 184 w 211"/>
                <a:gd name="T111" fmla="*/ 133 h 211"/>
                <a:gd name="T112" fmla="*/ 201 w 211"/>
                <a:gd name="T113" fmla="*/ 146 h 211"/>
                <a:gd name="T114" fmla="*/ 206 w 211"/>
                <a:gd name="T115" fmla="*/ 109 h 2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1" h="211">
                  <a:moveTo>
                    <a:pt x="196" y="93"/>
                  </a:moveTo>
                  <a:cubicBezTo>
                    <a:pt x="195" y="88"/>
                    <a:pt x="194" y="87"/>
                    <a:pt x="189" y="85"/>
                  </a:cubicBezTo>
                  <a:cubicBezTo>
                    <a:pt x="183" y="84"/>
                    <a:pt x="181" y="81"/>
                    <a:pt x="183" y="76"/>
                  </a:cubicBezTo>
                  <a:cubicBezTo>
                    <a:pt x="184" y="72"/>
                    <a:pt x="186" y="68"/>
                    <a:pt x="187" y="64"/>
                  </a:cubicBezTo>
                  <a:cubicBezTo>
                    <a:pt x="189" y="61"/>
                    <a:pt x="190" y="57"/>
                    <a:pt x="189" y="52"/>
                  </a:cubicBezTo>
                  <a:cubicBezTo>
                    <a:pt x="188" y="48"/>
                    <a:pt x="189" y="44"/>
                    <a:pt x="192" y="41"/>
                  </a:cubicBezTo>
                  <a:cubicBezTo>
                    <a:pt x="189" y="37"/>
                    <a:pt x="186" y="34"/>
                    <a:pt x="182" y="30"/>
                  </a:cubicBezTo>
                  <a:cubicBezTo>
                    <a:pt x="181" y="28"/>
                    <a:pt x="180" y="29"/>
                    <a:pt x="179" y="31"/>
                  </a:cubicBezTo>
                  <a:cubicBezTo>
                    <a:pt x="179" y="32"/>
                    <a:pt x="179" y="33"/>
                    <a:pt x="179" y="33"/>
                  </a:cubicBezTo>
                  <a:cubicBezTo>
                    <a:pt x="178" y="38"/>
                    <a:pt x="174" y="39"/>
                    <a:pt x="170" y="36"/>
                  </a:cubicBezTo>
                  <a:cubicBezTo>
                    <a:pt x="170" y="36"/>
                    <a:pt x="169" y="35"/>
                    <a:pt x="168" y="35"/>
                  </a:cubicBezTo>
                  <a:cubicBezTo>
                    <a:pt x="167" y="34"/>
                    <a:pt x="165" y="34"/>
                    <a:pt x="164" y="34"/>
                  </a:cubicBezTo>
                  <a:cubicBezTo>
                    <a:pt x="160" y="35"/>
                    <a:pt x="159" y="34"/>
                    <a:pt x="159" y="30"/>
                  </a:cubicBezTo>
                  <a:cubicBezTo>
                    <a:pt x="160" y="27"/>
                    <a:pt x="159" y="25"/>
                    <a:pt x="155" y="26"/>
                  </a:cubicBezTo>
                  <a:cubicBezTo>
                    <a:pt x="154" y="26"/>
                    <a:pt x="153" y="26"/>
                    <a:pt x="152" y="26"/>
                  </a:cubicBezTo>
                  <a:cubicBezTo>
                    <a:pt x="149" y="26"/>
                    <a:pt x="147" y="23"/>
                    <a:pt x="148" y="20"/>
                  </a:cubicBezTo>
                  <a:cubicBezTo>
                    <a:pt x="148" y="18"/>
                    <a:pt x="149" y="17"/>
                    <a:pt x="149" y="15"/>
                  </a:cubicBezTo>
                  <a:cubicBezTo>
                    <a:pt x="150" y="14"/>
                    <a:pt x="150" y="12"/>
                    <a:pt x="149" y="11"/>
                  </a:cubicBezTo>
                  <a:cubicBezTo>
                    <a:pt x="147" y="9"/>
                    <a:pt x="144" y="7"/>
                    <a:pt x="141" y="5"/>
                  </a:cubicBezTo>
                  <a:cubicBezTo>
                    <a:pt x="136" y="1"/>
                    <a:pt x="130" y="4"/>
                    <a:pt x="125" y="5"/>
                  </a:cubicBezTo>
                  <a:cubicBezTo>
                    <a:pt x="124" y="9"/>
                    <a:pt x="124" y="10"/>
                    <a:pt x="119" y="9"/>
                  </a:cubicBezTo>
                  <a:cubicBezTo>
                    <a:pt x="114" y="7"/>
                    <a:pt x="110" y="5"/>
                    <a:pt x="106" y="1"/>
                  </a:cubicBezTo>
                  <a:cubicBezTo>
                    <a:pt x="106" y="0"/>
                    <a:pt x="105" y="0"/>
                    <a:pt x="104" y="0"/>
                  </a:cubicBezTo>
                  <a:cubicBezTo>
                    <a:pt x="99" y="1"/>
                    <a:pt x="94" y="1"/>
                    <a:pt x="89" y="2"/>
                  </a:cubicBezTo>
                  <a:cubicBezTo>
                    <a:pt x="88" y="2"/>
                    <a:pt x="87" y="3"/>
                    <a:pt x="87" y="4"/>
                  </a:cubicBezTo>
                  <a:cubicBezTo>
                    <a:pt x="87" y="5"/>
                    <a:pt x="87" y="6"/>
                    <a:pt x="88" y="7"/>
                  </a:cubicBezTo>
                  <a:cubicBezTo>
                    <a:pt x="90" y="7"/>
                    <a:pt x="92" y="7"/>
                    <a:pt x="93" y="6"/>
                  </a:cubicBezTo>
                  <a:cubicBezTo>
                    <a:pt x="95" y="5"/>
                    <a:pt x="97" y="4"/>
                    <a:pt x="99" y="3"/>
                  </a:cubicBezTo>
                  <a:cubicBezTo>
                    <a:pt x="102" y="2"/>
                    <a:pt x="103" y="2"/>
                    <a:pt x="104" y="5"/>
                  </a:cubicBezTo>
                  <a:cubicBezTo>
                    <a:pt x="105" y="8"/>
                    <a:pt x="104" y="11"/>
                    <a:pt x="101" y="13"/>
                  </a:cubicBezTo>
                  <a:cubicBezTo>
                    <a:pt x="98" y="15"/>
                    <a:pt x="94" y="17"/>
                    <a:pt x="90" y="19"/>
                  </a:cubicBezTo>
                  <a:cubicBezTo>
                    <a:pt x="88" y="20"/>
                    <a:pt x="85" y="22"/>
                    <a:pt x="83" y="23"/>
                  </a:cubicBezTo>
                  <a:cubicBezTo>
                    <a:pt x="81" y="25"/>
                    <a:pt x="79" y="27"/>
                    <a:pt x="81" y="30"/>
                  </a:cubicBezTo>
                  <a:cubicBezTo>
                    <a:pt x="82" y="32"/>
                    <a:pt x="85" y="31"/>
                    <a:pt x="87" y="31"/>
                  </a:cubicBezTo>
                  <a:cubicBezTo>
                    <a:pt x="89" y="30"/>
                    <a:pt x="91" y="29"/>
                    <a:pt x="93" y="28"/>
                  </a:cubicBezTo>
                  <a:cubicBezTo>
                    <a:pt x="94" y="27"/>
                    <a:pt x="95" y="26"/>
                    <a:pt x="96" y="25"/>
                  </a:cubicBezTo>
                  <a:cubicBezTo>
                    <a:pt x="98" y="24"/>
                    <a:pt x="99" y="24"/>
                    <a:pt x="100" y="27"/>
                  </a:cubicBezTo>
                  <a:cubicBezTo>
                    <a:pt x="102" y="31"/>
                    <a:pt x="105" y="32"/>
                    <a:pt x="108" y="30"/>
                  </a:cubicBezTo>
                  <a:cubicBezTo>
                    <a:pt x="110" y="29"/>
                    <a:pt x="111" y="27"/>
                    <a:pt x="113" y="26"/>
                  </a:cubicBezTo>
                  <a:cubicBezTo>
                    <a:pt x="116" y="25"/>
                    <a:pt x="118" y="26"/>
                    <a:pt x="118" y="29"/>
                  </a:cubicBezTo>
                  <a:cubicBezTo>
                    <a:pt x="119" y="33"/>
                    <a:pt x="120" y="34"/>
                    <a:pt x="124" y="33"/>
                  </a:cubicBezTo>
                  <a:cubicBezTo>
                    <a:pt x="126" y="33"/>
                    <a:pt x="128" y="33"/>
                    <a:pt x="130" y="32"/>
                  </a:cubicBezTo>
                  <a:cubicBezTo>
                    <a:pt x="130" y="33"/>
                    <a:pt x="131" y="33"/>
                    <a:pt x="131" y="33"/>
                  </a:cubicBezTo>
                  <a:cubicBezTo>
                    <a:pt x="130" y="34"/>
                    <a:pt x="130" y="36"/>
                    <a:pt x="128" y="37"/>
                  </a:cubicBezTo>
                  <a:cubicBezTo>
                    <a:pt x="127" y="39"/>
                    <a:pt x="124" y="40"/>
                    <a:pt x="122" y="41"/>
                  </a:cubicBezTo>
                  <a:cubicBezTo>
                    <a:pt x="119" y="42"/>
                    <a:pt x="116" y="43"/>
                    <a:pt x="116" y="43"/>
                  </a:cubicBezTo>
                  <a:cubicBezTo>
                    <a:pt x="116" y="43"/>
                    <a:pt x="120" y="45"/>
                    <a:pt x="118" y="46"/>
                  </a:cubicBezTo>
                  <a:cubicBezTo>
                    <a:pt x="114" y="47"/>
                    <a:pt x="108" y="53"/>
                    <a:pt x="117" y="50"/>
                  </a:cubicBezTo>
                  <a:cubicBezTo>
                    <a:pt x="118" y="50"/>
                    <a:pt x="120" y="50"/>
                    <a:pt x="122" y="49"/>
                  </a:cubicBezTo>
                  <a:cubicBezTo>
                    <a:pt x="120" y="54"/>
                    <a:pt x="116" y="56"/>
                    <a:pt x="113" y="58"/>
                  </a:cubicBezTo>
                  <a:cubicBezTo>
                    <a:pt x="102" y="64"/>
                    <a:pt x="101" y="79"/>
                    <a:pt x="107" y="86"/>
                  </a:cubicBezTo>
                  <a:cubicBezTo>
                    <a:pt x="108" y="88"/>
                    <a:pt x="109" y="89"/>
                    <a:pt x="110" y="91"/>
                  </a:cubicBezTo>
                  <a:cubicBezTo>
                    <a:pt x="111" y="93"/>
                    <a:pt x="111" y="96"/>
                    <a:pt x="109" y="97"/>
                  </a:cubicBezTo>
                  <a:cubicBezTo>
                    <a:pt x="108" y="98"/>
                    <a:pt x="105" y="97"/>
                    <a:pt x="104" y="97"/>
                  </a:cubicBezTo>
                  <a:cubicBezTo>
                    <a:pt x="101" y="94"/>
                    <a:pt x="98" y="92"/>
                    <a:pt x="96" y="89"/>
                  </a:cubicBezTo>
                  <a:cubicBezTo>
                    <a:pt x="93" y="85"/>
                    <a:pt x="91" y="81"/>
                    <a:pt x="88" y="77"/>
                  </a:cubicBezTo>
                  <a:cubicBezTo>
                    <a:pt x="78" y="66"/>
                    <a:pt x="66" y="68"/>
                    <a:pt x="57" y="77"/>
                  </a:cubicBezTo>
                  <a:cubicBezTo>
                    <a:pt x="54" y="79"/>
                    <a:pt x="55" y="81"/>
                    <a:pt x="57" y="83"/>
                  </a:cubicBezTo>
                  <a:cubicBezTo>
                    <a:pt x="58" y="83"/>
                    <a:pt x="59" y="84"/>
                    <a:pt x="60" y="84"/>
                  </a:cubicBezTo>
                  <a:cubicBezTo>
                    <a:pt x="65" y="86"/>
                    <a:pt x="69" y="88"/>
                    <a:pt x="73" y="89"/>
                  </a:cubicBezTo>
                  <a:cubicBezTo>
                    <a:pt x="74" y="90"/>
                    <a:pt x="75" y="90"/>
                    <a:pt x="76" y="91"/>
                  </a:cubicBezTo>
                  <a:cubicBezTo>
                    <a:pt x="77" y="92"/>
                    <a:pt x="77" y="93"/>
                    <a:pt x="75" y="94"/>
                  </a:cubicBezTo>
                  <a:cubicBezTo>
                    <a:pt x="74" y="95"/>
                    <a:pt x="72" y="95"/>
                    <a:pt x="71" y="95"/>
                  </a:cubicBezTo>
                  <a:cubicBezTo>
                    <a:pt x="68" y="96"/>
                    <a:pt x="65" y="96"/>
                    <a:pt x="63" y="97"/>
                  </a:cubicBezTo>
                  <a:cubicBezTo>
                    <a:pt x="61" y="98"/>
                    <a:pt x="59" y="100"/>
                    <a:pt x="59" y="101"/>
                  </a:cubicBezTo>
                  <a:cubicBezTo>
                    <a:pt x="59" y="102"/>
                    <a:pt x="61" y="104"/>
                    <a:pt x="62" y="105"/>
                  </a:cubicBezTo>
                  <a:cubicBezTo>
                    <a:pt x="63" y="106"/>
                    <a:pt x="64" y="106"/>
                    <a:pt x="65" y="107"/>
                  </a:cubicBezTo>
                  <a:cubicBezTo>
                    <a:pt x="67" y="108"/>
                    <a:pt x="69" y="109"/>
                    <a:pt x="70" y="110"/>
                  </a:cubicBezTo>
                  <a:cubicBezTo>
                    <a:pt x="72" y="113"/>
                    <a:pt x="74" y="113"/>
                    <a:pt x="76" y="112"/>
                  </a:cubicBezTo>
                  <a:cubicBezTo>
                    <a:pt x="79" y="110"/>
                    <a:pt x="81" y="109"/>
                    <a:pt x="84" y="107"/>
                  </a:cubicBezTo>
                  <a:cubicBezTo>
                    <a:pt x="87" y="105"/>
                    <a:pt x="87" y="105"/>
                    <a:pt x="89" y="108"/>
                  </a:cubicBezTo>
                  <a:cubicBezTo>
                    <a:pt x="91" y="112"/>
                    <a:pt x="94" y="115"/>
                    <a:pt x="99" y="114"/>
                  </a:cubicBezTo>
                  <a:cubicBezTo>
                    <a:pt x="102" y="114"/>
                    <a:pt x="106" y="112"/>
                    <a:pt x="109" y="111"/>
                  </a:cubicBezTo>
                  <a:cubicBezTo>
                    <a:pt x="111" y="110"/>
                    <a:pt x="113" y="109"/>
                    <a:pt x="116" y="109"/>
                  </a:cubicBezTo>
                  <a:cubicBezTo>
                    <a:pt x="121" y="108"/>
                    <a:pt x="124" y="112"/>
                    <a:pt x="124" y="118"/>
                  </a:cubicBezTo>
                  <a:cubicBezTo>
                    <a:pt x="125" y="124"/>
                    <a:pt x="122" y="128"/>
                    <a:pt x="118" y="131"/>
                  </a:cubicBezTo>
                  <a:cubicBezTo>
                    <a:pt x="114" y="135"/>
                    <a:pt x="112" y="139"/>
                    <a:pt x="114" y="145"/>
                  </a:cubicBezTo>
                  <a:cubicBezTo>
                    <a:pt x="116" y="150"/>
                    <a:pt x="114" y="155"/>
                    <a:pt x="109" y="159"/>
                  </a:cubicBezTo>
                  <a:cubicBezTo>
                    <a:pt x="106" y="162"/>
                    <a:pt x="103" y="164"/>
                    <a:pt x="99" y="167"/>
                  </a:cubicBezTo>
                  <a:cubicBezTo>
                    <a:pt x="95" y="169"/>
                    <a:pt x="89" y="184"/>
                    <a:pt x="90" y="189"/>
                  </a:cubicBezTo>
                  <a:cubicBezTo>
                    <a:pt x="90" y="190"/>
                    <a:pt x="91" y="191"/>
                    <a:pt x="90" y="192"/>
                  </a:cubicBezTo>
                  <a:cubicBezTo>
                    <a:pt x="90" y="197"/>
                    <a:pt x="87" y="196"/>
                    <a:pt x="82" y="197"/>
                  </a:cubicBezTo>
                  <a:cubicBezTo>
                    <a:pt x="79" y="198"/>
                    <a:pt x="80" y="192"/>
                    <a:pt x="79" y="189"/>
                  </a:cubicBezTo>
                  <a:cubicBezTo>
                    <a:pt x="78" y="186"/>
                    <a:pt x="78" y="183"/>
                    <a:pt x="79" y="181"/>
                  </a:cubicBezTo>
                  <a:cubicBezTo>
                    <a:pt x="79" y="178"/>
                    <a:pt x="81" y="176"/>
                    <a:pt x="81" y="173"/>
                  </a:cubicBezTo>
                  <a:cubicBezTo>
                    <a:pt x="83" y="168"/>
                    <a:pt x="82" y="163"/>
                    <a:pt x="78" y="159"/>
                  </a:cubicBezTo>
                  <a:cubicBezTo>
                    <a:pt x="76" y="158"/>
                    <a:pt x="74" y="156"/>
                    <a:pt x="73" y="154"/>
                  </a:cubicBezTo>
                  <a:cubicBezTo>
                    <a:pt x="66" y="148"/>
                    <a:pt x="63" y="141"/>
                    <a:pt x="63" y="132"/>
                  </a:cubicBezTo>
                  <a:cubicBezTo>
                    <a:pt x="63" y="128"/>
                    <a:pt x="65" y="126"/>
                    <a:pt x="69" y="126"/>
                  </a:cubicBezTo>
                  <a:cubicBezTo>
                    <a:pt x="70" y="126"/>
                    <a:pt x="71" y="125"/>
                    <a:pt x="72" y="125"/>
                  </a:cubicBezTo>
                  <a:cubicBezTo>
                    <a:pt x="71" y="122"/>
                    <a:pt x="70" y="120"/>
                    <a:pt x="66" y="120"/>
                  </a:cubicBezTo>
                  <a:cubicBezTo>
                    <a:pt x="63" y="120"/>
                    <a:pt x="61" y="118"/>
                    <a:pt x="60" y="115"/>
                  </a:cubicBezTo>
                  <a:cubicBezTo>
                    <a:pt x="59" y="114"/>
                    <a:pt x="59" y="112"/>
                    <a:pt x="59" y="111"/>
                  </a:cubicBezTo>
                  <a:cubicBezTo>
                    <a:pt x="57" y="108"/>
                    <a:pt x="57" y="104"/>
                    <a:pt x="55" y="102"/>
                  </a:cubicBezTo>
                  <a:cubicBezTo>
                    <a:pt x="53" y="99"/>
                    <a:pt x="52" y="97"/>
                    <a:pt x="52" y="94"/>
                  </a:cubicBezTo>
                  <a:cubicBezTo>
                    <a:pt x="52" y="92"/>
                    <a:pt x="51" y="91"/>
                    <a:pt x="50" y="89"/>
                  </a:cubicBezTo>
                  <a:cubicBezTo>
                    <a:pt x="47" y="87"/>
                    <a:pt x="45" y="84"/>
                    <a:pt x="42" y="82"/>
                  </a:cubicBezTo>
                  <a:cubicBezTo>
                    <a:pt x="41" y="81"/>
                    <a:pt x="40" y="80"/>
                    <a:pt x="38" y="78"/>
                  </a:cubicBezTo>
                  <a:cubicBezTo>
                    <a:pt x="38" y="81"/>
                    <a:pt x="38" y="83"/>
                    <a:pt x="38" y="84"/>
                  </a:cubicBezTo>
                  <a:cubicBezTo>
                    <a:pt x="38" y="86"/>
                    <a:pt x="38" y="89"/>
                    <a:pt x="37" y="91"/>
                  </a:cubicBezTo>
                  <a:cubicBezTo>
                    <a:pt x="37" y="92"/>
                    <a:pt x="35" y="94"/>
                    <a:pt x="34" y="94"/>
                  </a:cubicBezTo>
                  <a:cubicBezTo>
                    <a:pt x="33" y="94"/>
                    <a:pt x="31" y="92"/>
                    <a:pt x="30" y="91"/>
                  </a:cubicBezTo>
                  <a:cubicBezTo>
                    <a:pt x="30" y="89"/>
                    <a:pt x="30" y="86"/>
                    <a:pt x="30" y="84"/>
                  </a:cubicBezTo>
                  <a:cubicBezTo>
                    <a:pt x="32" y="73"/>
                    <a:pt x="33" y="62"/>
                    <a:pt x="32" y="52"/>
                  </a:cubicBezTo>
                  <a:cubicBezTo>
                    <a:pt x="32" y="48"/>
                    <a:pt x="31" y="44"/>
                    <a:pt x="30" y="39"/>
                  </a:cubicBezTo>
                  <a:cubicBezTo>
                    <a:pt x="10" y="64"/>
                    <a:pt x="0" y="108"/>
                    <a:pt x="20" y="148"/>
                  </a:cubicBezTo>
                  <a:cubicBezTo>
                    <a:pt x="42" y="190"/>
                    <a:pt x="89" y="211"/>
                    <a:pt x="135" y="199"/>
                  </a:cubicBezTo>
                  <a:cubicBezTo>
                    <a:pt x="147" y="196"/>
                    <a:pt x="158" y="191"/>
                    <a:pt x="167" y="185"/>
                  </a:cubicBezTo>
                  <a:cubicBezTo>
                    <a:pt x="162" y="183"/>
                    <a:pt x="155" y="180"/>
                    <a:pt x="154" y="161"/>
                  </a:cubicBezTo>
                  <a:cubicBezTo>
                    <a:pt x="153" y="133"/>
                    <a:pt x="157" y="127"/>
                    <a:pt x="160" y="127"/>
                  </a:cubicBezTo>
                  <a:cubicBezTo>
                    <a:pt x="162" y="127"/>
                    <a:pt x="164" y="126"/>
                    <a:pt x="172" y="134"/>
                  </a:cubicBezTo>
                  <a:cubicBezTo>
                    <a:pt x="179" y="143"/>
                    <a:pt x="183" y="139"/>
                    <a:pt x="184" y="133"/>
                  </a:cubicBezTo>
                  <a:cubicBezTo>
                    <a:pt x="184" y="127"/>
                    <a:pt x="190" y="118"/>
                    <a:pt x="193" y="127"/>
                  </a:cubicBezTo>
                  <a:cubicBezTo>
                    <a:pt x="194" y="133"/>
                    <a:pt x="198" y="141"/>
                    <a:pt x="201" y="146"/>
                  </a:cubicBezTo>
                  <a:cubicBezTo>
                    <a:pt x="207" y="135"/>
                    <a:pt x="210" y="123"/>
                    <a:pt x="211" y="111"/>
                  </a:cubicBezTo>
                  <a:cubicBezTo>
                    <a:pt x="209" y="110"/>
                    <a:pt x="208" y="110"/>
                    <a:pt x="206" y="109"/>
                  </a:cubicBezTo>
                  <a:cubicBezTo>
                    <a:pt x="200" y="106"/>
                    <a:pt x="196" y="101"/>
                    <a:pt x="196" y="93"/>
                  </a:cubicBezTo>
                  <a:close/>
                </a:path>
              </a:pathLst>
            </a:custGeom>
            <a:solidFill>
              <a:schemeClr val="accent1"/>
            </a:solidFill>
            <a:ln>
              <a:noFill/>
            </a:ln>
          </p:spPr>
          <p:txBody>
            <a:bodyPr lIns="51435" tIns="25718" rIns="51435" bIns="25718"/>
            <a:lstStyle/>
            <a:p>
              <a:pPr defTabSz="514350">
                <a:defRPr/>
              </a:pPr>
              <a:endParaRPr lang="id-ID" sz="450">
                <a:solidFill>
                  <a:schemeClr val="bg1">
                    <a:lumMod val="50000"/>
                  </a:schemeClr>
                </a:solidFill>
              </a:endParaRPr>
            </a:p>
          </p:txBody>
        </p:sp>
        <p:sp>
          <p:nvSpPr>
            <p:cNvPr id="102" name="Freeform 35"/>
            <p:cNvSpPr>
              <a:spLocks noEditPoints="1"/>
            </p:cNvSpPr>
            <p:nvPr/>
          </p:nvSpPr>
          <p:spPr bwMode="auto">
            <a:xfrm>
              <a:off x="7275513" y="5302250"/>
              <a:ext cx="1012825" cy="1012825"/>
            </a:xfrm>
            <a:custGeom>
              <a:gdLst>
                <a:gd name="T0" fmla="*/ 176 w 352"/>
                <a:gd name="T1" fmla="*/ 0 h 352"/>
                <a:gd name="T2" fmla="*/ 0 w 352"/>
                <a:gd name="T3" fmla="*/ 176 h 352"/>
                <a:gd name="T4" fmla="*/ 176 w 352"/>
                <a:gd name="T5" fmla="*/ 352 h 352"/>
                <a:gd name="T6" fmla="*/ 352 w 352"/>
                <a:gd name="T7" fmla="*/ 176 h 352"/>
                <a:gd name="T8" fmla="*/ 176 w 352"/>
                <a:gd name="T9" fmla="*/ 0 h 352"/>
                <a:gd name="T10" fmla="*/ 258 w 352"/>
                <a:gd name="T11" fmla="*/ 261 h 352"/>
                <a:gd name="T12" fmla="*/ 188 w 352"/>
                <a:gd name="T13" fmla="*/ 294 h 352"/>
                <a:gd name="T14" fmla="*/ 96 w 352"/>
                <a:gd name="T15" fmla="*/ 263 h 352"/>
                <a:gd name="T16" fmla="*/ 59 w 352"/>
                <a:gd name="T17" fmla="*/ 189 h 352"/>
                <a:gd name="T18" fmla="*/ 157 w 352"/>
                <a:gd name="T19" fmla="*/ 60 h 352"/>
                <a:gd name="T20" fmla="*/ 175 w 352"/>
                <a:gd name="T21" fmla="*/ 58 h 352"/>
                <a:gd name="T22" fmla="*/ 176 w 352"/>
                <a:gd name="T23" fmla="*/ 58 h 352"/>
                <a:gd name="T24" fmla="*/ 196 w 352"/>
                <a:gd name="T25" fmla="*/ 60 h 352"/>
                <a:gd name="T26" fmla="*/ 272 w 352"/>
                <a:gd name="T27" fmla="*/ 108 h 352"/>
                <a:gd name="T28" fmla="*/ 293 w 352"/>
                <a:gd name="T29" fmla="*/ 162 h 352"/>
                <a:gd name="T30" fmla="*/ 258 w 352"/>
                <a:gd name="T31" fmla="*/ 261 h 35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2" h="352">
                  <a:moveTo>
                    <a:pt x="176" y="0"/>
                  </a:moveTo>
                  <a:cubicBezTo>
                    <a:pt x="79" y="0"/>
                    <a:pt x="0" y="79"/>
                    <a:pt x="0" y="176"/>
                  </a:cubicBezTo>
                  <a:cubicBezTo>
                    <a:pt x="0" y="273"/>
                    <a:pt x="79" y="352"/>
                    <a:pt x="176" y="352"/>
                  </a:cubicBezTo>
                  <a:cubicBezTo>
                    <a:pt x="273" y="352"/>
                    <a:pt x="352" y="273"/>
                    <a:pt x="352" y="176"/>
                  </a:cubicBezTo>
                  <a:cubicBezTo>
                    <a:pt x="352" y="79"/>
                    <a:pt x="273" y="0"/>
                    <a:pt x="176" y="0"/>
                  </a:cubicBezTo>
                  <a:close/>
                  <a:moveTo>
                    <a:pt x="258" y="261"/>
                  </a:moveTo>
                  <a:cubicBezTo>
                    <a:pt x="238" y="280"/>
                    <a:pt x="215" y="291"/>
                    <a:pt x="188" y="294"/>
                  </a:cubicBezTo>
                  <a:cubicBezTo>
                    <a:pt x="153" y="297"/>
                    <a:pt x="122" y="287"/>
                    <a:pt x="96" y="263"/>
                  </a:cubicBezTo>
                  <a:cubicBezTo>
                    <a:pt x="75" y="243"/>
                    <a:pt x="62" y="218"/>
                    <a:pt x="59" y="189"/>
                  </a:cubicBezTo>
                  <a:cubicBezTo>
                    <a:pt x="52" y="127"/>
                    <a:pt x="96" y="69"/>
                    <a:pt x="157" y="60"/>
                  </a:cubicBezTo>
                  <a:cubicBezTo>
                    <a:pt x="163" y="59"/>
                    <a:pt x="169" y="59"/>
                    <a:pt x="175" y="58"/>
                  </a:cubicBezTo>
                  <a:cubicBezTo>
                    <a:pt x="176" y="58"/>
                    <a:pt x="176" y="58"/>
                    <a:pt x="176" y="58"/>
                  </a:cubicBezTo>
                  <a:cubicBezTo>
                    <a:pt x="183" y="59"/>
                    <a:pt x="189" y="59"/>
                    <a:pt x="196" y="60"/>
                  </a:cubicBezTo>
                  <a:cubicBezTo>
                    <a:pt x="227" y="66"/>
                    <a:pt x="253" y="82"/>
                    <a:pt x="272" y="108"/>
                  </a:cubicBezTo>
                  <a:cubicBezTo>
                    <a:pt x="283" y="124"/>
                    <a:pt x="291" y="142"/>
                    <a:pt x="293" y="162"/>
                  </a:cubicBezTo>
                  <a:cubicBezTo>
                    <a:pt x="297" y="200"/>
                    <a:pt x="286" y="234"/>
                    <a:pt x="258" y="261"/>
                  </a:cubicBezTo>
                  <a:close/>
                </a:path>
              </a:pathLst>
            </a:custGeom>
            <a:solidFill>
              <a:schemeClr val="accent1"/>
            </a:solidFill>
            <a:ln>
              <a:noFill/>
            </a:ln>
          </p:spPr>
          <p:txBody>
            <a:bodyPr lIns="51435" tIns="25718" rIns="51435" bIns="25718"/>
            <a:lstStyle/>
            <a:p>
              <a:pPr defTabSz="514350">
                <a:defRPr/>
              </a:pPr>
              <a:endParaRPr lang="id-ID" sz="450">
                <a:solidFill>
                  <a:schemeClr val="bg1">
                    <a:lumMod val="50000"/>
                  </a:schemeClr>
                </a:solidFill>
              </a:endParaRPr>
            </a:p>
          </p:txBody>
        </p:sp>
      </p:grpSp>
      <p:grpSp>
        <p:nvGrpSpPr>
          <p:cNvPr id="15" name="Group 92"/>
          <p:cNvGrpSpPr>
            <a:grpSpLocks noChangeAspect="1"/>
          </p:cNvGrpSpPr>
          <p:nvPr/>
        </p:nvGrpSpPr>
        <p:grpSpPr>
          <a:xfrm>
            <a:off x="4268404" y="2505084"/>
            <a:ext cx="324046" cy="324302"/>
            <a:chOff x="4427538" y="3192463"/>
            <a:chExt cx="823913" cy="825500"/>
          </a:xfrm>
          <a:solidFill>
            <a:schemeClr val="accent3"/>
          </a:solidFill>
        </p:grpSpPr>
        <p:sp>
          <p:nvSpPr>
            <p:cNvPr id="104" name="Oval 23"/>
            <p:cNvSpPr>
              <a:spLocks noChangeArrowheads="1"/>
            </p:cNvSpPr>
            <p:nvPr/>
          </p:nvSpPr>
          <p:spPr bwMode="auto">
            <a:xfrm>
              <a:off x="4813301" y="3825875"/>
              <a:ext cx="57150" cy="57150"/>
            </a:xfrm>
            <a:prstGeom prst="ellipse">
              <a:avLst/>
            </a:prstGeom>
            <a:grpFill/>
            <a:ln>
              <a:noFill/>
            </a:ln>
          </p:spPr>
          <p:txBody>
            <a:bodyPr lIns="51435" tIns="25718" rIns="51435" bIns="25718"/>
            <a:lstStyle/>
            <a:p>
              <a:pPr defTabSz="514350">
                <a:defRPr/>
              </a:pPr>
              <a:endParaRPr lang="id-ID" sz="450">
                <a:solidFill>
                  <a:schemeClr val="bg1">
                    <a:lumMod val="50000"/>
                  </a:schemeClr>
                </a:solidFill>
              </a:endParaRPr>
            </a:p>
          </p:txBody>
        </p:sp>
        <p:sp>
          <p:nvSpPr>
            <p:cNvPr id="105" name="Rectangle 24"/>
            <p:cNvSpPr>
              <a:spLocks noChangeArrowheads="1"/>
            </p:cNvSpPr>
            <p:nvPr/>
          </p:nvSpPr>
          <p:spPr bwMode="auto">
            <a:xfrm>
              <a:off x="4784726" y="3352800"/>
              <a:ext cx="115888" cy="15875"/>
            </a:xfrm>
            <a:prstGeom prst="rect">
              <a:avLst/>
            </a:prstGeom>
            <a:grpFill/>
            <a:ln>
              <a:noFill/>
            </a:ln>
          </p:spPr>
          <p:txBody>
            <a:bodyPr lIns="51435" tIns="25718" rIns="51435" bIns="25718"/>
            <a:lstStyle/>
            <a:p>
              <a:pPr defTabSz="514350">
                <a:defRPr/>
              </a:pPr>
              <a:endParaRPr lang="id-ID" sz="450">
                <a:solidFill>
                  <a:schemeClr val="bg1">
                    <a:lumMod val="50000"/>
                  </a:schemeClr>
                </a:solidFill>
              </a:endParaRPr>
            </a:p>
          </p:txBody>
        </p:sp>
        <p:sp>
          <p:nvSpPr>
            <p:cNvPr id="106" name="Freeform 25"/>
            <p:cNvSpPr>
              <a:spLocks noEditPoints="1"/>
            </p:cNvSpPr>
            <p:nvPr/>
          </p:nvSpPr>
          <p:spPr bwMode="auto">
            <a:xfrm>
              <a:off x="4427538" y="3192463"/>
              <a:ext cx="823913" cy="825500"/>
            </a:xfrm>
            <a:custGeom>
              <a:gdLst>
                <a:gd name="T0" fmla="*/ 143 w 286"/>
                <a:gd name="T1" fmla="*/ 0 h 287"/>
                <a:gd name="T2" fmla="*/ 0 w 286"/>
                <a:gd name="T3" fmla="*/ 143 h 287"/>
                <a:gd name="T4" fmla="*/ 143 w 286"/>
                <a:gd name="T5" fmla="*/ 287 h 287"/>
                <a:gd name="T6" fmla="*/ 286 w 286"/>
                <a:gd name="T7" fmla="*/ 143 h 287"/>
                <a:gd name="T8" fmla="*/ 143 w 286"/>
                <a:gd name="T9" fmla="*/ 0 h 287"/>
                <a:gd name="T10" fmla="*/ 201 w 286"/>
                <a:gd name="T11" fmla="*/ 234 h 287"/>
                <a:gd name="T12" fmla="*/ 187 w 286"/>
                <a:gd name="T13" fmla="*/ 248 h 287"/>
                <a:gd name="T14" fmla="*/ 101 w 286"/>
                <a:gd name="T15" fmla="*/ 248 h 287"/>
                <a:gd name="T16" fmla="*/ 87 w 286"/>
                <a:gd name="T17" fmla="*/ 234 h 287"/>
                <a:gd name="T18" fmla="*/ 87 w 286"/>
                <a:gd name="T19" fmla="*/ 60 h 287"/>
                <a:gd name="T20" fmla="*/ 101 w 286"/>
                <a:gd name="T21" fmla="*/ 46 h 287"/>
                <a:gd name="T22" fmla="*/ 187 w 286"/>
                <a:gd name="T23" fmla="*/ 46 h 287"/>
                <a:gd name="T24" fmla="*/ 201 w 286"/>
                <a:gd name="T25" fmla="*/ 60 h 287"/>
                <a:gd name="T26" fmla="*/ 201 w 286"/>
                <a:gd name="T27" fmla="*/ 234 h 2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287">
                  <a:moveTo>
                    <a:pt x="143" y="0"/>
                  </a:moveTo>
                  <a:cubicBezTo>
                    <a:pt x="64" y="0"/>
                    <a:pt x="0" y="64"/>
                    <a:pt x="0" y="143"/>
                  </a:cubicBezTo>
                  <a:cubicBezTo>
                    <a:pt x="0" y="222"/>
                    <a:pt x="64" y="287"/>
                    <a:pt x="143" y="287"/>
                  </a:cubicBezTo>
                  <a:cubicBezTo>
                    <a:pt x="222" y="287"/>
                    <a:pt x="286" y="222"/>
                    <a:pt x="286" y="143"/>
                  </a:cubicBezTo>
                  <a:cubicBezTo>
                    <a:pt x="286" y="64"/>
                    <a:pt x="222" y="0"/>
                    <a:pt x="143" y="0"/>
                  </a:cubicBezTo>
                  <a:close/>
                  <a:moveTo>
                    <a:pt x="201" y="234"/>
                  </a:moveTo>
                  <a:cubicBezTo>
                    <a:pt x="201" y="242"/>
                    <a:pt x="195" y="248"/>
                    <a:pt x="187" y="248"/>
                  </a:cubicBezTo>
                  <a:cubicBezTo>
                    <a:pt x="101" y="248"/>
                    <a:pt x="101" y="248"/>
                    <a:pt x="101" y="248"/>
                  </a:cubicBezTo>
                  <a:cubicBezTo>
                    <a:pt x="93" y="248"/>
                    <a:pt x="87" y="242"/>
                    <a:pt x="87" y="234"/>
                  </a:cubicBezTo>
                  <a:cubicBezTo>
                    <a:pt x="87" y="60"/>
                    <a:pt x="87" y="60"/>
                    <a:pt x="87" y="60"/>
                  </a:cubicBezTo>
                  <a:cubicBezTo>
                    <a:pt x="87" y="52"/>
                    <a:pt x="93" y="46"/>
                    <a:pt x="101" y="46"/>
                  </a:cubicBezTo>
                  <a:cubicBezTo>
                    <a:pt x="187" y="46"/>
                    <a:pt x="187" y="46"/>
                    <a:pt x="187" y="46"/>
                  </a:cubicBezTo>
                  <a:cubicBezTo>
                    <a:pt x="195" y="46"/>
                    <a:pt x="201" y="52"/>
                    <a:pt x="201" y="60"/>
                  </a:cubicBezTo>
                  <a:lnTo>
                    <a:pt x="201" y="234"/>
                  </a:lnTo>
                  <a:close/>
                </a:path>
              </a:pathLst>
            </a:custGeom>
            <a:grpFill/>
            <a:ln>
              <a:noFill/>
            </a:ln>
          </p:spPr>
          <p:txBody>
            <a:bodyPr lIns="51435" tIns="25718" rIns="51435" bIns="25718"/>
            <a:lstStyle/>
            <a:p>
              <a:pPr defTabSz="514350">
                <a:defRPr/>
              </a:pPr>
              <a:endParaRPr lang="id-ID" sz="450">
                <a:solidFill>
                  <a:schemeClr val="bg1">
                    <a:lumMod val="50000"/>
                  </a:schemeClr>
                </a:solidFill>
              </a:endParaRPr>
            </a:p>
          </p:txBody>
        </p:sp>
        <p:sp>
          <p:nvSpPr>
            <p:cNvPr id="107" name="Oval 26"/>
            <p:cNvSpPr>
              <a:spLocks noChangeArrowheads="1"/>
            </p:cNvSpPr>
            <p:nvPr/>
          </p:nvSpPr>
          <p:spPr bwMode="auto">
            <a:xfrm>
              <a:off x="4926013" y="3351213"/>
              <a:ext cx="22225" cy="19050"/>
            </a:xfrm>
            <a:prstGeom prst="ellipse">
              <a:avLst/>
            </a:prstGeom>
            <a:grpFill/>
            <a:ln>
              <a:noFill/>
            </a:ln>
          </p:spPr>
          <p:txBody>
            <a:bodyPr lIns="51435" tIns="25718" rIns="51435" bIns="25718"/>
            <a:lstStyle/>
            <a:p>
              <a:pPr defTabSz="514350">
                <a:defRPr/>
              </a:pPr>
              <a:endParaRPr lang="id-ID" sz="450">
                <a:solidFill>
                  <a:schemeClr val="bg1">
                    <a:lumMod val="50000"/>
                  </a:schemeClr>
                </a:solidFill>
              </a:endParaRPr>
            </a:p>
          </p:txBody>
        </p:sp>
        <p:sp>
          <p:nvSpPr>
            <p:cNvPr id="108" name="Rectangle 27"/>
            <p:cNvSpPr>
              <a:spLocks noChangeArrowheads="1"/>
            </p:cNvSpPr>
            <p:nvPr/>
          </p:nvSpPr>
          <p:spPr bwMode="auto">
            <a:xfrm>
              <a:off x="4710113" y="3397250"/>
              <a:ext cx="265113" cy="400050"/>
            </a:xfrm>
            <a:prstGeom prst="rect">
              <a:avLst/>
            </a:prstGeom>
            <a:grpFill/>
            <a:ln>
              <a:noFill/>
            </a:ln>
          </p:spPr>
          <p:txBody>
            <a:bodyPr lIns="51435" tIns="25718" rIns="51435" bIns="25718"/>
            <a:lstStyle/>
            <a:p>
              <a:pPr defTabSz="514350">
                <a:defRPr/>
              </a:pPr>
              <a:endParaRPr lang="id-ID" sz="450">
                <a:solidFill>
                  <a:schemeClr val="bg1">
                    <a:lumMod val="50000"/>
                  </a:schemeClr>
                </a:solidFill>
              </a:endParaRPr>
            </a:p>
          </p:txBody>
        </p:sp>
      </p:grpSp>
      <p:sp>
        <p:nvSpPr>
          <p:cNvPr id="109" name="Freeform 31"/>
          <p:cNvSpPr>
            <a:spLocks noChangeAspect="1" noEditPoints="1"/>
          </p:cNvSpPr>
          <p:nvPr/>
        </p:nvSpPr>
        <p:spPr bwMode="auto">
          <a:xfrm>
            <a:off x="6484667" y="1411473"/>
            <a:ext cx="323816" cy="324702"/>
          </a:xfrm>
          <a:custGeom>
            <a:gdLst>
              <a:gd name="T0" fmla="*/ 2147483647 w 280"/>
              <a:gd name="T1" fmla="*/ 0 h 280"/>
              <a:gd name="T2" fmla="*/ 0 w 280"/>
              <a:gd name="T3" fmla="*/ 2147483647 h 280"/>
              <a:gd name="T4" fmla="*/ 2147483647 w 280"/>
              <a:gd name="T5" fmla="*/ 2147483647 h 280"/>
              <a:gd name="T6" fmla="*/ 2147483647 w 280"/>
              <a:gd name="T7" fmla="*/ 2147483647 h 280"/>
              <a:gd name="T8" fmla="*/ 2147483647 w 280"/>
              <a:gd name="T9" fmla="*/ 0 h 280"/>
              <a:gd name="T10" fmla="*/ 2147483647 w 280"/>
              <a:gd name="T11" fmla="*/ 2147483647 h 280"/>
              <a:gd name="T12" fmla="*/ 2147483647 w 280"/>
              <a:gd name="T13" fmla="*/ 2147483647 h 280"/>
              <a:gd name="T14" fmla="*/ 2147483647 w 280"/>
              <a:gd name="T15" fmla="*/ 2147483647 h 280"/>
              <a:gd name="T16" fmla="*/ 2147483647 w 280"/>
              <a:gd name="T17" fmla="*/ 2147483647 h 280"/>
              <a:gd name="T18" fmla="*/ 2147483647 w 280"/>
              <a:gd name="T19" fmla="*/ 2147483647 h 280"/>
              <a:gd name="T20" fmla="*/ 2147483647 w 280"/>
              <a:gd name="T21" fmla="*/ 2147483647 h 280"/>
              <a:gd name="T22" fmla="*/ 2147483647 w 280"/>
              <a:gd name="T23" fmla="*/ 2147483647 h 280"/>
              <a:gd name="T24" fmla="*/ 2147483647 w 280"/>
              <a:gd name="T25" fmla="*/ 2147483647 h 280"/>
              <a:gd name="T26" fmla="*/ 2147483647 w 280"/>
              <a:gd name="T27" fmla="*/ 2147483647 h 280"/>
              <a:gd name="T28" fmla="*/ 2147483647 w 280"/>
              <a:gd name="T29" fmla="*/ 2147483647 h 280"/>
              <a:gd name="T30" fmla="*/ 2147483647 w 280"/>
              <a:gd name="T31" fmla="*/ 2147483647 h 280"/>
              <a:gd name="T32" fmla="*/ 2147483647 w 280"/>
              <a:gd name="T33" fmla="*/ 2147483647 h 280"/>
              <a:gd name="T34" fmla="*/ 2147483647 w 280"/>
              <a:gd name="T35" fmla="*/ 2147483647 h 280"/>
              <a:gd name="T36" fmla="*/ 2147483647 w 280"/>
              <a:gd name="T37" fmla="*/ 2147483647 h 280"/>
              <a:gd name="T38" fmla="*/ 2147483647 w 280"/>
              <a:gd name="T39" fmla="*/ 2147483647 h 280"/>
              <a:gd name="T40" fmla="*/ 2147483647 w 280"/>
              <a:gd name="T41" fmla="*/ 2147483647 h 280"/>
              <a:gd name="T42" fmla="*/ 2147483647 w 280"/>
              <a:gd name="T43" fmla="*/ 2147483647 h 280"/>
              <a:gd name="T44" fmla="*/ 2147483647 w 280"/>
              <a:gd name="T45" fmla="*/ 2147483647 h 280"/>
              <a:gd name="T46" fmla="*/ 2147483647 w 280"/>
              <a:gd name="T47" fmla="*/ 2147483647 h 280"/>
              <a:gd name="T48" fmla="*/ 2147483647 w 280"/>
              <a:gd name="T49" fmla="*/ 2147483647 h 280"/>
              <a:gd name="T50" fmla="*/ 2147483647 w 280"/>
              <a:gd name="T51" fmla="*/ 2147483647 h 280"/>
              <a:gd name="T52" fmla="*/ 2147483647 w 280"/>
              <a:gd name="T53" fmla="*/ 2147483647 h 280"/>
              <a:gd name="T54" fmla="*/ 2147483647 w 280"/>
              <a:gd name="T55" fmla="*/ 2147483647 h 280"/>
              <a:gd name="T56" fmla="*/ 2147483647 w 280"/>
              <a:gd name="T57" fmla="*/ 2147483647 h 280"/>
              <a:gd name="T58" fmla="*/ 2147483647 w 280"/>
              <a:gd name="T59" fmla="*/ 2147483647 h 280"/>
              <a:gd name="T60" fmla="*/ 2147483647 w 280"/>
              <a:gd name="T61" fmla="*/ 2147483647 h 280"/>
              <a:gd name="T62" fmla="*/ 2147483647 w 280"/>
              <a:gd name="T63" fmla="*/ 2147483647 h 280"/>
              <a:gd name="T64" fmla="*/ 2147483647 w 280"/>
              <a:gd name="T65" fmla="*/ 2147483647 h 280"/>
              <a:gd name="T66" fmla="*/ 2147483647 w 280"/>
              <a:gd name="T67" fmla="*/ 2147483647 h 280"/>
              <a:gd name="T68" fmla="*/ 2147483647 w 280"/>
              <a:gd name="T69" fmla="*/ 2147483647 h 280"/>
              <a:gd name="T70" fmla="*/ 2147483647 w 280"/>
              <a:gd name="T71" fmla="*/ 2147483647 h 280"/>
              <a:gd name="T72" fmla="*/ 2147483647 w 280"/>
              <a:gd name="T73" fmla="*/ 2147483647 h 280"/>
              <a:gd name="T74" fmla="*/ 2147483647 w 280"/>
              <a:gd name="T75" fmla="*/ 2147483647 h 280"/>
              <a:gd name="T76" fmla="*/ 2147483647 w 280"/>
              <a:gd name="T77" fmla="*/ 2147483647 h 280"/>
              <a:gd name="T78" fmla="*/ 2147483647 w 280"/>
              <a:gd name="T79" fmla="*/ 2147483647 h 280"/>
              <a:gd name="T80" fmla="*/ 2147483647 w 280"/>
              <a:gd name="T81" fmla="*/ 2147483647 h 280"/>
              <a:gd name="T82" fmla="*/ 2147483647 w 280"/>
              <a:gd name="T83" fmla="*/ 2147483647 h 280"/>
              <a:gd name="T84" fmla="*/ 2147483647 w 280"/>
              <a:gd name="T85" fmla="*/ 2147483647 h 280"/>
              <a:gd name="T86" fmla="*/ 2147483647 w 280"/>
              <a:gd name="T87" fmla="*/ 2147483647 h 280"/>
              <a:gd name="T88" fmla="*/ 2147483647 w 280"/>
              <a:gd name="T89" fmla="*/ 2147483647 h 280"/>
              <a:gd name="T90" fmla="*/ 2147483647 w 280"/>
              <a:gd name="T91" fmla="*/ 2147483647 h 280"/>
              <a:gd name="T92" fmla="*/ 2147483647 w 280"/>
              <a:gd name="T93" fmla="*/ 2147483647 h 280"/>
              <a:gd name="T94" fmla="*/ 2147483647 w 280"/>
              <a:gd name="T95" fmla="*/ 2147483647 h 280"/>
              <a:gd name="T96" fmla="*/ 2147483647 w 280"/>
              <a:gd name="T97" fmla="*/ 2147483647 h 280"/>
              <a:gd name="T98" fmla="*/ 2147483647 w 280"/>
              <a:gd name="T99" fmla="*/ 2147483647 h 280"/>
              <a:gd name="T100" fmla="*/ 2147483647 w 280"/>
              <a:gd name="T101" fmla="*/ 2147483647 h 280"/>
              <a:gd name="T102" fmla="*/ 2147483647 w 280"/>
              <a:gd name="T103" fmla="*/ 2147483647 h 280"/>
              <a:gd name="T104" fmla="*/ 2147483647 w 280"/>
              <a:gd name="T105" fmla="*/ 2147483647 h 280"/>
              <a:gd name="T106" fmla="*/ 2147483647 w 280"/>
              <a:gd name="T107" fmla="*/ 2147483647 h 280"/>
              <a:gd name="T108" fmla="*/ 2147483647 w 280"/>
              <a:gd name="T109" fmla="*/ 2147483647 h 280"/>
              <a:gd name="T110" fmla="*/ 2147483647 w 280"/>
              <a:gd name="T111" fmla="*/ 2147483647 h 28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0"/>
              <a:gd name="T169" fmla="*/ 0 h 280"/>
              <a:gd name="T170" fmla="*/ 280 w 280"/>
              <a:gd name="T171" fmla="*/ 280 h 280"/>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0" h="280">
                <a:moveTo>
                  <a:pt x="140" y="0"/>
                </a:moveTo>
                <a:cubicBezTo>
                  <a:pt x="62" y="0"/>
                  <a:pt x="0" y="62"/>
                  <a:pt x="0" y="140"/>
                </a:cubicBezTo>
                <a:cubicBezTo>
                  <a:pt x="0" y="217"/>
                  <a:pt x="62" y="280"/>
                  <a:pt x="140" y="280"/>
                </a:cubicBezTo>
                <a:cubicBezTo>
                  <a:pt x="217" y="280"/>
                  <a:pt x="280" y="217"/>
                  <a:pt x="280" y="140"/>
                </a:cubicBezTo>
                <a:cubicBezTo>
                  <a:pt x="280" y="62"/>
                  <a:pt x="217" y="0"/>
                  <a:pt x="140" y="0"/>
                </a:cubicBezTo>
                <a:close/>
                <a:moveTo>
                  <a:pt x="185" y="69"/>
                </a:moveTo>
                <a:cubicBezTo>
                  <a:pt x="199" y="69"/>
                  <a:pt x="211" y="81"/>
                  <a:pt x="211" y="95"/>
                </a:cubicBezTo>
                <a:cubicBezTo>
                  <a:pt x="211" y="110"/>
                  <a:pt x="199" y="122"/>
                  <a:pt x="185" y="122"/>
                </a:cubicBezTo>
                <a:cubicBezTo>
                  <a:pt x="181" y="122"/>
                  <a:pt x="177" y="121"/>
                  <a:pt x="174" y="119"/>
                </a:cubicBezTo>
                <a:cubicBezTo>
                  <a:pt x="173" y="109"/>
                  <a:pt x="167" y="100"/>
                  <a:pt x="158" y="95"/>
                </a:cubicBezTo>
                <a:cubicBezTo>
                  <a:pt x="159" y="81"/>
                  <a:pt x="170" y="69"/>
                  <a:pt x="185" y="69"/>
                </a:cubicBezTo>
                <a:close/>
                <a:moveTo>
                  <a:pt x="141" y="96"/>
                </a:moveTo>
                <a:cubicBezTo>
                  <a:pt x="156" y="96"/>
                  <a:pt x="167" y="108"/>
                  <a:pt x="167" y="123"/>
                </a:cubicBezTo>
                <a:cubicBezTo>
                  <a:pt x="167" y="137"/>
                  <a:pt x="156" y="149"/>
                  <a:pt x="141" y="149"/>
                </a:cubicBezTo>
                <a:cubicBezTo>
                  <a:pt x="127" y="149"/>
                  <a:pt x="115" y="137"/>
                  <a:pt x="115" y="123"/>
                </a:cubicBezTo>
                <a:cubicBezTo>
                  <a:pt x="115" y="108"/>
                  <a:pt x="127" y="96"/>
                  <a:pt x="141" y="96"/>
                </a:cubicBezTo>
                <a:close/>
                <a:moveTo>
                  <a:pt x="95" y="69"/>
                </a:moveTo>
                <a:cubicBezTo>
                  <a:pt x="109" y="69"/>
                  <a:pt x="121" y="81"/>
                  <a:pt x="121" y="95"/>
                </a:cubicBezTo>
                <a:cubicBezTo>
                  <a:pt x="121" y="96"/>
                  <a:pt x="121" y="96"/>
                  <a:pt x="121" y="97"/>
                </a:cubicBezTo>
                <a:cubicBezTo>
                  <a:pt x="115" y="102"/>
                  <a:pt x="110" y="109"/>
                  <a:pt x="109" y="118"/>
                </a:cubicBezTo>
                <a:cubicBezTo>
                  <a:pt x="105" y="120"/>
                  <a:pt x="100" y="122"/>
                  <a:pt x="95" y="122"/>
                </a:cubicBezTo>
                <a:cubicBezTo>
                  <a:pt x="80" y="122"/>
                  <a:pt x="68" y="110"/>
                  <a:pt x="68" y="95"/>
                </a:cubicBezTo>
                <a:cubicBezTo>
                  <a:pt x="68" y="81"/>
                  <a:pt x="80" y="69"/>
                  <a:pt x="95" y="69"/>
                </a:cubicBezTo>
                <a:close/>
                <a:moveTo>
                  <a:pt x="90" y="193"/>
                </a:moveTo>
                <a:cubicBezTo>
                  <a:pt x="79" y="192"/>
                  <a:pt x="66" y="190"/>
                  <a:pt x="52" y="186"/>
                </a:cubicBezTo>
                <a:cubicBezTo>
                  <a:pt x="50" y="185"/>
                  <a:pt x="50" y="185"/>
                  <a:pt x="50" y="185"/>
                </a:cubicBezTo>
                <a:cubicBezTo>
                  <a:pt x="50" y="185"/>
                  <a:pt x="50" y="185"/>
                  <a:pt x="50" y="185"/>
                </a:cubicBezTo>
                <a:cubicBezTo>
                  <a:pt x="50" y="157"/>
                  <a:pt x="50" y="157"/>
                  <a:pt x="50" y="157"/>
                </a:cubicBezTo>
                <a:cubicBezTo>
                  <a:pt x="50" y="139"/>
                  <a:pt x="65" y="124"/>
                  <a:pt x="84" y="124"/>
                </a:cubicBezTo>
                <a:cubicBezTo>
                  <a:pt x="106" y="124"/>
                  <a:pt x="106" y="124"/>
                  <a:pt x="106" y="124"/>
                </a:cubicBezTo>
                <a:cubicBezTo>
                  <a:pt x="107" y="124"/>
                  <a:pt x="108" y="124"/>
                  <a:pt x="108" y="124"/>
                </a:cubicBezTo>
                <a:cubicBezTo>
                  <a:pt x="109" y="132"/>
                  <a:pt x="113" y="140"/>
                  <a:pt x="118" y="146"/>
                </a:cubicBezTo>
                <a:cubicBezTo>
                  <a:pt x="102" y="151"/>
                  <a:pt x="90" y="166"/>
                  <a:pt x="90" y="185"/>
                </a:cubicBezTo>
                <a:lnTo>
                  <a:pt x="90" y="193"/>
                </a:lnTo>
                <a:close/>
                <a:moveTo>
                  <a:pt x="186" y="212"/>
                </a:moveTo>
                <a:cubicBezTo>
                  <a:pt x="186" y="212"/>
                  <a:pt x="186" y="212"/>
                  <a:pt x="186" y="212"/>
                </a:cubicBezTo>
                <a:cubicBezTo>
                  <a:pt x="184" y="213"/>
                  <a:pt x="184" y="213"/>
                  <a:pt x="184" y="213"/>
                </a:cubicBezTo>
                <a:cubicBezTo>
                  <a:pt x="183" y="213"/>
                  <a:pt x="169" y="220"/>
                  <a:pt x="144" y="220"/>
                </a:cubicBezTo>
                <a:cubicBezTo>
                  <a:pt x="131" y="220"/>
                  <a:pt x="116" y="218"/>
                  <a:pt x="98" y="213"/>
                </a:cubicBezTo>
                <a:cubicBezTo>
                  <a:pt x="96" y="212"/>
                  <a:pt x="96" y="212"/>
                  <a:pt x="96" y="212"/>
                </a:cubicBezTo>
                <a:cubicBezTo>
                  <a:pt x="96" y="212"/>
                  <a:pt x="96" y="212"/>
                  <a:pt x="96" y="212"/>
                </a:cubicBezTo>
                <a:cubicBezTo>
                  <a:pt x="96" y="185"/>
                  <a:pt x="96" y="185"/>
                  <a:pt x="96" y="185"/>
                </a:cubicBezTo>
                <a:cubicBezTo>
                  <a:pt x="96" y="166"/>
                  <a:pt x="111" y="151"/>
                  <a:pt x="130" y="151"/>
                </a:cubicBezTo>
                <a:cubicBezTo>
                  <a:pt x="152" y="151"/>
                  <a:pt x="152" y="151"/>
                  <a:pt x="152" y="151"/>
                </a:cubicBezTo>
                <a:cubicBezTo>
                  <a:pt x="171" y="151"/>
                  <a:pt x="186" y="166"/>
                  <a:pt x="186" y="185"/>
                </a:cubicBezTo>
                <a:lnTo>
                  <a:pt x="186" y="212"/>
                </a:lnTo>
                <a:close/>
                <a:moveTo>
                  <a:pt x="230" y="185"/>
                </a:moveTo>
                <a:cubicBezTo>
                  <a:pt x="230" y="185"/>
                  <a:pt x="230" y="185"/>
                  <a:pt x="230" y="185"/>
                </a:cubicBezTo>
                <a:cubicBezTo>
                  <a:pt x="228" y="186"/>
                  <a:pt x="228" y="186"/>
                  <a:pt x="228" y="186"/>
                </a:cubicBezTo>
                <a:cubicBezTo>
                  <a:pt x="227" y="186"/>
                  <a:pt x="214" y="192"/>
                  <a:pt x="192" y="193"/>
                </a:cubicBezTo>
                <a:cubicBezTo>
                  <a:pt x="192" y="185"/>
                  <a:pt x="192" y="185"/>
                  <a:pt x="192" y="185"/>
                </a:cubicBezTo>
                <a:cubicBezTo>
                  <a:pt x="192" y="166"/>
                  <a:pt x="180" y="151"/>
                  <a:pt x="164" y="146"/>
                </a:cubicBezTo>
                <a:cubicBezTo>
                  <a:pt x="170" y="140"/>
                  <a:pt x="173" y="132"/>
                  <a:pt x="174" y="124"/>
                </a:cubicBezTo>
                <a:cubicBezTo>
                  <a:pt x="196" y="124"/>
                  <a:pt x="196" y="124"/>
                  <a:pt x="196" y="124"/>
                </a:cubicBezTo>
                <a:cubicBezTo>
                  <a:pt x="215" y="124"/>
                  <a:pt x="230" y="139"/>
                  <a:pt x="230" y="157"/>
                </a:cubicBezTo>
                <a:lnTo>
                  <a:pt x="230" y="185"/>
                </a:lnTo>
                <a:close/>
              </a:path>
            </a:pathLst>
          </a:custGeom>
          <a:solidFill>
            <a:schemeClr val="accent2"/>
          </a:solidFill>
          <a:ln>
            <a:noFill/>
          </a:ln>
        </p:spPr>
        <p:txBody>
          <a:bodyPr lIns="51435" tIns="25718" rIns="51435" bIns="25718"/>
          <a:lstStyle/>
          <a:p>
            <a:endParaRPr lang="zh-CN" altLang="en-US" sz="1015">
              <a:solidFill>
                <a:schemeClr val="bg1">
                  <a:lumMod val="50000"/>
                </a:schemeClr>
              </a:solidFill>
            </a:endParaRPr>
          </a:p>
        </p:txBody>
      </p:sp>
      <p:sp>
        <p:nvSpPr>
          <p:cNvPr id="110" name="Freeform 45"/>
          <p:cNvSpPr>
            <a:spLocks noChangeAspect="1" noEditPoints="1"/>
          </p:cNvSpPr>
          <p:nvPr/>
        </p:nvSpPr>
        <p:spPr bwMode="auto">
          <a:xfrm>
            <a:off x="6484667" y="2515531"/>
            <a:ext cx="323850" cy="323850"/>
          </a:xfrm>
          <a:custGeom>
            <a:gdLst>
              <a:gd name="T0" fmla="*/ 0 w 342"/>
              <a:gd name="T1" fmla="*/ 171 h 342"/>
              <a:gd name="T2" fmla="*/ 342 w 342"/>
              <a:gd name="T3" fmla="*/ 171 h 342"/>
              <a:gd name="T4" fmla="*/ 48 w 342"/>
              <a:gd name="T5" fmla="*/ 140 h 342"/>
              <a:gd name="T6" fmla="*/ 108 w 342"/>
              <a:gd name="T7" fmla="*/ 164 h 342"/>
              <a:gd name="T8" fmla="*/ 48 w 342"/>
              <a:gd name="T9" fmla="*/ 140 h 342"/>
              <a:gd name="T10" fmla="*/ 109 w 342"/>
              <a:gd name="T11" fmla="*/ 171 h 342"/>
              <a:gd name="T12" fmla="*/ 66 w 342"/>
              <a:gd name="T13" fmla="*/ 209 h 342"/>
              <a:gd name="T14" fmla="*/ 95 w 342"/>
              <a:gd name="T15" fmla="*/ 283 h 342"/>
              <a:gd name="T16" fmla="*/ 95 w 342"/>
              <a:gd name="T17" fmla="*/ 245 h 342"/>
              <a:gd name="T18" fmla="*/ 95 w 342"/>
              <a:gd name="T19" fmla="*/ 283 h 342"/>
              <a:gd name="T20" fmla="*/ 67 w 342"/>
              <a:gd name="T21" fmla="*/ 216 h 342"/>
              <a:gd name="T22" fmla="*/ 114 w 342"/>
              <a:gd name="T23" fmla="*/ 239 h 342"/>
              <a:gd name="T24" fmla="*/ 169 w 342"/>
              <a:gd name="T25" fmla="*/ 239 h 342"/>
              <a:gd name="T26" fmla="*/ 120 w 342"/>
              <a:gd name="T27" fmla="*/ 216 h 342"/>
              <a:gd name="T28" fmla="*/ 169 w 342"/>
              <a:gd name="T29" fmla="*/ 239 h 342"/>
              <a:gd name="T30" fmla="*/ 119 w 342"/>
              <a:gd name="T31" fmla="*/ 209 h 342"/>
              <a:gd name="T32" fmla="*/ 175 w 342"/>
              <a:gd name="T33" fmla="*/ 171 h 342"/>
              <a:gd name="T34" fmla="*/ 116 w 342"/>
              <a:gd name="T35" fmla="*/ 164 h 342"/>
              <a:gd name="T36" fmla="*/ 177 w 342"/>
              <a:gd name="T37" fmla="*/ 140 h 342"/>
              <a:gd name="T38" fmla="*/ 116 w 342"/>
              <a:gd name="T39" fmla="*/ 164 h 342"/>
              <a:gd name="T40" fmla="*/ 177 w 342"/>
              <a:gd name="T41" fmla="*/ 264 h 342"/>
              <a:gd name="T42" fmla="*/ 215 w 342"/>
              <a:gd name="T43" fmla="*/ 264 h 342"/>
              <a:gd name="T44" fmla="*/ 217 w 342"/>
              <a:gd name="T45" fmla="*/ 239 h 342"/>
              <a:gd name="T46" fmla="*/ 178 w 342"/>
              <a:gd name="T47" fmla="*/ 216 h 342"/>
              <a:gd name="T48" fmla="*/ 217 w 342"/>
              <a:gd name="T49" fmla="*/ 239 h 342"/>
              <a:gd name="T50" fmla="*/ 179 w 342"/>
              <a:gd name="T51" fmla="*/ 209 h 342"/>
              <a:gd name="T52" fmla="*/ 235 w 342"/>
              <a:gd name="T53" fmla="*/ 171 h 342"/>
              <a:gd name="T54" fmla="*/ 283 w 342"/>
              <a:gd name="T55" fmla="*/ 126 h 342"/>
              <a:gd name="T56" fmla="*/ 241 w 342"/>
              <a:gd name="T57" fmla="*/ 149 h 342"/>
              <a:gd name="T58" fmla="*/ 182 w 342"/>
              <a:gd name="T59" fmla="*/ 164 h 342"/>
              <a:gd name="T60" fmla="*/ 220 w 342"/>
              <a:gd name="T61" fmla="*/ 140 h 342"/>
              <a:gd name="T62" fmla="*/ 252 w 342"/>
              <a:gd name="T63" fmla="*/ 107 h 342"/>
              <a:gd name="T64" fmla="*/ 260 w 342"/>
              <a:gd name="T65" fmla="*/ 103 h 342"/>
              <a:gd name="T66" fmla="*/ 283 w 342"/>
              <a:gd name="T67" fmla="*/ 126 h 3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2" h="342">
                <a:moveTo>
                  <a:pt x="171" y="0"/>
                </a:moveTo>
                <a:cubicBezTo>
                  <a:pt x="76" y="0"/>
                  <a:pt x="0" y="77"/>
                  <a:pt x="0" y="171"/>
                </a:cubicBezTo>
                <a:cubicBezTo>
                  <a:pt x="0" y="266"/>
                  <a:pt x="76" y="342"/>
                  <a:pt x="171" y="342"/>
                </a:cubicBezTo>
                <a:cubicBezTo>
                  <a:pt x="265" y="342"/>
                  <a:pt x="342" y="266"/>
                  <a:pt x="342" y="171"/>
                </a:cubicBezTo>
                <a:cubicBezTo>
                  <a:pt x="342" y="77"/>
                  <a:pt x="265" y="0"/>
                  <a:pt x="171" y="0"/>
                </a:cubicBezTo>
                <a:close/>
                <a:moveTo>
                  <a:pt x="48" y="140"/>
                </a:moveTo>
                <a:cubicBezTo>
                  <a:pt x="106" y="140"/>
                  <a:pt x="106" y="140"/>
                  <a:pt x="106" y="140"/>
                </a:cubicBezTo>
                <a:cubicBezTo>
                  <a:pt x="108" y="164"/>
                  <a:pt x="108" y="164"/>
                  <a:pt x="108" y="164"/>
                </a:cubicBezTo>
                <a:cubicBezTo>
                  <a:pt x="54" y="164"/>
                  <a:pt x="54" y="164"/>
                  <a:pt x="54" y="164"/>
                </a:cubicBezTo>
                <a:lnTo>
                  <a:pt x="48" y="140"/>
                </a:lnTo>
                <a:close/>
                <a:moveTo>
                  <a:pt x="56" y="171"/>
                </a:moveTo>
                <a:cubicBezTo>
                  <a:pt x="109" y="171"/>
                  <a:pt x="109" y="171"/>
                  <a:pt x="109" y="171"/>
                </a:cubicBezTo>
                <a:cubicBezTo>
                  <a:pt x="112" y="209"/>
                  <a:pt x="112" y="209"/>
                  <a:pt x="112" y="209"/>
                </a:cubicBezTo>
                <a:cubicBezTo>
                  <a:pt x="66" y="209"/>
                  <a:pt x="66" y="209"/>
                  <a:pt x="66" y="209"/>
                </a:cubicBezTo>
                <a:lnTo>
                  <a:pt x="56" y="171"/>
                </a:lnTo>
                <a:close/>
                <a:moveTo>
                  <a:pt x="95" y="283"/>
                </a:moveTo>
                <a:cubicBezTo>
                  <a:pt x="85" y="283"/>
                  <a:pt x="76" y="275"/>
                  <a:pt x="76" y="264"/>
                </a:cubicBezTo>
                <a:cubicBezTo>
                  <a:pt x="76" y="254"/>
                  <a:pt x="85" y="245"/>
                  <a:pt x="95" y="245"/>
                </a:cubicBezTo>
                <a:cubicBezTo>
                  <a:pt x="106" y="245"/>
                  <a:pt x="114" y="254"/>
                  <a:pt x="114" y="264"/>
                </a:cubicBezTo>
                <a:cubicBezTo>
                  <a:pt x="114" y="275"/>
                  <a:pt x="106" y="283"/>
                  <a:pt x="95" y="283"/>
                </a:cubicBezTo>
                <a:close/>
                <a:moveTo>
                  <a:pt x="73" y="239"/>
                </a:moveTo>
                <a:cubicBezTo>
                  <a:pt x="67" y="216"/>
                  <a:pt x="67" y="216"/>
                  <a:pt x="67" y="216"/>
                </a:cubicBezTo>
                <a:cubicBezTo>
                  <a:pt x="113" y="216"/>
                  <a:pt x="113" y="216"/>
                  <a:pt x="113" y="216"/>
                </a:cubicBezTo>
                <a:cubicBezTo>
                  <a:pt x="114" y="239"/>
                  <a:pt x="114" y="239"/>
                  <a:pt x="114" y="239"/>
                </a:cubicBezTo>
                <a:lnTo>
                  <a:pt x="73" y="239"/>
                </a:lnTo>
                <a:close/>
                <a:moveTo>
                  <a:pt x="169" y="239"/>
                </a:moveTo>
                <a:cubicBezTo>
                  <a:pt x="122" y="239"/>
                  <a:pt x="122" y="239"/>
                  <a:pt x="122" y="239"/>
                </a:cubicBezTo>
                <a:cubicBezTo>
                  <a:pt x="120" y="216"/>
                  <a:pt x="120" y="216"/>
                  <a:pt x="120" y="216"/>
                </a:cubicBezTo>
                <a:cubicBezTo>
                  <a:pt x="171" y="216"/>
                  <a:pt x="171" y="216"/>
                  <a:pt x="171" y="216"/>
                </a:cubicBezTo>
                <a:lnTo>
                  <a:pt x="169" y="239"/>
                </a:lnTo>
                <a:close/>
                <a:moveTo>
                  <a:pt x="171" y="209"/>
                </a:moveTo>
                <a:cubicBezTo>
                  <a:pt x="119" y="209"/>
                  <a:pt x="119" y="209"/>
                  <a:pt x="119" y="209"/>
                </a:cubicBezTo>
                <a:cubicBezTo>
                  <a:pt x="116" y="171"/>
                  <a:pt x="116" y="171"/>
                  <a:pt x="116" y="171"/>
                </a:cubicBezTo>
                <a:cubicBezTo>
                  <a:pt x="175" y="171"/>
                  <a:pt x="175" y="171"/>
                  <a:pt x="175" y="171"/>
                </a:cubicBezTo>
                <a:lnTo>
                  <a:pt x="171" y="209"/>
                </a:lnTo>
                <a:close/>
                <a:moveTo>
                  <a:pt x="116" y="164"/>
                </a:moveTo>
                <a:cubicBezTo>
                  <a:pt x="114" y="140"/>
                  <a:pt x="114" y="140"/>
                  <a:pt x="114" y="140"/>
                </a:cubicBezTo>
                <a:cubicBezTo>
                  <a:pt x="177" y="140"/>
                  <a:pt x="177" y="140"/>
                  <a:pt x="177" y="140"/>
                </a:cubicBezTo>
                <a:cubicBezTo>
                  <a:pt x="175" y="164"/>
                  <a:pt x="175" y="164"/>
                  <a:pt x="175" y="164"/>
                </a:cubicBezTo>
                <a:lnTo>
                  <a:pt x="116" y="164"/>
                </a:lnTo>
                <a:close/>
                <a:moveTo>
                  <a:pt x="196" y="283"/>
                </a:moveTo>
                <a:cubicBezTo>
                  <a:pt x="185" y="283"/>
                  <a:pt x="177" y="275"/>
                  <a:pt x="177" y="264"/>
                </a:cubicBezTo>
                <a:cubicBezTo>
                  <a:pt x="177" y="254"/>
                  <a:pt x="185" y="245"/>
                  <a:pt x="196" y="245"/>
                </a:cubicBezTo>
                <a:cubicBezTo>
                  <a:pt x="206" y="245"/>
                  <a:pt x="215" y="254"/>
                  <a:pt x="215" y="264"/>
                </a:cubicBezTo>
                <a:cubicBezTo>
                  <a:pt x="215" y="275"/>
                  <a:pt x="206" y="283"/>
                  <a:pt x="196" y="283"/>
                </a:cubicBezTo>
                <a:close/>
                <a:moveTo>
                  <a:pt x="217" y="239"/>
                </a:moveTo>
                <a:cubicBezTo>
                  <a:pt x="176" y="239"/>
                  <a:pt x="176" y="239"/>
                  <a:pt x="176" y="239"/>
                </a:cubicBezTo>
                <a:cubicBezTo>
                  <a:pt x="178" y="216"/>
                  <a:pt x="178" y="216"/>
                  <a:pt x="178" y="216"/>
                </a:cubicBezTo>
                <a:cubicBezTo>
                  <a:pt x="223" y="216"/>
                  <a:pt x="223" y="216"/>
                  <a:pt x="223" y="216"/>
                </a:cubicBezTo>
                <a:lnTo>
                  <a:pt x="217" y="239"/>
                </a:lnTo>
                <a:close/>
                <a:moveTo>
                  <a:pt x="225" y="209"/>
                </a:moveTo>
                <a:cubicBezTo>
                  <a:pt x="179" y="209"/>
                  <a:pt x="179" y="209"/>
                  <a:pt x="179" y="209"/>
                </a:cubicBezTo>
                <a:cubicBezTo>
                  <a:pt x="182" y="171"/>
                  <a:pt x="182" y="171"/>
                  <a:pt x="182" y="171"/>
                </a:cubicBezTo>
                <a:cubicBezTo>
                  <a:pt x="235" y="171"/>
                  <a:pt x="235" y="171"/>
                  <a:pt x="235" y="171"/>
                </a:cubicBezTo>
                <a:lnTo>
                  <a:pt x="225" y="209"/>
                </a:lnTo>
                <a:close/>
                <a:moveTo>
                  <a:pt x="283" y="126"/>
                </a:moveTo>
                <a:cubicBezTo>
                  <a:pt x="264" y="126"/>
                  <a:pt x="264" y="126"/>
                  <a:pt x="264" y="126"/>
                </a:cubicBezTo>
                <a:cubicBezTo>
                  <a:pt x="256" y="133"/>
                  <a:pt x="249" y="141"/>
                  <a:pt x="241" y="149"/>
                </a:cubicBezTo>
                <a:cubicBezTo>
                  <a:pt x="237" y="164"/>
                  <a:pt x="237" y="164"/>
                  <a:pt x="237" y="164"/>
                </a:cubicBezTo>
                <a:cubicBezTo>
                  <a:pt x="182" y="164"/>
                  <a:pt x="182" y="164"/>
                  <a:pt x="182" y="164"/>
                </a:cubicBezTo>
                <a:cubicBezTo>
                  <a:pt x="184" y="140"/>
                  <a:pt x="184" y="140"/>
                  <a:pt x="184" y="140"/>
                </a:cubicBezTo>
                <a:cubicBezTo>
                  <a:pt x="220" y="140"/>
                  <a:pt x="220" y="140"/>
                  <a:pt x="220" y="140"/>
                </a:cubicBezTo>
                <a:cubicBezTo>
                  <a:pt x="221" y="139"/>
                  <a:pt x="221" y="138"/>
                  <a:pt x="222" y="137"/>
                </a:cubicBezTo>
                <a:cubicBezTo>
                  <a:pt x="232" y="127"/>
                  <a:pt x="242" y="117"/>
                  <a:pt x="252" y="107"/>
                </a:cubicBezTo>
                <a:cubicBezTo>
                  <a:pt x="252" y="107"/>
                  <a:pt x="253" y="106"/>
                  <a:pt x="254" y="105"/>
                </a:cubicBezTo>
                <a:cubicBezTo>
                  <a:pt x="256" y="104"/>
                  <a:pt x="258" y="103"/>
                  <a:pt x="260" y="103"/>
                </a:cubicBezTo>
                <a:cubicBezTo>
                  <a:pt x="283" y="103"/>
                  <a:pt x="283" y="103"/>
                  <a:pt x="283" y="103"/>
                </a:cubicBezTo>
                <a:cubicBezTo>
                  <a:pt x="297" y="103"/>
                  <a:pt x="297" y="126"/>
                  <a:pt x="283" y="126"/>
                </a:cubicBezTo>
                <a:close/>
              </a:path>
            </a:pathLst>
          </a:custGeom>
          <a:solidFill>
            <a:schemeClr val="accent4"/>
          </a:solidFill>
          <a:ln>
            <a:noFill/>
          </a:ln>
        </p:spPr>
        <p:txBody>
          <a:bodyPr lIns="51435" tIns="25718" rIns="51435" bIns="25718"/>
          <a:lstStyle/>
          <a:p>
            <a:pPr defTabSz="514350">
              <a:defRPr/>
            </a:pPr>
            <a:endParaRPr lang="id-ID" sz="450">
              <a:solidFill>
                <a:schemeClr val="bg1">
                  <a:lumMod val="50000"/>
                </a:schemeClr>
              </a:solidFill>
            </a:endParaRPr>
          </a:p>
        </p:txBody>
      </p:sp>
      <p:sp>
        <p:nvSpPr>
          <p:cNvPr id="111" name="矩形 110"/>
          <p:cNvSpPr/>
          <p:nvPr/>
        </p:nvSpPr>
        <p:spPr>
          <a:xfrm>
            <a:off x="4736348" y="1388912"/>
            <a:ext cx="1305165" cy="369332"/>
          </a:xfrm>
          <a:prstGeom prst="rect">
            <a:avLst/>
          </a:prstGeom>
        </p:spPr>
        <p:txBody>
          <a:bodyPr wrap="none">
            <a:spAutoFit/>
          </a:bodyPr>
          <a:lstStyle/>
          <a:p>
            <a:pPr lvl="0" algn="ctr"/>
            <a:r>
              <a:rPr lang="en-US" altLang="zh-CN" sz="1800" b="1">
                <a:solidFill>
                  <a:schemeClr val="bg1">
                    <a:lumMod val="50000"/>
                  </a:schemeClr>
                </a:solidFill>
                <a:latin typeface="微软雅黑" panose="020b0503020204020204" pitchFamily="34" charset="-122"/>
                <a:ea typeface="微软雅黑" panose="020b0503020204020204" pitchFamily="34" charset="-122"/>
              </a:rPr>
              <a:t>100</a:t>
            </a:r>
            <a:r>
              <a:rPr lang="zh-CN" altLang="en-US" sz="1800" b="1">
                <a:solidFill>
                  <a:schemeClr val="bg1">
                    <a:lumMod val="50000"/>
                  </a:schemeClr>
                </a:solidFill>
                <a:latin typeface="微软雅黑" panose="020b0503020204020204" pitchFamily="34" charset="-122"/>
                <a:ea typeface="微软雅黑" panose="020b0503020204020204" pitchFamily="34" charset="-122"/>
              </a:rPr>
              <a:t>家分店</a:t>
            </a:r>
            <a:endParaRPr lang="zh-CN" altLang="en-US" sz="1800" b="1">
              <a:solidFill>
                <a:schemeClr val="bg1">
                  <a:lumMod val="50000"/>
                </a:schemeClr>
              </a:solidFill>
              <a:latin typeface="微软雅黑" panose="020b0503020204020204" pitchFamily="34" charset="-122"/>
              <a:ea typeface="微软雅黑" panose="020b0503020204020204" pitchFamily="34" charset="-122"/>
            </a:endParaRPr>
          </a:p>
        </p:txBody>
      </p:sp>
      <p:sp>
        <p:nvSpPr>
          <p:cNvPr id="112" name="矩形 111"/>
          <p:cNvSpPr/>
          <p:nvPr/>
        </p:nvSpPr>
        <p:spPr>
          <a:xfrm>
            <a:off x="7024583" y="1383618"/>
            <a:ext cx="1107996" cy="369332"/>
          </a:xfrm>
          <a:prstGeom prst="rect">
            <a:avLst/>
          </a:prstGeom>
        </p:spPr>
        <p:txBody>
          <a:bodyPr wrap="none">
            <a:spAutoFit/>
          </a:bodyPr>
          <a:lstStyle/>
          <a:p>
            <a:pPr lvl="0" algn="ctr"/>
            <a:r>
              <a:rPr lang="zh-CN" altLang="en-US" sz="1800" b="1">
                <a:solidFill>
                  <a:schemeClr val="bg1">
                    <a:lumMod val="50000"/>
                  </a:schemeClr>
                </a:solidFill>
                <a:latin typeface="微软雅黑" panose="020b0503020204020204" pitchFamily="34" charset="-122"/>
                <a:ea typeface="微软雅黑" panose="020b0503020204020204" pitchFamily="34" charset="-122"/>
              </a:rPr>
              <a:t>十大产业</a:t>
            </a:r>
            <a:endParaRPr lang="zh-CN" altLang="en-US" sz="1800" b="1">
              <a:solidFill>
                <a:schemeClr val="bg1">
                  <a:lumMod val="50000"/>
                </a:schemeClr>
              </a:solidFill>
              <a:latin typeface="微软雅黑" panose="020b0503020204020204" pitchFamily="34" charset="-122"/>
              <a:ea typeface="微软雅黑" panose="020b0503020204020204" pitchFamily="34" charset="-122"/>
            </a:endParaRPr>
          </a:p>
        </p:txBody>
      </p:sp>
      <p:sp>
        <p:nvSpPr>
          <p:cNvPr id="113" name="矩形 112"/>
          <p:cNvSpPr/>
          <p:nvPr/>
        </p:nvSpPr>
        <p:spPr>
          <a:xfrm>
            <a:off x="4729068" y="2464173"/>
            <a:ext cx="1338829" cy="369332"/>
          </a:xfrm>
          <a:prstGeom prst="rect">
            <a:avLst/>
          </a:prstGeom>
        </p:spPr>
        <p:txBody>
          <a:bodyPr wrap="none">
            <a:spAutoFit/>
          </a:bodyPr>
          <a:lstStyle/>
          <a:p>
            <a:pPr lvl="0" algn="ctr"/>
            <a:r>
              <a:rPr lang="zh-CN" altLang="en-US" sz="1800" b="1">
                <a:solidFill>
                  <a:schemeClr val="bg1">
                    <a:lumMod val="50000"/>
                  </a:schemeClr>
                </a:solidFill>
                <a:latin typeface="微软雅黑" panose="020b0503020204020204" pitchFamily="34" charset="-122"/>
                <a:ea typeface="微软雅黑" panose="020b0503020204020204" pitchFamily="34" charset="-122"/>
              </a:rPr>
              <a:t>科技创新奖</a:t>
            </a:r>
            <a:endParaRPr lang="zh-CN" altLang="en-US" sz="1800" b="1">
              <a:solidFill>
                <a:schemeClr val="bg1">
                  <a:lumMod val="50000"/>
                </a:schemeClr>
              </a:solidFill>
              <a:latin typeface="微软雅黑" panose="020b0503020204020204" pitchFamily="34" charset="-122"/>
              <a:ea typeface="微软雅黑" panose="020b0503020204020204" pitchFamily="34" charset="-122"/>
            </a:endParaRPr>
          </a:p>
        </p:txBody>
      </p:sp>
      <p:sp>
        <p:nvSpPr>
          <p:cNvPr id="114" name="矩形 113"/>
          <p:cNvSpPr/>
          <p:nvPr/>
        </p:nvSpPr>
        <p:spPr>
          <a:xfrm>
            <a:off x="6941614" y="2463738"/>
            <a:ext cx="1569661" cy="369332"/>
          </a:xfrm>
          <a:prstGeom prst="rect">
            <a:avLst/>
          </a:prstGeom>
        </p:spPr>
        <p:txBody>
          <a:bodyPr wrap="none">
            <a:spAutoFit/>
          </a:bodyPr>
          <a:lstStyle/>
          <a:p>
            <a:pPr lvl="0" algn="ctr"/>
            <a:r>
              <a:rPr lang="zh-CN" altLang="en-US" sz="1800" b="1">
                <a:solidFill>
                  <a:schemeClr val="bg1">
                    <a:lumMod val="50000"/>
                  </a:schemeClr>
                </a:solidFill>
                <a:latin typeface="微软雅黑" panose="020b0503020204020204" pitchFamily="34" charset="-122"/>
                <a:ea typeface="微软雅黑" panose="020b0503020204020204" pitchFamily="34" charset="-122"/>
              </a:rPr>
              <a:t>年创利税破亿</a:t>
            </a:r>
            <a:endParaRPr lang="zh-CN" altLang="en-US" sz="1800" b="1">
              <a:solidFill>
                <a:schemeClr val="bg1">
                  <a:lumMod val="50000"/>
                </a:schemeClr>
              </a:solidFill>
              <a:latin typeface="微软雅黑" panose="020b0503020204020204" pitchFamily="34" charset="-122"/>
              <a:ea typeface="微软雅黑" panose="020b0503020204020204" pitchFamily="34" charset="-122"/>
            </a:endParaRPr>
          </a:p>
        </p:txBody>
      </p:sp>
      <p:sp>
        <p:nvSpPr>
          <p:cNvPr id="115" name="矩形 114"/>
          <p:cNvSpPr/>
          <p:nvPr/>
        </p:nvSpPr>
        <p:spPr>
          <a:xfrm>
            <a:off x="4752151" y="1729867"/>
            <a:ext cx="1480880" cy="655885"/>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在这里输入您的内容，在这里输入您的内容。</a:t>
            </a:r>
            <a:endParaRPr lang="zh-CN" altLang="en-US" sz="1050">
              <a:solidFill>
                <a:schemeClr val="bg1">
                  <a:lumMod val="50000"/>
                </a:schemeClr>
              </a:solidFill>
              <a:latin typeface="方正细圆简体" pitchFamily="2" charset="-122"/>
              <a:ea typeface="方正细圆简体" pitchFamily="2" charset="-122"/>
            </a:endParaRPr>
          </a:p>
        </p:txBody>
      </p:sp>
      <p:sp>
        <p:nvSpPr>
          <p:cNvPr id="116" name="矩形 115"/>
          <p:cNvSpPr/>
          <p:nvPr/>
        </p:nvSpPr>
        <p:spPr>
          <a:xfrm>
            <a:off x="6838141" y="1750105"/>
            <a:ext cx="1480880" cy="480131"/>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在这里输入您的内容，在这里输入您的内容。</a:t>
            </a:r>
            <a:endParaRPr lang="zh-CN" altLang="en-US" sz="1050">
              <a:solidFill>
                <a:schemeClr val="bg1">
                  <a:lumMod val="50000"/>
                </a:schemeClr>
              </a:solidFill>
              <a:latin typeface="方正细圆简体" pitchFamily="2" charset="-122"/>
              <a:ea typeface="方正细圆简体" pitchFamily="2" charset="-122"/>
            </a:endParaRPr>
          </a:p>
        </p:txBody>
      </p:sp>
      <p:sp>
        <p:nvSpPr>
          <p:cNvPr id="117" name="矩形 116"/>
          <p:cNvSpPr/>
          <p:nvPr/>
        </p:nvSpPr>
        <p:spPr>
          <a:xfrm>
            <a:off x="4764031" y="2870964"/>
            <a:ext cx="1480880" cy="480131"/>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在这里输入您的内容，在这里输入您的内容。</a:t>
            </a:r>
            <a:endParaRPr lang="zh-CN" altLang="en-US" sz="1050">
              <a:solidFill>
                <a:schemeClr val="bg1">
                  <a:lumMod val="50000"/>
                </a:schemeClr>
              </a:solidFill>
              <a:latin typeface="方正细圆简体" pitchFamily="2" charset="-122"/>
              <a:ea typeface="方正细圆简体" pitchFamily="2" charset="-122"/>
            </a:endParaRPr>
          </a:p>
        </p:txBody>
      </p:sp>
      <p:sp>
        <p:nvSpPr>
          <p:cNvPr id="118" name="矩形 117"/>
          <p:cNvSpPr/>
          <p:nvPr/>
        </p:nvSpPr>
        <p:spPr>
          <a:xfrm>
            <a:off x="7020403" y="2845963"/>
            <a:ext cx="1480880" cy="480131"/>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在这里输入您的内容，在这里输入您的内容。</a:t>
            </a:r>
            <a:endParaRPr lang="zh-CN" altLang="en-US" sz="1050">
              <a:solidFill>
                <a:schemeClr val="bg1">
                  <a:lumMod val="50000"/>
                </a:schemeClr>
              </a:solidFill>
              <a:latin typeface="方正细圆简体" pitchFamily="2" charset="-122"/>
              <a:ea typeface="方正细圆简体" pitchFamily="2" charset="-122"/>
            </a:endParaRPr>
          </a:p>
        </p:txBody>
      </p:sp>
      <p:sp>
        <p:nvSpPr>
          <p:cNvPr id="120" name="矩形 119"/>
          <p:cNvSpPr/>
          <p:nvPr/>
        </p:nvSpPr>
        <p:spPr>
          <a:xfrm>
            <a:off x="4764031" y="3759882"/>
            <a:ext cx="3737252" cy="692690"/>
          </a:xfrm>
          <a:prstGeom prst="rect">
            <a:avLst/>
          </a:prstGeom>
        </p:spPr>
        <p:txBody>
          <a:bodyPr wrap="square">
            <a:spAutoFit/>
          </a:bodyPr>
          <a:lstStyle/>
          <a:p>
            <a:pPr>
              <a:lnSpc>
                <a:spcPct val="13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可通过复制内容后右键选择保留文本。可通过复制内容后右键选择保留文本。可通过复制内容后右键选择保留文本。</a:t>
            </a:r>
            <a:endParaRPr lang="zh-CN" altLang="en-US" sz="1050">
              <a:solidFill>
                <a:schemeClr val="bg1">
                  <a:lumMod val="50000"/>
                </a:schemeClr>
              </a:solidFill>
              <a:latin typeface="方正细圆简体" pitchFamily="2" charset="-122"/>
              <a:ea typeface="方正细圆简体" pitchFamily="2" charset="-122"/>
            </a:endParaRPr>
          </a:p>
          <a:p>
            <a:pPr>
              <a:lnSpc>
                <a:spcPct val="130000"/>
              </a:lnSpc>
            </a:pPr>
            <a:endParaRPr lang="zh-CN" altLang="en-US" sz="1050">
              <a:solidFill>
                <a:schemeClr val="bg1">
                  <a:lumMod val="50000"/>
                </a:schemeClr>
              </a:solidFill>
              <a:latin typeface="方正细圆简体" pitchFamily="2" charset="-122"/>
              <a:ea typeface="方正细圆简体" pitchFamily="2" charset="-122"/>
            </a:endParaRPr>
          </a:p>
        </p:txBody>
      </p:sp>
      <p:cxnSp>
        <p:nvCxnSpPr>
          <p:cNvPr id="122" name="直接连接符 121"/>
          <p:cNvCxnSpPr/>
          <p:nvPr/>
        </p:nvCxnSpPr>
        <p:spPr>
          <a:xfrm>
            <a:off x="4752152" y="3543858"/>
            <a:ext cx="3566869" cy="0"/>
          </a:xfrm>
          <a:prstGeom prst="line">
            <a:avLst/>
          </a:prstGeom>
          <a:ln>
            <a:solidFill>
              <a:srgbClr val="0091C4"/>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7"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49" presetClass="entr" presetSubtype="0" decel="100000" fill="hold" nodeType="after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p:cTn id="13" dur="500" fill="hold"/>
                                        <p:tgtEl>
                                          <p:spTgt spid="14"/>
                                        </p:tgtEl>
                                        <p:attrNameLst>
                                          <p:attrName>ppt_w</p:attrName>
                                        </p:attrNameLst>
                                      </p:cBhvr>
                                      <p:tavLst>
                                        <p:tav tm="0">
                                          <p:val>
                                            <p:fltVal val="0"/>
                                          </p:val>
                                        </p:tav>
                                        <p:tav tm="100000">
                                          <p:val>
                                            <p:strVal val="#ppt_w"/>
                                          </p:val>
                                        </p:tav>
                                      </p:tavLst>
                                    </p:anim>
                                    <p:anim calcmode="lin" valueType="num">
                                      <p:cBhvr>
                                        <p:cTn id="14" dur="500" fill="hold"/>
                                        <p:tgtEl>
                                          <p:spTgt spid="14"/>
                                        </p:tgtEl>
                                        <p:attrNameLst>
                                          <p:attrName>ppt_h</p:attrName>
                                        </p:attrNameLst>
                                      </p:cBhvr>
                                      <p:tavLst>
                                        <p:tav tm="0">
                                          <p:val>
                                            <p:fltVal val="0"/>
                                          </p:val>
                                        </p:tav>
                                        <p:tav tm="100000">
                                          <p:val>
                                            <p:strVal val="#ppt_h"/>
                                          </p:val>
                                        </p:tav>
                                      </p:tavLst>
                                    </p:anim>
                                    <p:anim calcmode="lin" valueType="num">
                                      <p:cBhvr>
                                        <p:cTn id="15" dur="500" fill="hold"/>
                                        <p:tgtEl>
                                          <p:spTgt spid="14"/>
                                        </p:tgtEl>
                                        <p:attrNameLst>
                                          <p:attrName>style.rotation</p:attrName>
                                        </p:attrNameLst>
                                      </p:cBhvr>
                                      <p:tavLst>
                                        <p:tav tm="0">
                                          <p:val>
                                            <p:fltVal val="360"/>
                                          </p:val>
                                        </p:tav>
                                        <p:tav tm="100000">
                                          <p:val>
                                            <p:fltVal val="0"/>
                                          </p:val>
                                        </p:tav>
                                      </p:tavLst>
                                    </p:anim>
                                    <p:animEffect transition="in" filter="fade">
                                      <p:cBhvr>
                                        <p:cTn id="16" dur="500"/>
                                        <p:tgtEl>
                                          <p:spTgt spid="14"/>
                                        </p:tgtEl>
                                      </p:cBhvr>
                                    </p:animEffect>
                                  </p:childTnLst>
                                </p:cTn>
                              </p:par>
                            </p:childTnLst>
                          </p:cTn>
                        </p:par>
                        <p:par>
                          <p:cTn id="17" fill="hold" nodeType="afterGroup">
                            <p:stCondLst>
                              <p:cond delay="1500"/>
                            </p:stCondLst>
                            <p:childTnLst>
                              <p:par>
                                <p:cTn id="18" presetID="23" presetClass="entr" presetSubtype="16" fill="hold" grpId="0" nodeType="afterEffect">
                                  <p:stCondLst>
                                    <p:cond delay="0"/>
                                  </p:stCondLst>
                                  <p:iterate type="lt">
                                    <p:tmPct val="10000"/>
                                  </p:iterate>
                                  <p:childTnLst>
                                    <p:set>
                                      <p:cBhvr>
                                        <p:cTn id="19" dur="1" fill="hold">
                                          <p:stCondLst>
                                            <p:cond delay="0"/>
                                          </p:stCondLst>
                                        </p:cTn>
                                        <p:tgtEl>
                                          <p:spTgt spid="111"/>
                                        </p:tgtEl>
                                        <p:attrNameLst>
                                          <p:attrName>style.visibility</p:attrName>
                                        </p:attrNameLst>
                                      </p:cBhvr>
                                      <p:to>
                                        <p:strVal val="visible"/>
                                      </p:to>
                                    </p:set>
                                    <p:anim calcmode="lin" valueType="num">
                                      <p:cBhvr>
                                        <p:cTn id="20" dur="500" fill="hold"/>
                                        <p:tgtEl>
                                          <p:spTgt spid="111"/>
                                        </p:tgtEl>
                                        <p:attrNameLst>
                                          <p:attrName>ppt_w</p:attrName>
                                        </p:attrNameLst>
                                      </p:cBhvr>
                                      <p:tavLst>
                                        <p:tav tm="0">
                                          <p:val>
                                            <p:fltVal val="0"/>
                                          </p:val>
                                        </p:tav>
                                        <p:tav tm="100000">
                                          <p:val>
                                            <p:strVal val="#ppt_w"/>
                                          </p:val>
                                        </p:tav>
                                      </p:tavLst>
                                    </p:anim>
                                    <p:anim calcmode="lin" valueType="num">
                                      <p:cBhvr>
                                        <p:cTn id="21" dur="500" fill="hold"/>
                                        <p:tgtEl>
                                          <p:spTgt spid="111"/>
                                        </p:tgtEl>
                                        <p:attrNameLst>
                                          <p:attrName>ppt_h</p:attrName>
                                        </p:attrNameLst>
                                      </p:cBhvr>
                                      <p:tavLst>
                                        <p:tav tm="0">
                                          <p:val>
                                            <p:fltVal val="0"/>
                                          </p:val>
                                        </p:tav>
                                        <p:tav tm="100000">
                                          <p:val>
                                            <p:strVal val="#ppt_h"/>
                                          </p:val>
                                        </p:tav>
                                      </p:tavLst>
                                    </p:anim>
                                  </p:childTnLst>
                                </p:cTn>
                              </p:par>
                            </p:childTnLst>
                          </p:cTn>
                        </p:par>
                        <p:par>
                          <p:cTn id="22" fill="hold" nodeType="afterGroup">
                            <p:stCondLst>
                              <p:cond delay="2000"/>
                            </p:stCondLst>
                            <p:childTnLst>
                              <p:par>
                                <p:cTn id="23" presetID="14" presetClass="entr" presetSubtype="10" fill="hold" grpId="0" nodeType="afterEffect">
                                  <p:stCondLst>
                                    <p:cond delay="0"/>
                                  </p:stCondLst>
                                  <p:childTnLst>
                                    <p:set>
                                      <p:cBhvr>
                                        <p:cTn id="24" dur="1" fill="hold">
                                          <p:stCondLst>
                                            <p:cond delay="0"/>
                                          </p:stCondLst>
                                        </p:cTn>
                                        <p:tgtEl>
                                          <p:spTgt spid="115"/>
                                        </p:tgtEl>
                                        <p:attrNameLst>
                                          <p:attrName>style.visibility</p:attrName>
                                        </p:attrNameLst>
                                      </p:cBhvr>
                                      <p:to>
                                        <p:strVal val="visible"/>
                                      </p:to>
                                    </p:set>
                                    <p:animEffect transition="in" filter="randombar(horizontal)">
                                      <p:cBhvr>
                                        <p:cTn id="25" dur="500"/>
                                        <p:tgtEl>
                                          <p:spTgt spid="115"/>
                                        </p:tgtEl>
                                      </p:cBhvr>
                                    </p:animEffect>
                                  </p:childTnLst>
                                </p:cTn>
                              </p:par>
                            </p:childTnLst>
                          </p:cTn>
                        </p:par>
                        <p:par>
                          <p:cTn id="26" fill="hold" nodeType="afterGroup">
                            <p:stCondLst>
                              <p:cond delay="2500"/>
                            </p:stCondLst>
                            <p:childTnLst>
                              <p:par>
                                <p:cTn id="27" presetID="49" presetClass="entr" presetSubtype="0" decel="100000" fill="hold" grpId="0" nodeType="afterEffect">
                                  <p:stCondLst>
                                    <p:cond delay="0"/>
                                  </p:stCondLst>
                                  <p:childTnLst>
                                    <p:set>
                                      <p:cBhvr>
                                        <p:cTn id="28" dur="1" fill="hold">
                                          <p:stCondLst>
                                            <p:cond delay="0"/>
                                          </p:stCondLst>
                                        </p:cTn>
                                        <p:tgtEl>
                                          <p:spTgt spid="109"/>
                                        </p:tgtEl>
                                        <p:attrNameLst>
                                          <p:attrName>style.visibility</p:attrName>
                                        </p:attrNameLst>
                                      </p:cBhvr>
                                      <p:to>
                                        <p:strVal val="visible"/>
                                      </p:to>
                                    </p:set>
                                    <p:anim calcmode="lin" valueType="num">
                                      <p:cBhvr>
                                        <p:cTn id="29" dur="500" fill="hold"/>
                                        <p:tgtEl>
                                          <p:spTgt spid="109"/>
                                        </p:tgtEl>
                                        <p:attrNameLst>
                                          <p:attrName>ppt_w</p:attrName>
                                        </p:attrNameLst>
                                      </p:cBhvr>
                                      <p:tavLst>
                                        <p:tav tm="0">
                                          <p:val>
                                            <p:fltVal val="0"/>
                                          </p:val>
                                        </p:tav>
                                        <p:tav tm="100000">
                                          <p:val>
                                            <p:strVal val="#ppt_w"/>
                                          </p:val>
                                        </p:tav>
                                      </p:tavLst>
                                    </p:anim>
                                    <p:anim calcmode="lin" valueType="num">
                                      <p:cBhvr>
                                        <p:cTn id="30" dur="500" fill="hold"/>
                                        <p:tgtEl>
                                          <p:spTgt spid="109"/>
                                        </p:tgtEl>
                                        <p:attrNameLst>
                                          <p:attrName>ppt_h</p:attrName>
                                        </p:attrNameLst>
                                      </p:cBhvr>
                                      <p:tavLst>
                                        <p:tav tm="0">
                                          <p:val>
                                            <p:fltVal val="0"/>
                                          </p:val>
                                        </p:tav>
                                        <p:tav tm="100000">
                                          <p:val>
                                            <p:strVal val="#ppt_h"/>
                                          </p:val>
                                        </p:tav>
                                      </p:tavLst>
                                    </p:anim>
                                    <p:anim calcmode="lin" valueType="num">
                                      <p:cBhvr>
                                        <p:cTn id="31" dur="500" fill="hold"/>
                                        <p:tgtEl>
                                          <p:spTgt spid="109"/>
                                        </p:tgtEl>
                                        <p:attrNameLst>
                                          <p:attrName>style.rotation</p:attrName>
                                        </p:attrNameLst>
                                      </p:cBhvr>
                                      <p:tavLst>
                                        <p:tav tm="0">
                                          <p:val>
                                            <p:fltVal val="360"/>
                                          </p:val>
                                        </p:tav>
                                        <p:tav tm="100000">
                                          <p:val>
                                            <p:fltVal val="0"/>
                                          </p:val>
                                        </p:tav>
                                      </p:tavLst>
                                    </p:anim>
                                    <p:animEffect transition="in" filter="fade">
                                      <p:cBhvr>
                                        <p:cTn id="32" dur="500"/>
                                        <p:tgtEl>
                                          <p:spTgt spid="109"/>
                                        </p:tgtEl>
                                      </p:cBhvr>
                                    </p:animEffect>
                                  </p:childTnLst>
                                </p:cTn>
                              </p:par>
                            </p:childTnLst>
                          </p:cTn>
                        </p:par>
                        <p:par>
                          <p:cTn id="33" fill="hold" nodeType="afterGroup">
                            <p:stCondLst>
                              <p:cond delay="3000"/>
                            </p:stCondLst>
                            <p:childTnLst>
                              <p:par>
                                <p:cTn id="34" presetID="23" presetClass="entr" presetSubtype="16" fill="hold" grpId="0" nodeType="afterEffect">
                                  <p:stCondLst>
                                    <p:cond delay="0"/>
                                  </p:stCondLst>
                                  <p:iterate type="lt">
                                    <p:tmPct val="10000"/>
                                  </p:iterate>
                                  <p:childTnLst>
                                    <p:set>
                                      <p:cBhvr>
                                        <p:cTn id="35" dur="1" fill="hold">
                                          <p:stCondLst>
                                            <p:cond delay="0"/>
                                          </p:stCondLst>
                                        </p:cTn>
                                        <p:tgtEl>
                                          <p:spTgt spid="112"/>
                                        </p:tgtEl>
                                        <p:attrNameLst>
                                          <p:attrName>style.visibility</p:attrName>
                                        </p:attrNameLst>
                                      </p:cBhvr>
                                      <p:to>
                                        <p:strVal val="visible"/>
                                      </p:to>
                                    </p:set>
                                    <p:anim calcmode="lin" valueType="num">
                                      <p:cBhvr>
                                        <p:cTn id="36" dur="500" fill="hold"/>
                                        <p:tgtEl>
                                          <p:spTgt spid="112"/>
                                        </p:tgtEl>
                                        <p:attrNameLst>
                                          <p:attrName>ppt_w</p:attrName>
                                        </p:attrNameLst>
                                      </p:cBhvr>
                                      <p:tavLst>
                                        <p:tav tm="0">
                                          <p:val>
                                            <p:fltVal val="0"/>
                                          </p:val>
                                        </p:tav>
                                        <p:tav tm="100000">
                                          <p:val>
                                            <p:strVal val="#ppt_w"/>
                                          </p:val>
                                        </p:tav>
                                      </p:tavLst>
                                    </p:anim>
                                    <p:anim calcmode="lin" valueType="num">
                                      <p:cBhvr>
                                        <p:cTn id="37" dur="500" fill="hold"/>
                                        <p:tgtEl>
                                          <p:spTgt spid="112"/>
                                        </p:tgtEl>
                                        <p:attrNameLst>
                                          <p:attrName>ppt_h</p:attrName>
                                        </p:attrNameLst>
                                      </p:cBhvr>
                                      <p:tavLst>
                                        <p:tav tm="0">
                                          <p:val>
                                            <p:fltVal val="0"/>
                                          </p:val>
                                        </p:tav>
                                        <p:tav tm="100000">
                                          <p:val>
                                            <p:strVal val="#ppt_h"/>
                                          </p:val>
                                        </p:tav>
                                      </p:tavLst>
                                    </p:anim>
                                  </p:childTnLst>
                                </p:cTn>
                              </p:par>
                            </p:childTnLst>
                          </p:cTn>
                        </p:par>
                        <p:par>
                          <p:cTn id="38" fill="hold" nodeType="afterGroup">
                            <p:stCondLst>
                              <p:cond delay="3500"/>
                            </p:stCondLst>
                            <p:childTnLst>
                              <p:par>
                                <p:cTn id="39" presetID="14" presetClass="entr" presetSubtype="10" fill="hold" grpId="0" nodeType="afterEffect">
                                  <p:stCondLst>
                                    <p:cond delay="0"/>
                                  </p:stCondLst>
                                  <p:childTnLst>
                                    <p:set>
                                      <p:cBhvr>
                                        <p:cTn id="40" dur="1" fill="hold">
                                          <p:stCondLst>
                                            <p:cond delay="0"/>
                                          </p:stCondLst>
                                        </p:cTn>
                                        <p:tgtEl>
                                          <p:spTgt spid="116"/>
                                        </p:tgtEl>
                                        <p:attrNameLst>
                                          <p:attrName>style.visibility</p:attrName>
                                        </p:attrNameLst>
                                      </p:cBhvr>
                                      <p:to>
                                        <p:strVal val="visible"/>
                                      </p:to>
                                    </p:set>
                                    <p:animEffect transition="in" filter="randombar(horizontal)">
                                      <p:cBhvr>
                                        <p:cTn id="41" dur="500"/>
                                        <p:tgtEl>
                                          <p:spTgt spid="116"/>
                                        </p:tgtEl>
                                      </p:cBhvr>
                                    </p:animEffect>
                                  </p:childTnLst>
                                </p:cTn>
                              </p:par>
                            </p:childTnLst>
                          </p:cTn>
                        </p:par>
                        <p:par>
                          <p:cTn id="42" fill="hold" nodeType="afterGroup">
                            <p:stCondLst>
                              <p:cond delay="4000"/>
                            </p:stCondLst>
                            <p:childTnLst>
                              <p:par>
                                <p:cTn id="43" presetID="49" presetClass="entr" presetSubtype="0" decel="100000" fill="hold" nodeType="afterEffect">
                                  <p:stCondLst>
                                    <p:cond delay="0"/>
                                  </p:stCondLst>
                                  <p:childTnLst>
                                    <p:set>
                                      <p:cBhvr>
                                        <p:cTn id="44" dur="1" fill="hold">
                                          <p:stCondLst>
                                            <p:cond delay="0"/>
                                          </p:stCondLst>
                                        </p:cTn>
                                        <p:tgtEl>
                                          <p:spTgt spid="15"/>
                                        </p:tgtEl>
                                        <p:attrNameLst>
                                          <p:attrName>style.visibility</p:attrName>
                                        </p:attrNameLst>
                                      </p:cBhvr>
                                      <p:to>
                                        <p:strVal val="visible"/>
                                      </p:to>
                                    </p:set>
                                    <p:anim calcmode="lin" valueType="num">
                                      <p:cBhvr>
                                        <p:cTn id="45" dur="500" fill="hold"/>
                                        <p:tgtEl>
                                          <p:spTgt spid="15"/>
                                        </p:tgtEl>
                                        <p:attrNameLst>
                                          <p:attrName>ppt_w</p:attrName>
                                        </p:attrNameLst>
                                      </p:cBhvr>
                                      <p:tavLst>
                                        <p:tav tm="0">
                                          <p:val>
                                            <p:fltVal val="0"/>
                                          </p:val>
                                        </p:tav>
                                        <p:tav tm="100000">
                                          <p:val>
                                            <p:strVal val="#ppt_w"/>
                                          </p:val>
                                        </p:tav>
                                      </p:tavLst>
                                    </p:anim>
                                    <p:anim calcmode="lin" valueType="num">
                                      <p:cBhvr>
                                        <p:cTn id="46" dur="500" fill="hold"/>
                                        <p:tgtEl>
                                          <p:spTgt spid="15"/>
                                        </p:tgtEl>
                                        <p:attrNameLst>
                                          <p:attrName>ppt_h</p:attrName>
                                        </p:attrNameLst>
                                      </p:cBhvr>
                                      <p:tavLst>
                                        <p:tav tm="0">
                                          <p:val>
                                            <p:fltVal val="0"/>
                                          </p:val>
                                        </p:tav>
                                        <p:tav tm="100000">
                                          <p:val>
                                            <p:strVal val="#ppt_h"/>
                                          </p:val>
                                        </p:tav>
                                      </p:tavLst>
                                    </p:anim>
                                    <p:anim calcmode="lin" valueType="num">
                                      <p:cBhvr>
                                        <p:cTn id="47" dur="500" fill="hold"/>
                                        <p:tgtEl>
                                          <p:spTgt spid="15"/>
                                        </p:tgtEl>
                                        <p:attrNameLst>
                                          <p:attrName>style.rotation</p:attrName>
                                        </p:attrNameLst>
                                      </p:cBhvr>
                                      <p:tavLst>
                                        <p:tav tm="0">
                                          <p:val>
                                            <p:fltVal val="360"/>
                                          </p:val>
                                        </p:tav>
                                        <p:tav tm="100000">
                                          <p:val>
                                            <p:fltVal val="0"/>
                                          </p:val>
                                        </p:tav>
                                      </p:tavLst>
                                    </p:anim>
                                    <p:animEffect transition="in" filter="fade">
                                      <p:cBhvr>
                                        <p:cTn id="48" dur="500"/>
                                        <p:tgtEl>
                                          <p:spTgt spid="15"/>
                                        </p:tgtEl>
                                      </p:cBhvr>
                                    </p:animEffect>
                                  </p:childTnLst>
                                </p:cTn>
                              </p:par>
                            </p:childTnLst>
                          </p:cTn>
                        </p:par>
                        <p:par>
                          <p:cTn id="49" fill="hold" nodeType="afterGroup">
                            <p:stCondLst>
                              <p:cond delay="4500"/>
                            </p:stCondLst>
                            <p:childTnLst>
                              <p:par>
                                <p:cTn id="50" presetID="23" presetClass="entr" presetSubtype="16" fill="hold" grpId="0" nodeType="afterEffect">
                                  <p:stCondLst>
                                    <p:cond delay="0"/>
                                  </p:stCondLst>
                                  <p:iterate type="lt">
                                    <p:tmPct val="10000"/>
                                  </p:iterate>
                                  <p:childTnLst>
                                    <p:set>
                                      <p:cBhvr>
                                        <p:cTn id="51" dur="1" fill="hold">
                                          <p:stCondLst>
                                            <p:cond delay="0"/>
                                          </p:stCondLst>
                                        </p:cTn>
                                        <p:tgtEl>
                                          <p:spTgt spid="113"/>
                                        </p:tgtEl>
                                        <p:attrNameLst>
                                          <p:attrName>style.visibility</p:attrName>
                                        </p:attrNameLst>
                                      </p:cBhvr>
                                      <p:to>
                                        <p:strVal val="visible"/>
                                      </p:to>
                                    </p:set>
                                    <p:anim calcmode="lin" valueType="num">
                                      <p:cBhvr>
                                        <p:cTn id="52" dur="500" fill="hold"/>
                                        <p:tgtEl>
                                          <p:spTgt spid="113"/>
                                        </p:tgtEl>
                                        <p:attrNameLst>
                                          <p:attrName>ppt_w</p:attrName>
                                        </p:attrNameLst>
                                      </p:cBhvr>
                                      <p:tavLst>
                                        <p:tav tm="0">
                                          <p:val>
                                            <p:fltVal val="0"/>
                                          </p:val>
                                        </p:tav>
                                        <p:tav tm="100000">
                                          <p:val>
                                            <p:strVal val="#ppt_w"/>
                                          </p:val>
                                        </p:tav>
                                      </p:tavLst>
                                    </p:anim>
                                    <p:anim calcmode="lin" valueType="num">
                                      <p:cBhvr>
                                        <p:cTn id="53" dur="500" fill="hold"/>
                                        <p:tgtEl>
                                          <p:spTgt spid="113"/>
                                        </p:tgtEl>
                                        <p:attrNameLst>
                                          <p:attrName>ppt_h</p:attrName>
                                        </p:attrNameLst>
                                      </p:cBhvr>
                                      <p:tavLst>
                                        <p:tav tm="0">
                                          <p:val>
                                            <p:fltVal val="0"/>
                                          </p:val>
                                        </p:tav>
                                        <p:tav tm="100000">
                                          <p:val>
                                            <p:strVal val="#ppt_h"/>
                                          </p:val>
                                        </p:tav>
                                      </p:tavLst>
                                    </p:anim>
                                  </p:childTnLst>
                                </p:cTn>
                              </p:par>
                            </p:childTnLst>
                          </p:cTn>
                        </p:par>
                        <p:par>
                          <p:cTn id="54" fill="hold" nodeType="afterGroup">
                            <p:stCondLst>
                              <p:cond delay="5000"/>
                            </p:stCondLst>
                            <p:childTnLst>
                              <p:par>
                                <p:cTn id="55" presetID="14" presetClass="entr" presetSubtype="10" fill="hold" grpId="0" nodeType="afterEffect">
                                  <p:stCondLst>
                                    <p:cond delay="0"/>
                                  </p:stCondLst>
                                  <p:childTnLst>
                                    <p:set>
                                      <p:cBhvr>
                                        <p:cTn id="56" dur="1" fill="hold">
                                          <p:stCondLst>
                                            <p:cond delay="0"/>
                                          </p:stCondLst>
                                        </p:cTn>
                                        <p:tgtEl>
                                          <p:spTgt spid="117"/>
                                        </p:tgtEl>
                                        <p:attrNameLst>
                                          <p:attrName>style.visibility</p:attrName>
                                        </p:attrNameLst>
                                      </p:cBhvr>
                                      <p:to>
                                        <p:strVal val="visible"/>
                                      </p:to>
                                    </p:set>
                                    <p:animEffect transition="in" filter="randombar(horizontal)">
                                      <p:cBhvr>
                                        <p:cTn id="57" dur="500"/>
                                        <p:tgtEl>
                                          <p:spTgt spid="117"/>
                                        </p:tgtEl>
                                      </p:cBhvr>
                                    </p:animEffect>
                                  </p:childTnLst>
                                </p:cTn>
                              </p:par>
                            </p:childTnLst>
                          </p:cTn>
                        </p:par>
                        <p:par>
                          <p:cTn id="58" fill="hold" nodeType="afterGroup">
                            <p:stCondLst>
                              <p:cond delay="5500"/>
                            </p:stCondLst>
                            <p:childTnLst>
                              <p:par>
                                <p:cTn id="59" presetID="49" presetClass="entr" presetSubtype="0" decel="100000" fill="hold" grpId="0" nodeType="afterEffect">
                                  <p:stCondLst>
                                    <p:cond delay="0"/>
                                  </p:stCondLst>
                                  <p:childTnLst>
                                    <p:set>
                                      <p:cBhvr>
                                        <p:cTn id="60" dur="1" fill="hold">
                                          <p:stCondLst>
                                            <p:cond delay="0"/>
                                          </p:stCondLst>
                                        </p:cTn>
                                        <p:tgtEl>
                                          <p:spTgt spid="110"/>
                                        </p:tgtEl>
                                        <p:attrNameLst>
                                          <p:attrName>style.visibility</p:attrName>
                                        </p:attrNameLst>
                                      </p:cBhvr>
                                      <p:to>
                                        <p:strVal val="visible"/>
                                      </p:to>
                                    </p:set>
                                    <p:anim calcmode="lin" valueType="num">
                                      <p:cBhvr>
                                        <p:cTn id="61" dur="500" fill="hold"/>
                                        <p:tgtEl>
                                          <p:spTgt spid="110"/>
                                        </p:tgtEl>
                                        <p:attrNameLst>
                                          <p:attrName>ppt_w</p:attrName>
                                        </p:attrNameLst>
                                      </p:cBhvr>
                                      <p:tavLst>
                                        <p:tav tm="0">
                                          <p:val>
                                            <p:fltVal val="0"/>
                                          </p:val>
                                        </p:tav>
                                        <p:tav tm="100000">
                                          <p:val>
                                            <p:strVal val="#ppt_w"/>
                                          </p:val>
                                        </p:tav>
                                      </p:tavLst>
                                    </p:anim>
                                    <p:anim calcmode="lin" valueType="num">
                                      <p:cBhvr>
                                        <p:cTn id="62" dur="500" fill="hold"/>
                                        <p:tgtEl>
                                          <p:spTgt spid="110"/>
                                        </p:tgtEl>
                                        <p:attrNameLst>
                                          <p:attrName>ppt_h</p:attrName>
                                        </p:attrNameLst>
                                      </p:cBhvr>
                                      <p:tavLst>
                                        <p:tav tm="0">
                                          <p:val>
                                            <p:fltVal val="0"/>
                                          </p:val>
                                        </p:tav>
                                        <p:tav tm="100000">
                                          <p:val>
                                            <p:strVal val="#ppt_h"/>
                                          </p:val>
                                        </p:tav>
                                      </p:tavLst>
                                    </p:anim>
                                    <p:anim calcmode="lin" valueType="num">
                                      <p:cBhvr>
                                        <p:cTn id="63" dur="500" fill="hold"/>
                                        <p:tgtEl>
                                          <p:spTgt spid="110"/>
                                        </p:tgtEl>
                                        <p:attrNameLst>
                                          <p:attrName>style.rotation</p:attrName>
                                        </p:attrNameLst>
                                      </p:cBhvr>
                                      <p:tavLst>
                                        <p:tav tm="0">
                                          <p:val>
                                            <p:fltVal val="360"/>
                                          </p:val>
                                        </p:tav>
                                        <p:tav tm="100000">
                                          <p:val>
                                            <p:fltVal val="0"/>
                                          </p:val>
                                        </p:tav>
                                      </p:tavLst>
                                    </p:anim>
                                    <p:animEffect transition="in" filter="fade">
                                      <p:cBhvr>
                                        <p:cTn id="64" dur="500"/>
                                        <p:tgtEl>
                                          <p:spTgt spid="110"/>
                                        </p:tgtEl>
                                      </p:cBhvr>
                                    </p:animEffect>
                                  </p:childTnLst>
                                </p:cTn>
                              </p:par>
                            </p:childTnLst>
                          </p:cTn>
                        </p:par>
                        <p:par>
                          <p:cTn id="65" fill="hold" nodeType="afterGroup">
                            <p:stCondLst>
                              <p:cond delay="6000"/>
                            </p:stCondLst>
                            <p:childTnLst>
                              <p:par>
                                <p:cTn id="66" presetID="23" presetClass="entr" presetSubtype="16" fill="hold" grpId="0" nodeType="afterEffect">
                                  <p:stCondLst>
                                    <p:cond delay="0"/>
                                  </p:stCondLst>
                                  <p:iterate type="lt">
                                    <p:tmPct val="10000"/>
                                  </p:iterate>
                                  <p:childTnLst>
                                    <p:set>
                                      <p:cBhvr>
                                        <p:cTn id="67" dur="1" fill="hold">
                                          <p:stCondLst>
                                            <p:cond delay="0"/>
                                          </p:stCondLst>
                                        </p:cTn>
                                        <p:tgtEl>
                                          <p:spTgt spid="114"/>
                                        </p:tgtEl>
                                        <p:attrNameLst>
                                          <p:attrName>style.visibility</p:attrName>
                                        </p:attrNameLst>
                                      </p:cBhvr>
                                      <p:to>
                                        <p:strVal val="visible"/>
                                      </p:to>
                                    </p:set>
                                    <p:anim calcmode="lin" valueType="num">
                                      <p:cBhvr>
                                        <p:cTn id="68" dur="500" fill="hold"/>
                                        <p:tgtEl>
                                          <p:spTgt spid="114"/>
                                        </p:tgtEl>
                                        <p:attrNameLst>
                                          <p:attrName>ppt_w</p:attrName>
                                        </p:attrNameLst>
                                      </p:cBhvr>
                                      <p:tavLst>
                                        <p:tav tm="0">
                                          <p:val>
                                            <p:fltVal val="0"/>
                                          </p:val>
                                        </p:tav>
                                        <p:tav tm="100000">
                                          <p:val>
                                            <p:strVal val="#ppt_w"/>
                                          </p:val>
                                        </p:tav>
                                      </p:tavLst>
                                    </p:anim>
                                    <p:anim calcmode="lin" valueType="num">
                                      <p:cBhvr>
                                        <p:cTn id="69" dur="500" fill="hold"/>
                                        <p:tgtEl>
                                          <p:spTgt spid="114"/>
                                        </p:tgtEl>
                                        <p:attrNameLst>
                                          <p:attrName>ppt_h</p:attrName>
                                        </p:attrNameLst>
                                      </p:cBhvr>
                                      <p:tavLst>
                                        <p:tav tm="0">
                                          <p:val>
                                            <p:fltVal val="0"/>
                                          </p:val>
                                        </p:tav>
                                        <p:tav tm="100000">
                                          <p:val>
                                            <p:strVal val="#ppt_h"/>
                                          </p:val>
                                        </p:tav>
                                      </p:tavLst>
                                    </p:anim>
                                  </p:childTnLst>
                                </p:cTn>
                              </p:par>
                            </p:childTnLst>
                          </p:cTn>
                        </p:par>
                        <p:par>
                          <p:cTn id="70" fill="hold" nodeType="afterGroup">
                            <p:stCondLst>
                              <p:cond delay="6500"/>
                            </p:stCondLst>
                            <p:childTnLst>
                              <p:par>
                                <p:cTn id="71" presetID="14" presetClass="entr" presetSubtype="10" fill="hold" grpId="0" nodeType="afterEffect">
                                  <p:stCondLst>
                                    <p:cond delay="0"/>
                                  </p:stCondLst>
                                  <p:childTnLst>
                                    <p:set>
                                      <p:cBhvr>
                                        <p:cTn id="72" dur="1" fill="hold">
                                          <p:stCondLst>
                                            <p:cond delay="0"/>
                                          </p:stCondLst>
                                        </p:cTn>
                                        <p:tgtEl>
                                          <p:spTgt spid="118"/>
                                        </p:tgtEl>
                                        <p:attrNameLst>
                                          <p:attrName>style.visibility</p:attrName>
                                        </p:attrNameLst>
                                      </p:cBhvr>
                                      <p:to>
                                        <p:strVal val="visible"/>
                                      </p:to>
                                    </p:set>
                                    <p:animEffect transition="in" filter="randombar(horizontal)">
                                      <p:cBhvr>
                                        <p:cTn id="73" dur="500"/>
                                        <p:tgtEl>
                                          <p:spTgt spid="118"/>
                                        </p:tgtEl>
                                      </p:cBhvr>
                                    </p:animEffect>
                                  </p:childTnLst>
                                </p:cTn>
                              </p:par>
                            </p:childTnLst>
                          </p:cTn>
                        </p:par>
                        <p:par>
                          <p:cTn id="74" fill="hold" nodeType="afterGroup">
                            <p:stCondLst>
                              <p:cond delay="7000"/>
                            </p:stCondLst>
                            <p:childTnLst>
                              <p:par>
                                <p:cTn id="75" presetID="16" presetClass="entr" presetSubtype="21" fill="hold" nodeType="afterEffect">
                                  <p:stCondLst>
                                    <p:cond delay="0"/>
                                  </p:stCondLst>
                                  <p:childTnLst>
                                    <p:set>
                                      <p:cBhvr>
                                        <p:cTn id="76" dur="1" fill="hold">
                                          <p:stCondLst>
                                            <p:cond delay="0"/>
                                          </p:stCondLst>
                                        </p:cTn>
                                        <p:tgtEl>
                                          <p:spTgt spid="122"/>
                                        </p:tgtEl>
                                        <p:attrNameLst>
                                          <p:attrName>style.visibility</p:attrName>
                                        </p:attrNameLst>
                                      </p:cBhvr>
                                      <p:to>
                                        <p:strVal val="visible"/>
                                      </p:to>
                                    </p:set>
                                    <p:animEffect transition="in" filter="barn(inVertical)">
                                      <p:cBhvr>
                                        <p:cTn id="77" dur="500"/>
                                        <p:tgtEl>
                                          <p:spTgt spid="122"/>
                                        </p:tgtEl>
                                      </p:cBhvr>
                                    </p:animEffect>
                                  </p:childTnLst>
                                </p:cTn>
                              </p:par>
                            </p:childTnLst>
                          </p:cTn>
                        </p:par>
                        <p:par>
                          <p:cTn id="78" fill="hold" nodeType="afterGroup">
                            <p:stCondLst>
                              <p:cond delay="7500"/>
                            </p:stCondLst>
                            <p:childTnLst>
                              <p:par>
                                <p:cTn id="79" presetID="14" presetClass="entr" presetSubtype="10" fill="hold" grpId="0" nodeType="afterEffect">
                                  <p:stCondLst>
                                    <p:cond delay="0"/>
                                  </p:stCondLst>
                                  <p:childTnLst>
                                    <p:set>
                                      <p:cBhvr>
                                        <p:cTn id="80" dur="1" fill="hold">
                                          <p:stCondLst>
                                            <p:cond delay="0"/>
                                          </p:stCondLst>
                                        </p:cTn>
                                        <p:tgtEl>
                                          <p:spTgt spid="120"/>
                                        </p:tgtEl>
                                        <p:attrNameLst>
                                          <p:attrName>style.visibility</p:attrName>
                                        </p:attrNameLst>
                                      </p:cBhvr>
                                      <p:to>
                                        <p:strVal val="visible"/>
                                      </p:to>
                                    </p:set>
                                    <p:animEffect transition="in" filter="randombar(horizontal)">
                                      <p:cBhvr>
                                        <p:cTn id="81"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10" grpId="0" animBg="1"/>
      <p:bldP spid="111" grpId="0"/>
      <p:bldP spid="112" grpId="0"/>
      <p:bldP spid="113" grpId="0"/>
      <p:bldP spid="114" grpId="0"/>
      <p:bldP spid="115" grpId="0"/>
      <p:bldP spid="116" grpId="0"/>
      <p:bldP spid="117" grpId="0"/>
      <p:bldP spid="118" grpId="0"/>
      <p:bldP spid="120" grpId="0"/>
    </p:bldLst>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椭圆 7"/>
          <p:cNvSpPr/>
          <p:nvPr/>
        </p:nvSpPr>
        <p:spPr>
          <a:xfrm>
            <a:off x="395536" y="1545730"/>
            <a:ext cx="1012073" cy="1012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3100">
                <a:solidFill>
                  <a:schemeClr val="bg1"/>
                </a:solidFill>
                <a:latin typeface="Arial" panose="020b0604020202020204" pitchFamily="34" charset="0"/>
                <a:ea typeface="微软雅黑" panose="020b0503020204020204" pitchFamily="34" charset="-122"/>
                <a:sym typeface="Arial" panose="020b0604020202020204" pitchFamily="34" charset="0"/>
              </a:rPr>
              <a:t>04</a:t>
            </a:r>
            <a:endParaRPr lang="zh-CN" altLang="en-US" sz="3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9" name="MH_Entry_1"/>
          <p:cNvSpPr/>
          <p:nvPr>
            <p:custDataLst>
              <p:tags r:id="rId3"/>
            </p:custDataLst>
          </p:nvPr>
        </p:nvSpPr>
        <p:spPr>
          <a:xfrm>
            <a:off x="1668657" y="1419622"/>
            <a:ext cx="2939470" cy="615553"/>
          </a:xfrm>
          <a:custGeom>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3175" cap="sq">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spAutoFit/>
          </a:bodyPr>
          <a:lstStyle/>
          <a:p>
            <a:r>
              <a:rPr lang="zh-CN" altLang="en-US" sz="2800" b="1">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rPr>
              <a:t>单击输入标题</a:t>
            </a:r>
            <a:endParaRPr lang="en-US" altLang="zh-CN" sz="2800" b="1">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a:p>
            <a:r>
              <a:rPr lang="en-US" altLang="zh-CN" sz="12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rPr>
              <a:t>ANNUAL WORK SUMMARY</a:t>
            </a:r>
            <a:endParaRPr lang="zh-CN" altLang="en-US" sz="12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11"/>
          <p:cNvSpPr txBox="1"/>
          <p:nvPr/>
        </p:nvSpPr>
        <p:spPr>
          <a:xfrm>
            <a:off x="3131840" y="215968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TextBox 11"/>
          <p:cNvSpPr txBox="1"/>
          <p:nvPr/>
        </p:nvSpPr>
        <p:spPr>
          <a:xfrm>
            <a:off x="1668657" y="215968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TextBox 11"/>
          <p:cNvSpPr txBox="1"/>
          <p:nvPr/>
        </p:nvSpPr>
        <p:spPr>
          <a:xfrm>
            <a:off x="3131840" y="236582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TextBox 12"/>
          <p:cNvSpPr txBox="1"/>
          <p:nvPr/>
        </p:nvSpPr>
        <p:spPr>
          <a:xfrm>
            <a:off x="1668657" y="236582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Freeform 6"/>
          <p:cNvSpPr/>
          <p:nvPr/>
        </p:nvSpPr>
        <p:spPr bwMode="auto">
          <a:xfrm>
            <a:off x="252" y="3838725"/>
            <a:ext cx="9143498" cy="1304775"/>
          </a:xfrm>
          <a:custGeom>
            <a:gdLst>
              <a:gd name="T0" fmla="*/ 1115 w 5702"/>
              <a:gd name="T1" fmla="*/ 0 h 1219"/>
              <a:gd name="T2" fmla="*/ 1277 w 5702"/>
              <a:gd name="T3" fmla="*/ 0 h 1219"/>
              <a:gd name="T4" fmla="*/ 1428 w 5702"/>
              <a:gd name="T5" fmla="*/ 2 h 1219"/>
              <a:gd name="T6" fmla="*/ 1569 w 5702"/>
              <a:gd name="T7" fmla="*/ 2 h 1219"/>
              <a:gd name="T8" fmla="*/ 1698 w 5702"/>
              <a:gd name="T9" fmla="*/ 4 h 1219"/>
              <a:gd name="T10" fmla="*/ 1816 w 5702"/>
              <a:gd name="T11" fmla="*/ 6 h 1219"/>
              <a:gd name="T12" fmla="*/ 1922 w 5702"/>
              <a:gd name="T13" fmla="*/ 7 h 1219"/>
              <a:gd name="T14" fmla="*/ 2018 w 5702"/>
              <a:gd name="T15" fmla="*/ 11 h 1219"/>
              <a:gd name="T16" fmla="*/ 2102 w 5702"/>
              <a:gd name="T17" fmla="*/ 14 h 1219"/>
              <a:gd name="T18" fmla="*/ 2201 w 5702"/>
              <a:gd name="T19" fmla="*/ 20 h 1219"/>
              <a:gd name="T20" fmla="*/ 2293 w 5702"/>
              <a:gd name="T21" fmla="*/ 32 h 1219"/>
              <a:gd name="T22" fmla="*/ 2375 w 5702"/>
              <a:gd name="T23" fmla="*/ 46 h 1219"/>
              <a:gd name="T24" fmla="*/ 2452 w 5702"/>
              <a:gd name="T25" fmla="*/ 63 h 1219"/>
              <a:gd name="T26" fmla="*/ 2518 w 5702"/>
              <a:gd name="T27" fmla="*/ 84 h 1219"/>
              <a:gd name="T28" fmla="*/ 2579 w 5702"/>
              <a:gd name="T29" fmla="*/ 107 h 1219"/>
              <a:gd name="T30" fmla="*/ 2633 w 5702"/>
              <a:gd name="T31" fmla="*/ 131 h 1219"/>
              <a:gd name="T32" fmla="*/ 2680 w 5702"/>
              <a:gd name="T33" fmla="*/ 157 h 1219"/>
              <a:gd name="T34" fmla="*/ 2722 w 5702"/>
              <a:gd name="T35" fmla="*/ 185 h 1219"/>
              <a:gd name="T36" fmla="*/ 2756 w 5702"/>
              <a:gd name="T37" fmla="*/ 213 h 1219"/>
              <a:gd name="T38" fmla="*/ 2788 w 5702"/>
              <a:gd name="T39" fmla="*/ 241 h 1219"/>
              <a:gd name="T40" fmla="*/ 2812 w 5702"/>
              <a:gd name="T41" fmla="*/ 269 h 1219"/>
              <a:gd name="T42" fmla="*/ 2835 w 5702"/>
              <a:gd name="T43" fmla="*/ 295 h 1219"/>
              <a:gd name="T44" fmla="*/ 2852 w 5702"/>
              <a:gd name="T45" fmla="*/ 319 h 1219"/>
              <a:gd name="T46" fmla="*/ 2868 w 5702"/>
              <a:gd name="T47" fmla="*/ 295 h 1219"/>
              <a:gd name="T48" fmla="*/ 2891 w 5702"/>
              <a:gd name="T49" fmla="*/ 269 h 1219"/>
              <a:gd name="T50" fmla="*/ 2915 w 5702"/>
              <a:gd name="T51" fmla="*/ 241 h 1219"/>
              <a:gd name="T52" fmla="*/ 2946 w 5702"/>
              <a:gd name="T53" fmla="*/ 213 h 1219"/>
              <a:gd name="T54" fmla="*/ 2981 w 5702"/>
              <a:gd name="T55" fmla="*/ 185 h 1219"/>
              <a:gd name="T56" fmla="*/ 3023 w 5702"/>
              <a:gd name="T57" fmla="*/ 157 h 1219"/>
              <a:gd name="T58" fmla="*/ 3070 w 5702"/>
              <a:gd name="T59" fmla="*/ 131 h 1219"/>
              <a:gd name="T60" fmla="*/ 3124 w 5702"/>
              <a:gd name="T61" fmla="*/ 107 h 1219"/>
              <a:gd name="T62" fmla="*/ 3185 w 5702"/>
              <a:gd name="T63" fmla="*/ 84 h 1219"/>
              <a:gd name="T64" fmla="*/ 3253 w 5702"/>
              <a:gd name="T65" fmla="*/ 63 h 1219"/>
              <a:gd name="T66" fmla="*/ 3328 w 5702"/>
              <a:gd name="T67" fmla="*/ 46 h 1219"/>
              <a:gd name="T68" fmla="*/ 3409 w 5702"/>
              <a:gd name="T69" fmla="*/ 32 h 1219"/>
              <a:gd name="T70" fmla="*/ 3502 w 5702"/>
              <a:gd name="T71" fmla="*/ 20 h 1219"/>
              <a:gd name="T72" fmla="*/ 3601 w 5702"/>
              <a:gd name="T73" fmla="*/ 14 h 1219"/>
              <a:gd name="T74" fmla="*/ 3684 w 5702"/>
              <a:gd name="T75" fmla="*/ 11 h 1219"/>
              <a:gd name="T76" fmla="*/ 3780 w 5702"/>
              <a:gd name="T77" fmla="*/ 7 h 1219"/>
              <a:gd name="T78" fmla="*/ 3886 w 5702"/>
              <a:gd name="T79" fmla="*/ 6 h 1219"/>
              <a:gd name="T80" fmla="*/ 4005 w 5702"/>
              <a:gd name="T81" fmla="*/ 4 h 1219"/>
              <a:gd name="T82" fmla="*/ 4134 w 5702"/>
              <a:gd name="T83" fmla="*/ 2 h 1219"/>
              <a:gd name="T84" fmla="*/ 4275 w 5702"/>
              <a:gd name="T85" fmla="*/ 2 h 1219"/>
              <a:gd name="T86" fmla="*/ 4426 w 5702"/>
              <a:gd name="T87" fmla="*/ 0 h 1219"/>
              <a:gd name="T88" fmla="*/ 4588 w 5702"/>
              <a:gd name="T89" fmla="*/ 0 h 1219"/>
              <a:gd name="T90" fmla="*/ 4799 w 5702"/>
              <a:gd name="T91" fmla="*/ 0 h 1219"/>
              <a:gd name="T92" fmla="*/ 4999 w 5702"/>
              <a:gd name="T93" fmla="*/ 2 h 1219"/>
              <a:gd name="T94" fmla="*/ 5189 w 5702"/>
              <a:gd name="T95" fmla="*/ 4 h 1219"/>
              <a:gd name="T96" fmla="*/ 5368 w 5702"/>
              <a:gd name="T97" fmla="*/ 6 h 1219"/>
              <a:gd name="T98" fmla="*/ 5541 w 5702"/>
              <a:gd name="T99" fmla="*/ 7 h 1219"/>
              <a:gd name="T100" fmla="*/ 5702 w 5702"/>
              <a:gd name="T101" fmla="*/ 9 h 1219"/>
              <a:gd name="T102" fmla="*/ 5702 w 5702"/>
              <a:gd name="T103" fmla="*/ 1219 h 1219"/>
              <a:gd name="T104" fmla="*/ 0 w 5702"/>
              <a:gd name="T105" fmla="*/ 1219 h 1219"/>
              <a:gd name="T106" fmla="*/ 0 w 5702"/>
              <a:gd name="T107" fmla="*/ 9 h 1219"/>
              <a:gd name="T108" fmla="*/ 164 w 5702"/>
              <a:gd name="T109" fmla="*/ 7 h 1219"/>
              <a:gd name="T110" fmla="*/ 335 w 5702"/>
              <a:gd name="T111" fmla="*/ 6 h 1219"/>
              <a:gd name="T112" fmla="*/ 514 w 5702"/>
              <a:gd name="T113" fmla="*/ 4 h 1219"/>
              <a:gd name="T114" fmla="*/ 704 w 5702"/>
              <a:gd name="T115" fmla="*/ 2 h 1219"/>
              <a:gd name="T116" fmla="*/ 904 w 5702"/>
              <a:gd name="T117" fmla="*/ 0 h 1219"/>
              <a:gd name="T118" fmla="*/ 1115 w 5702"/>
              <a:gd name="T119" fmla="*/ 0 h 12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2" h="1219">
                <a:moveTo>
                  <a:pt x="1115" y="0"/>
                </a:moveTo>
                <a:lnTo>
                  <a:pt x="1277" y="0"/>
                </a:lnTo>
                <a:lnTo>
                  <a:pt x="1428" y="2"/>
                </a:lnTo>
                <a:lnTo>
                  <a:pt x="1569" y="2"/>
                </a:lnTo>
                <a:lnTo>
                  <a:pt x="1698" y="4"/>
                </a:lnTo>
                <a:lnTo>
                  <a:pt x="1816" y="6"/>
                </a:lnTo>
                <a:lnTo>
                  <a:pt x="1922" y="7"/>
                </a:lnTo>
                <a:lnTo>
                  <a:pt x="2018" y="11"/>
                </a:lnTo>
                <a:lnTo>
                  <a:pt x="2102" y="14"/>
                </a:lnTo>
                <a:lnTo>
                  <a:pt x="2201" y="20"/>
                </a:lnTo>
                <a:lnTo>
                  <a:pt x="2293" y="32"/>
                </a:lnTo>
                <a:lnTo>
                  <a:pt x="2375" y="46"/>
                </a:lnTo>
                <a:lnTo>
                  <a:pt x="2452" y="63"/>
                </a:lnTo>
                <a:lnTo>
                  <a:pt x="2518" y="84"/>
                </a:lnTo>
                <a:lnTo>
                  <a:pt x="2579" y="107"/>
                </a:lnTo>
                <a:lnTo>
                  <a:pt x="2633" y="131"/>
                </a:lnTo>
                <a:lnTo>
                  <a:pt x="2680" y="157"/>
                </a:lnTo>
                <a:lnTo>
                  <a:pt x="2722" y="185"/>
                </a:lnTo>
                <a:lnTo>
                  <a:pt x="2756" y="213"/>
                </a:lnTo>
                <a:lnTo>
                  <a:pt x="2788" y="241"/>
                </a:lnTo>
                <a:lnTo>
                  <a:pt x="2812" y="269"/>
                </a:lnTo>
                <a:lnTo>
                  <a:pt x="2835" y="295"/>
                </a:lnTo>
                <a:lnTo>
                  <a:pt x="2852" y="319"/>
                </a:lnTo>
                <a:lnTo>
                  <a:pt x="2868" y="295"/>
                </a:lnTo>
                <a:lnTo>
                  <a:pt x="2891" y="269"/>
                </a:lnTo>
                <a:lnTo>
                  <a:pt x="2915" y="241"/>
                </a:lnTo>
                <a:lnTo>
                  <a:pt x="2946" y="213"/>
                </a:lnTo>
                <a:lnTo>
                  <a:pt x="2981" y="185"/>
                </a:lnTo>
                <a:lnTo>
                  <a:pt x="3023" y="157"/>
                </a:lnTo>
                <a:lnTo>
                  <a:pt x="3070" y="131"/>
                </a:lnTo>
                <a:lnTo>
                  <a:pt x="3124" y="107"/>
                </a:lnTo>
                <a:lnTo>
                  <a:pt x="3185" y="84"/>
                </a:lnTo>
                <a:lnTo>
                  <a:pt x="3253" y="63"/>
                </a:lnTo>
                <a:lnTo>
                  <a:pt x="3328" y="46"/>
                </a:lnTo>
                <a:lnTo>
                  <a:pt x="3409" y="32"/>
                </a:lnTo>
                <a:lnTo>
                  <a:pt x="3502" y="20"/>
                </a:lnTo>
                <a:lnTo>
                  <a:pt x="3601" y="14"/>
                </a:lnTo>
                <a:lnTo>
                  <a:pt x="3684" y="11"/>
                </a:lnTo>
                <a:lnTo>
                  <a:pt x="3780" y="7"/>
                </a:lnTo>
                <a:lnTo>
                  <a:pt x="3886" y="6"/>
                </a:lnTo>
                <a:lnTo>
                  <a:pt x="4005" y="4"/>
                </a:lnTo>
                <a:lnTo>
                  <a:pt x="4134" y="2"/>
                </a:lnTo>
                <a:lnTo>
                  <a:pt x="4275" y="2"/>
                </a:lnTo>
                <a:lnTo>
                  <a:pt x="4426" y="0"/>
                </a:lnTo>
                <a:lnTo>
                  <a:pt x="4588" y="0"/>
                </a:lnTo>
                <a:lnTo>
                  <a:pt x="4799" y="0"/>
                </a:lnTo>
                <a:lnTo>
                  <a:pt x="4999" y="2"/>
                </a:lnTo>
                <a:lnTo>
                  <a:pt x="5189" y="4"/>
                </a:lnTo>
                <a:lnTo>
                  <a:pt x="5368" y="6"/>
                </a:lnTo>
                <a:lnTo>
                  <a:pt x="5541" y="7"/>
                </a:lnTo>
                <a:lnTo>
                  <a:pt x="5702" y="9"/>
                </a:lnTo>
                <a:lnTo>
                  <a:pt x="5702" y="1219"/>
                </a:lnTo>
                <a:lnTo>
                  <a:pt x="0" y="1219"/>
                </a:lnTo>
                <a:lnTo>
                  <a:pt x="0" y="9"/>
                </a:lnTo>
                <a:lnTo>
                  <a:pt x="164" y="7"/>
                </a:lnTo>
                <a:lnTo>
                  <a:pt x="335" y="6"/>
                </a:lnTo>
                <a:lnTo>
                  <a:pt x="514" y="4"/>
                </a:lnTo>
                <a:lnTo>
                  <a:pt x="704" y="2"/>
                </a:lnTo>
                <a:lnTo>
                  <a:pt x="904" y="0"/>
                </a:lnTo>
                <a:lnTo>
                  <a:pt x="1115" y="0"/>
                </a:lnTo>
                <a:close/>
              </a:path>
            </a:pathLst>
          </a:custGeom>
          <a:solidFill>
            <a:schemeClr val="accent2"/>
          </a:solidFill>
          <a:ln w="0">
            <a:noFill/>
            <a:prstDash val="solid"/>
            <a:round/>
          </a:ln>
        </p:spPr>
        <p:txBody>
          <a:bodyPr vert="horz" wrap="square" lIns="91433" tIns="45717" rIns="91433" bIns="45717" numCol="1" anchor="t" anchorCtr="0" compatLnSpc="1"/>
          <a:lstStyle/>
          <a:p>
            <a:endParaRPr lang="zh-CN" altLang="en-US"/>
          </a:p>
        </p:txBody>
      </p:sp>
      <p:sp>
        <p:nvSpPr>
          <p:cNvPr id="18" name="Freeform 7"/>
          <p:cNvSpPr/>
          <p:nvPr/>
        </p:nvSpPr>
        <p:spPr bwMode="auto">
          <a:xfrm>
            <a:off x="252" y="3647129"/>
            <a:ext cx="9143498" cy="421724"/>
          </a:xfrm>
          <a:custGeom>
            <a:gdLst>
              <a:gd name="T0" fmla="*/ 1184 w 5702"/>
              <a:gd name="T1" fmla="*/ 0 h 394"/>
              <a:gd name="T2" fmla="*/ 1492 w 5702"/>
              <a:gd name="T3" fmla="*/ 2 h 394"/>
              <a:gd name="T4" fmla="*/ 1754 w 5702"/>
              <a:gd name="T5" fmla="*/ 5 h 394"/>
              <a:gd name="T6" fmla="*/ 1968 w 5702"/>
              <a:gd name="T7" fmla="*/ 11 h 394"/>
              <a:gd name="T8" fmla="*/ 2156 w 5702"/>
              <a:gd name="T9" fmla="*/ 19 h 394"/>
              <a:gd name="T10" fmla="*/ 2333 w 5702"/>
              <a:gd name="T11" fmla="*/ 42 h 394"/>
              <a:gd name="T12" fmla="*/ 2480 w 5702"/>
              <a:gd name="T13" fmla="*/ 78 h 394"/>
              <a:gd name="T14" fmla="*/ 2598 w 5702"/>
              <a:gd name="T15" fmla="*/ 122 h 394"/>
              <a:gd name="T16" fmla="*/ 2690 w 5702"/>
              <a:gd name="T17" fmla="*/ 172 h 394"/>
              <a:gd name="T18" fmla="*/ 2763 w 5702"/>
              <a:gd name="T19" fmla="*/ 225 h 394"/>
              <a:gd name="T20" fmla="*/ 2816 w 5702"/>
              <a:gd name="T21" fmla="*/ 277 h 394"/>
              <a:gd name="T22" fmla="*/ 2852 w 5702"/>
              <a:gd name="T23" fmla="*/ 326 h 394"/>
              <a:gd name="T24" fmla="*/ 2887 w 5702"/>
              <a:gd name="T25" fmla="*/ 277 h 394"/>
              <a:gd name="T26" fmla="*/ 2939 w 5702"/>
              <a:gd name="T27" fmla="*/ 225 h 394"/>
              <a:gd name="T28" fmla="*/ 3012 w 5702"/>
              <a:gd name="T29" fmla="*/ 172 h 394"/>
              <a:gd name="T30" fmla="*/ 3105 w 5702"/>
              <a:gd name="T31" fmla="*/ 122 h 394"/>
              <a:gd name="T32" fmla="*/ 3223 w 5702"/>
              <a:gd name="T33" fmla="*/ 78 h 394"/>
              <a:gd name="T34" fmla="*/ 3369 w 5702"/>
              <a:gd name="T35" fmla="*/ 42 h 394"/>
              <a:gd name="T36" fmla="*/ 3547 w 5702"/>
              <a:gd name="T37" fmla="*/ 19 h 394"/>
              <a:gd name="T38" fmla="*/ 3735 w 5702"/>
              <a:gd name="T39" fmla="*/ 11 h 394"/>
              <a:gd name="T40" fmla="*/ 3949 w 5702"/>
              <a:gd name="T41" fmla="*/ 5 h 394"/>
              <a:gd name="T42" fmla="*/ 4210 w 5702"/>
              <a:gd name="T43" fmla="*/ 2 h 394"/>
              <a:gd name="T44" fmla="*/ 4519 w 5702"/>
              <a:gd name="T45" fmla="*/ 0 h 394"/>
              <a:gd name="T46" fmla="*/ 4907 w 5702"/>
              <a:gd name="T47" fmla="*/ 0 h 394"/>
              <a:gd name="T48" fmla="*/ 5318 w 5702"/>
              <a:gd name="T49" fmla="*/ 2 h 394"/>
              <a:gd name="T50" fmla="*/ 5702 w 5702"/>
              <a:gd name="T51" fmla="*/ 5 h 394"/>
              <a:gd name="T52" fmla="*/ 5513 w 5702"/>
              <a:gd name="T53" fmla="*/ 72 h 394"/>
              <a:gd name="T54" fmla="*/ 5116 w 5702"/>
              <a:gd name="T55" fmla="*/ 70 h 394"/>
              <a:gd name="T56" fmla="*/ 4689 w 5702"/>
              <a:gd name="T57" fmla="*/ 68 h 394"/>
              <a:gd name="T58" fmla="*/ 4358 w 5702"/>
              <a:gd name="T59" fmla="*/ 70 h 394"/>
              <a:gd name="T60" fmla="*/ 4073 w 5702"/>
              <a:gd name="T61" fmla="*/ 72 h 394"/>
              <a:gd name="T62" fmla="*/ 3836 w 5702"/>
              <a:gd name="T63" fmla="*/ 75 h 394"/>
              <a:gd name="T64" fmla="*/ 3648 w 5702"/>
              <a:gd name="T65" fmla="*/ 80 h 394"/>
              <a:gd name="T66" fmla="*/ 3455 w 5702"/>
              <a:gd name="T67" fmla="*/ 98 h 394"/>
              <a:gd name="T68" fmla="*/ 3293 w 5702"/>
              <a:gd name="T69" fmla="*/ 127 h 394"/>
              <a:gd name="T70" fmla="*/ 3162 w 5702"/>
              <a:gd name="T71" fmla="*/ 167 h 394"/>
              <a:gd name="T72" fmla="*/ 3056 w 5702"/>
              <a:gd name="T73" fmla="*/ 214 h 394"/>
              <a:gd name="T74" fmla="*/ 2974 w 5702"/>
              <a:gd name="T75" fmla="*/ 266 h 394"/>
              <a:gd name="T76" fmla="*/ 2911 w 5702"/>
              <a:gd name="T77" fmla="*/ 320 h 394"/>
              <a:gd name="T78" fmla="*/ 2868 w 5702"/>
              <a:gd name="T79" fmla="*/ 371 h 394"/>
              <a:gd name="T80" fmla="*/ 2835 w 5702"/>
              <a:gd name="T81" fmla="*/ 371 h 394"/>
              <a:gd name="T82" fmla="*/ 2791 w 5702"/>
              <a:gd name="T83" fmla="*/ 320 h 394"/>
              <a:gd name="T84" fmla="*/ 2730 w 5702"/>
              <a:gd name="T85" fmla="*/ 266 h 394"/>
              <a:gd name="T86" fmla="*/ 2647 w 5702"/>
              <a:gd name="T87" fmla="*/ 214 h 394"/>
              <a:gd name="T88" fmla="*/ 2542 w 5702"/>
              <a:gd name="T89" fmla="*/ 167 h 394"/>
              <a:gd name="T90" fmla="*/ 2410 w 5702"/>
              <a:gd name="T91" fmla="*/ 127 h 394"/>
              <a:gd name="T92" fmla="*/ 2248 w 5702"/>
              <a:gd name="T93" fmla="*/ 98 h 394"/>
              <a:gd name="T94" fmla="*/ 2055 w 5702"/>
              <a:gd name="T95" fmla="*/ 80 h 394"/>
              <a:gd name="T96" fmla="*/ 1867 w 5702"/>
              <a:gd name="T97" fmla="*/ 75 h 394"/>
              <a:gd name="T98" fmla="*/ 1630 w 5702"/>
              <a:gd name="T99" fmla="*/ 72 h 394"/>
              <a:gd name="T100" fmla="*/ 1344 w 5702"/>
              <a:gd name="T101" fmla="*/ 70 h 394"/>
              <a:gd name="T102" fmla="*/ 1014 w 5702"/>
              <a:gd name="T103" fmla="*/ 68 h 394"/>
              <a:gd name="T104" fmla="*/ 587 w 5702"/>
              <a:gd name="T105" fmla="*/ 70 h 394"/>
              <a:gd name="T106" fmla="*/ 190 w 5702"/>
              <a:gd name="T107" fmla="*/ 72 h 394"/>
              <a:gd name="T108" fmla="*/ 0 w 5702"/>
              <a:gd name="T109" fmla="*/ 5 h 394"/>
              <a:gd name="T110" fmla="*/ 385 w 5702"/>
              <a:gd name="T111" fmla="*/ 2 h 394"/>
              <a:gd name="T112" fmla="*/ 796 w 5702"/>
              <a:gd name="T113" fmla="*/ 0 h 3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02" h="394">
                <a:moveTo>
                  <a:pt x="1014" y="0"/>
                </a:moveTo>
                <a:lnTo>
                  <a:pt x="1184" y="0"/>
                </a:lnTo>
                <a:lnTo>
                  <a:pt x="1344" y="0"/>
                </a:lnTo>
                <a:lnTo>
                  <a:pt x="1492" y="2"/>
                </a:lnTo>
                <a:lnTo>
                  <a:pt x="1630" y="4"/>
                </a:lnTo>
                <a:lnTo>
                  <a:pt x="1754" y="5"/>
                </a:lnTo>
                <a:lnTo>
                  <a:pt x="1867" y="7"/>
                </a:lnTo>
                <a:lnTo>
                  <a:pt x="1968" y="11"/>
                </a:lnTo>
                <a:lnTo>
                  <a:pt x="2055" y="12"/>
                </a:lnTo>
                <a:lnTo>
                  <a:pt x="2156" y="19"/>
                </a:lnTo>
                <a:lnTo>
                  <a:pt x="2248" y="30"/>
                </a:lnTo>
                <a:lnTo>
                  <a:pt x="2333" y="42"/>
                </a:lnTo>
                <a:lnTo>
                  <a:pt x="2410" y="59"/>
                </a:lnTo>
                <a:lnTo>
                  <a:pt x="2480" y="78"/>
                </a:lnTo>
                <a:lnTo>
                  <a:pt x="2542" y="99"/>
                </a:lnTo>
                <a:lnTo>
                  <a:pt x="2598" y="122"/>
                </a:lnTo>
                <a:lnTo>
                  <a:pt x="2647" y="146"/>
                </a:lnTo>
                <a:lnTo>
                  <a:pt x="2690" y="172"/>
                </a:lnTo>
                <a:lnTo>
                  <a:pt x="2730" y="199"/>
                </a:lnTo>
                <a:lnTo>
                  <a:pt x="2763" y="225"/>
                </a:lnTo>
                <a:lnTo>
                  <a:pt x="2791" y="253"/>
                </a:lnTo>
                <a:lnTo>
                  <a:pt x="2816" y="277"/>
                </a:lnTo>
                <a:lnTo>
                  <a:pt x="2835" y="303"/>
                </a:lnTo>
                <a:lnTo>
                  <a:pt x="2852" y="326"/>
                </a:lnTo>
                <a:lnTo>
                  <a:pt x="2868" y="303"/>
                </a:lnTo>
                <a:lnTo>
                  <a:pt x="2887" y="277"/>
                </a:lnTo>
                <a:lnTo>
                  <a:pt x="2911" y="253"/>
                </a:lnTo>
                <a:lnTo>
                  <a:pt x="2939" y="225"/>
                </a:lnTo>
                <a:lnTo>
                  <a:pt x="2974" y="199"/>
                </a:lnTo>
                <a:lnTo>
                  <a:pt x="3012" y="172"/>
                </a:lnTo>
                <a:lnTo>
                  <a:pt x="3056" y="146"/>
                </a:lnTo>
                <a:lnTo>
                  <a:pt x="3105" y="122"/>
                </a:lnTo>
                <a:lnTo>
                  <a:pt x="3162" y="99"/>
                </a:lnTo>
                <a:lnTo>
                  <a:pt x="3223" y="78"/>
                </a:lnTo>
                <a:lnTo>
                  <a:pt x="3293" y="59"/>
                </a:lnTo>
                <a:lnTo>
                  <a:pt x="3369" y="42"/>
                </a:lnTo>
                <a:lnTo>
                  <a:pt x="3455" y="30"/>
                </a:lnTo>
                <a:lnTo>
                  <a:pt x="3547" y="19"/>
                </a:lnTo>
                <a:lnTo>
                  <a:pt x="3648" y="12"/>
                </a:lnTo>
                <a:lnTo>
                  <a:pt x="3735" y="11"/>
                </a:lnTo>
                <a:lnTo>
                  <a:pt x="3836" y="7"/>
                </a:lnTo>
                <a:lnTo>
                  <a:pt x="3949" y="5"/>
                </a:lnTo>
                <a:lnTo>
                  <a:pt x="4073" y="4"/>
                </a:lnTo>
                <a:lnTo>
                  <a:pt x="4210" y="2"/>
                </a:lnTo>
                <a:lnTo>
                  <a:pt x="4358" y="0"/>
                </a:lnTo>
                <a:lnTo>
                  <a:pt x="4519" y="0"/>
                </a:lnTo>
                <a:lnTo>
                  <a:pt x="4689" y="0"/>
                </a:lnTo>
                <a:lnTo>
                  <a:pt x="4907" y="0"/>
                </a:lnTo>
                <a:lnTo>
                  <a:pt x="5116" y="2"/>
                </a:lnTo>
                <a:lnTo>
                  <a:pt x="5318" y="2"/>
                </a:lnTo>
                <a:lnTo>
                  <a:pt x="5513" y="4"/>
                </a:lnTo>
                <a:lnTo>
                  <a:pt x="5702" y="5"/>
                </a:lnTo>
                <a:lnTo>
                  <a:pt x="5702" y="73"/>
                </a:lnTo>
                <a:lnTo>
                  <a:pt x="5513" y="72"/>
                </a:lnTo>
                <a:lnTo>
                  <a:pt x="5318" y="70"/>
                </a:lnTo>
                <a:lnTo>
                  <a:pt x="5116" y="70"/>
                </a:lnTo>
                <a:lnTo>
                  <a:pt x="4907" y="68"/>
                </a:lnTo>
                <a:lnTo>
                  <a:pt x="4689" y="68"/>
                </a:lnTo>
                <a:lnTo>
                  <a:pt x="4519" y="68"/>
                </a:lnTo>
                <a:lnTo>
                  <a:pt x="4358" y="70"/>
                </a:lnTo>
                <a:lnTo>
                  <a:pt x="4210" y="70"/>
                </a:lnTo>
                <a:lnTo>
                  <a:pt x="4073" y="72"/>
                </a:lnTo>
                <a:lnTo>
                  <a:pt x="3949" y="73"/>
                </a:lnTo>
                <a:lnTo>
                  <a:pt x="3836" y="75"/>
                </a:lnTo>
                <a:lnTo>
                  <a:pt x="3735" y="78"/>
                </a:lnTo>
                <a:lnTo>
                  <a:pt x="3648" y="80"/>
                </a:lnTo>
                <a:lnTo>
                  <a:pt x="3547" y="87"/>
                </a:lnTo>
                <a:lnTo>
                  <a:pt x="3455" y="98"/>
                </a:lnTo>
                <a:lnTo>
                  <a:pt x="3369" y="110"/>
                </a:lnTo>
                <a:lnTo>
                  <a:pt x="3293" y="127"/>
                </a:lnTo>
                <a:lnTo>
                  <a:pt x="3223" y="146"/>
                </a:lnTo>
                <a:lnTo>
                  <a:pt x="3162" y="167"/>
                </a:lnTo>
                <a:lnTo>
                  <a:pt x="3105" y="190"/>
                </a:lnTo>
                <a:lnTo>
                  <a:pt x="3056" y="214"/>
                </a:lnTo>
                <a:lnTo>
                  <a:pt x="3012" y="240"/>
                </a:lnTo>
                <a:lnTo>
                  <a:pt x="2974" y="266"/>
                </a:lnTo>
                <a:lnTo>
                  <a:pt x="2939" y="293"/>
                </a:lnTo>
                <a:lnTo>
                  <a:pt x="2911" y="320"/>
                </a:lnTo>
                <a:lnTo>
                  <a:pt x="2887" y="345"/>
                </a:lnTo>
                <a:lnTo>
                  <a:pt x="2868" y="371"/>
                </a:lnTo>
                <a:lnTo>
                  <a:pt x="2852" y="394"/>
                </a:lnTo>
                <a:lnTo>
                  <a:pt x="2835" y="371"/>
                </a:lnTo>
                <a:lnTo>
                  <a:pt x="2816" y="345"/>
                </a:lnTo>
                <a:lnTo>
                  <a:pt x="2791" y="320"/>
                </a:lnTo>
                <a:lnTo>
                  <a:pt x="2763" y="293"/>
                </a:lnTo>
                <a:lnTo>
                  <a:pt x="2730" y="266"/>
                </a:lnTo>
                <a:lnTo>
                  <a:pt x="2690" y="240"/>
                </a:lnTo>
                <a:lnTo>
                  <a:pt x="2647" y="214"/>
                </a:lnTo>
                <a:lnTo>
                  <a:pt x="2598" y="190"/>
                </a:lnTo>
                <a:lnTo>
                  <a:pt x="2542" y="167"/>
                </a:lnTo>
                <a:lnTo>
                  <a:pt x="2480" y="146"/>
                </a:lnTo>
                <a:lnTo>
                  <a:pt x="2410" y="127"/>
                </a:lnTo>
                <a:lnTo>
                  <a:pt x="2333" y="110"/>
                </a:lnTo>
                <a:lnTo>
                  <a:pt x="2248" y="98"/>
                </a:lnTo>
                <a:lnTo>
                  <a:pt x="2156" y="87"/>
                </a:lnTo>
                <a:lnTo>
                  <a:pt x="2055" y="80"/>
                </a:lnTo>
                <a:lnTo>
                  <a:pt x="1968" y="78"/>
                </a:lnTo>
                <a:lnTo>
                  <a:pt x="1867" y="75"/>
                </a:lnTo>
                <a:lnTo>
                  <a:pt x="1754" y="73"/>
                </a:lnTo>
                <a:lnTo>
                  <a:pt x="1630" y="72"/>
                </a:lnTo>
                <a:lnTo>
                  <a:pt x="1492" y="70"/>
                </a:lnTo>
                <a:lnTo>
                  <a:pt x="1344" y="70"/>
                </a:lnTo>
                <a:lnTo>
                  <a:pt x="1184" y="68"/>
                </a:lnTo>
                <a:lnTo>
                  <a:pt x="1014" y="68"/>
                </a:lnTo>
                <a:lnTo>
                  <a:pt x="796" y="68"/>
                </a:lnTo>
                <a:lnTo>
                  <a:pt x="587" y="70"/>
                </a:lnTo>
                <a:lnTo>
                  <a:pt x="385" y="70"/>
                </a:lnTo>
                <a:lnTo>
                  <a:pt x="190" y="72"/>
                </a:lnTo>
                <a:lnTo>
                  <a:pt x="0" y="73"/>
                </a:lnTo>
                <a:lnTo>
                  <a:pt x="0" y="5"/>
                </a:lnTo>
                <a:lnTo>
                  <a:pt x="190" y="4"/>
                </a:lnTo>
                <a:lnTo>
                  <a:pt x="385" y="2"/>
                </a:lnTo>
                <a:lnTo>
                  <a:pt x="587" y="2"/>
                </a:lnTo>
                <a:lnTo>
                  <a:pt x="796" y="0"/>
                </a:lnTo>
                <a:lnTo>
                  <a:pt x="1014" y="0"/>
                </a:lnTo>
                <a:close/>
              </a:path>
            </a:pathLst>
          </a:custGeom>
          <a:solidFill>
            <a:schemeClr val="accent1"/>
          </a:solidFill>
          <a:ln w="0">
            <a:noFill/>
            <a:prstDash val="solid"/>
            <a:round/>
          </a:ln>
        </p:spPr>
        <p:txBody>
          <a:bodyPr vert="horz" wrap="square" lIns="91433" tIns="45717" rIns="91433" bIns="45717" numCol="1" anchor="t" anchorCtr="0" compatLnSpc="1"/>
          <a:lstStyle/>
          <a:p>
            <a:endParaRPr lang="zh-CN" altLang="en-US"/>
          </a:p>
        </p:txBody>
      </p:sp>
      <p:grpSp>
        <p:nvGrpSpPr>
          <p:cNvPr id="14" name="组合 13"/>
          <p:cNvGrpSpPr/>
          <p:nvPr/>
        </p:nvGrpSpPr>
        <p:grpSpPr>
          <a:xfrm>
            <a:off x="0" y="167260"/>
            <a:ext cx="9144000" cy="4977523"/>
            <a:chOff x="0" y="223013"/>
            <a:chExt cx="12192000" cy="6636697"/>
          </a:xfrm>
        </p:grpSpPr>
        <p:sp>
          <p:nvSpPr>
            <p:cNvPr id="16" name="矩形 15"/>
            <p:cNvSpPr/>
            <p:nvPr/>
          </p:nvSpPr>
          <p:spPr>
            <a:xfrm>
              <a:off x="0" y="4348627"/>
              <a:ext cx="12192000" cy="2511083"/>
            </a:xfrm>
            <a:prstGeom prst="rect">
              <a:avLst/>
            </a:prstGeom>
            <a:solidFill>
              <a:srgbClr val="EE7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19" name="图片 18"/>
            <p:cNvPicPr>
              <a:picLocks noChangeAspect="1"/>
            </p:cNvPicPr>
            <p:nvPr/>
          </p:nvPicPr>
          <p:blipFill>
            <a:blip r:embed="rId4"/>
            <a:stretch>
              <a:fillRect/>
            </a:stretch>
          </p:blipFill>
          <p:spPr>
            <a:xfrm>
              <a:off x="5485668" y="223013"/>
              <a:ext cx="6457539" cy="6484862"/>
            </a:xfrm>
            <a:prstGeom prst="rect">
              <a:avLst/>
            </a:prstGeom>
          </p:spPr>
        </p:pic>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randombar(horizontal)">
                                      <p:cBhvr>
                                        <p:cTn id="7" dur="500"/>
                                        <p:tgtEl>
                                          <p:spTgt spid="14"/>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16" presetClass="entr" presetSubtype="37"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barn(outVertical)">
                                      <p:cBhvr>
                                        <p:cTn id="12" dur="500"/>
                                        <p:tgtEl>
                                          <p:spTgt spid="18"/>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arn(outVertical)">
                                      <p:cBhvr>
                                        <p:cTn id="15" dur="500"/>
                                        <p:tgtEl>
                                          <p:spTgt spid="17"/>
                                        </p:tgtEl>
                                      </p:cBhvr>
                                    </p:animEffect>
                                  </p:childTnLst>
                                </p:cTn>
                              </p:par>
                            </p:childTnLst>
                          </p:cTn>
                        </p:par>
                      </p:childTnLst>
                    </p:cTn>
                  </p:par>
                  <p:par>
                    <p:cTn id="16" fill="hold" nodeType="clickPar">
                      <p:stCondLst>
                        <p:cond delay="indefinite"/>
                      </p:stCondLst>
                      <p:childTnLst>
                        <p:par>
                          <p:cTn id="17" fill="hold">
                            <p:stCondLst>
                              <p:cond delay="0"/>
                            </p:stCondLst>
                            <p:childTnLst>
                              <p:par>
                                <p:cTn id="18" presetID="2" presetClass="entr" presetSubtype="4" accel="4000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1500" fill="hold"/>
                                        <p:tgtEl>
                                          <p:spTgt spid="8"/>
                                        </p:tgtEl>
                                        <p:attrNameLst>
                                          <p:attrName>ppt_x</p:attrName>
                                        </p:attrNameLst>
                                      </p:cBhvr>
                                      <p:tavLst>
                                        <p:tav tm="0">
                                          <p:val>
                                            <p:strVal val="#ppt_x"/>
                                          </p:val>
                                        </p:tav>
                                        <p:tav tm="100000">
                                          <p:val>
                                            <p:strVal val="#ppt_x"/>
                                          </p:val>
                                        </p:tav>
                                      </p:tavLst>
                                    </p:anim>
                                    <p:anim calcmode="lin" valueType="num">
                                      <p:cBhvr additive="base">
                                        <p:cTn id="21" dur="1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2" fill="hold" nodeType="clickPar">
                      <p:stCondLst>
                        <p:cond delay="indefinite"/>
                      </p:stCondLst>
                      <p:childTnLst>
                        <p:par>
                          <p:cTn id="23" fill="hold">
                            <p:stCondLst>
                              <p:cond delay="0"/>
                            </p:stCondLst>
                            <p:childTnLst>
                              <p:par>
                                <p:cTn id="24" presetID="56" presetClass="entr" presetSubtype="0" fill="hold" grpId="0" nodeType="clickEffect">
                                  <p:stCondLst>
                                    <p:cond delay="0"/>
                                  </p:stCondLst>
                                  <p:iterate type="lt">
                                    <p:tmPct val="10000"/>
                                  </p:iterate>
                                  <p:childTnLst>
                                    <p:set>
                                      <p:cBhvr>
                                        <p:cTn id="25" dur="1" fill="hold">
                                          <p:stCondLst>
                                            <p:cond delay="0"/>
                                          </p:stCondLst>
                                        </p:cTn>
                                        <p:tgtEl>
                                          <p:spTgt spid="9"/>
                                        </p:tgtEl>
                                        <p:attrNameLst>
                                          <p:attrName>style.visibility</p:attrName>
                                        </p:attrNameLst>
                                      </p:cBhvr>
                                      <p:to>
                                        <p:strVal val="visible"/>
                                      </p:to>
                                    </p:set>
                                    <p:anim by="(-#ppt_w*2)" calcmode="lin" valueType="num">
                                      <p:cBhvr rctx="PPT">
                                        <p:cTn id="26" dur="500" autoRev="1" fill="hold">
                                          <p:stCondLst>
                                            <p:cond delay="0"/>
                                          </p:stCondLst>
                                        </p:cTn>
                                        <p:tgtEl>
                                          <p:spTgt spid="9"/>
                                        </p:tgtEl>
                                        <p:attrNameLst>
                                          <p:attrName>ppt_w</p:attrName>
                                        </p:attrNameLst>
                                      </p:cBhvr>
                                    </p:anim>
                                    <p:anim by="(#ppt_w*0.50)" calcmode="lin" valueType="num">
                                      <p:cBhvr>
                                        <p:cTn id="27" dur="500" decel="50000" autoRev="1" fill="hold">
                                          <p:stCondLst>
                                            <p:cond delay="0"/>
                                          </p:stCondLst>
                                        </p:cTn>
                                        <p:tgtEl>
                                          <p:spTgt spid="9"/>
                                        </p:tgtEl>
                                        <p:attrNameLst>
                                          <p:attrName>ppt_x</p:attrName>
                                        </p:attrNameLst>
                                      </p:cBhvr>
                                    </p:anim>
                                    <p:anim from="(-#ppt_h/2)" to="(#ppt_y)" calcmode="lin" valueType="num">
                                      <p:cBhvr>
                                        <p:cTn id="28" dur="1000" fill="hold">
                                          <p:stCondLst>
                                            <p:cond delay="0"/>
                                          </p:stCondLst>
                                        </p:cTn>
                                        <p:tgtEl>
                                          <p:spTgt spid="9"/>
                                        </p:tgtEl>
                                        <p:attrNameLst>
                                          <p:attrName>ppt_y</p:attrName>
                                        </p:attrNameLst>
                                      </p:cBhvr>
                                    </p:anim>
                                    <p:animRot by="21600000">
                                      <p:cBhvr>
                                        <p:cTn id="29" dur="1000" fill="hold">
                                          <p:stCondLst>
                                            <p:cond delay="0"/>
                                          </p:stCondLst>
                                        </p:cTn>
                                        <p:tgtEl>
                                          <p:spTgt spid="9"/>
                                        </p:tgtEl>
                                        <p:attrNameLst>
                                          <p:attrName>r</p:attrName>
                                        </p:attrNameLst>
                                      </p:cBhvr>
                                    </p:animRot>
                                  </p:childTnLst>
                                </p:cTn>
                              </p:par>
                            </p:childTnLst>
                          </p:cTn>
                        </p:par>
                      </p:childTnLst>
                    </p:cTn>
                  </p:par>
                  <p:par>
                    <p:cTn id="30" fill="hold" nodeType="clickPar">
                      <p:stCondLst>
                        <p:cond delay="indefinite"/>
                      </p:stCondLst>
                      <p:childTnLst>
                        <p:par>
                          <p:cTn id="31" fill="hold">
                            <p:stCondLst>
                              <p:cond delay="0"/>
                            </p:stCondLst>
                            <p:childTnLst>
                              <p:par>
                                <p:cTn id="32" presetID="2" presetClass="entr" presetSubtype="4" fill="hold" grpId="0" nodeType="click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additive="base">
                                        <p:cTn id="38" dur="500" fill="hold"/>
                                        <p:tgtEl>
                                          <p:spTgt spid="11"/>
                                        </p:tgtEl>
                                        <p:attrNameLst>
                                          <p:attrName>ppt_x</p:attrName>
                                        </p:attrNameLst>
                                      </p:cBhvr>
                                      <p:tavLst>
                                        <p:tav tm="0">
                                          <p:val>
                                            <p:strVal val="#ppt_x"/>
                                          </p:val>
                                        </p:tav>
                                        <p:tav tm="100000">
                                          <p:val>
                                            <p:strVal val="#ppt_x"/>
                                          </p:val>
                                        </p:tav>
                                      </p:tavLst>
                                    </p:anim>
                                    <p:anim calcmode="lin" valueType="num">
                                      <p:cBhvr additive="base">
                                        <p:cTn id="39" dur="500" fill="hold"/>
                                        <p:tgtEl>
                                          <p:spTgt spid="11"/>
                                        </p:tgtEl>
                                        <p:attrNameLst>
                                          <p:attrName>ppt_y</p:attrName>
                                        </p:attrNameLst>
                                      </p:cBhvr>
                                      <p:tavLst>
                                        <p:tav tm="0">
                                          <p:val>
                                            <p:strVal val="1+#ppt_h/2"/>
                                          </p:val>
                                        </p:tav>
                                        <p:tav tm="100000">
                                          <p:val>
                                            <p:strVal val="#ppt_y"/>
                                          </p:val>
                                        </p:tav>
                                      </p:tavLst>
                                    </p:anim>
                                  </p:childTnLst>
                                </p:cTn>
                              </p:par>
                              <p:par>
                                <p:cTn id="40" presetID="2" presetClass="entr" presetSubtype="4"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additive="base">
                                        <p:cTn id="42" dur="500" fill="hold"/>
                                        <p:tgtEl>
                                          <p:spTgt spid="12"/>
                                        </p:tgtEl>
                                        <p:attrNameLst>
                                          <p:attrName>ppt_x</p:attrName>
                                        </p:attrNameLst>
                                      </p:cBhvr>
                                      <p:tavLst>
                                        <p:tav tm="0">
                                          <p:val>
                                            <p:strVal val="#ppt_x"/>
                                          </p:val>
                                        </p:tav>
                                        <p:tav tm="100000">
                                          <p:val>
                                            <p:strVal val="#ppt_x"/>
                                          </p:val>
                                        </p:tav>
                                      </p:tavLst>
                                    </p:anim>
                                    <p:anim calcmode="lin" valueType="num">
                                      <p:cBhvr additive="base">
                                        <p:cTn id="43" dur="500" fill="hold"/>
                                        <p:tgtEl>
                                          <p:spTgt spid="12"/>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additive="base">
                                        <p:cTn id="46" dur="500" fill="hold"/>
                                        <p:tgtEl>
                                          <p:spTgt spid="13"/>
                                        </p:tgtEl>
                                        <p:attrNameLst>
                                          <p:attrName>ppt_x</p:attrName>
                                        </p:attrNameLst>
                                      </p:cBhvr>
                                      <p:tavLst>
                                        <p:tav tm="0">
                                          <p:val>
                                            <p:strVal val="#ppt_x"/>
                                          </p:val>
                                        </p:tav>
                                        <p:tav tm="100000">
                                          <p:val>
                                            <p:strVal val="#ppt_x"/>
                                          </p:val>
                                        </p:tav>
                                      </p:tavLst>
                                    </p:anim>
                                    <p:anim calcmode="lin" valueType="num">
                                      <p:cBhvr additive="base">
                                        <p:cTn id="47"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p:bldP spid="11" grpId="0"/>
      <p:bldP spid="12" grpId="0"/>
      <p:bldP spid="13" grpId="0"/>
      <p:bldP spid="17" grpId="0" animBg="1"/>
      <p:bldP spid="18" grpId="0" animBg="1"/>
    </p:bldLst>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矩形 18"/>
          <p:cNvSpPr/>
          <p:nvPr/>
        </p:nvSpPr>
        <p:spPr>
          <a:xfrm>
            <a:off x="5127071" y="819795"/>
            <a:ext cx="2282546" cy="434989"/>
          </a:xfrm>
          <a:prstGeom prst="rect">
            <a:avLst/>
          </a:prstGeom>
          <a:effectLst/>
        </p:spPr>
        <p:txBody>
          <a:bodyPr wrap="none" lIns="65023" tIns="32511" rIns="65023" bIns="32511">
            <a:spAutoFit/>
          </a:bodyPr>
          <a:lstStyle/>
          <a:p>
            <a:pPr algn="r">
              <a:lnSpc>
                <a:spcPct val="120000"/>
              </a:lnSpc>
            </a:pPr>
            <a:r>
              <a:rPr lang="en-US" altLang="zh-CN" sz="2000">
                <a:solidFill>
                  <a:schemeClr val="accent1"/>
                </a:solidFill>
                <a:latin typeface="Arial" panose="020b0604020202020204" pitchFamily="34" charset="0"/>
                <a:ea typeface="微软雅黑" panose="020b0503020204020204" pitchFamily="34" charset="-122"/>
                <a:sym typeface="Arial" panose="020b0604020202020204" pitchFamily="34" charset="0"/>
              </a:rPr>
              <a:t>01 </a:t>
            </a:r>
            <a:r>
              <a:rPr lang="zh-CN" altLang="en-US" sz="2000">
                <a:solidFill>
                  <a:schemeClr val="accent1"/>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zh-CN" sz="200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20" name="矩形 19"/>
          <p:cNvSpPr/>
          <p:nvPr/>
        </p:nvSpPr>
        <p:spPr>
          <a:xfrm>
            <a:off x="5135261" y="832688"/>
            <a:ext cx="394696" cy="37594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endParaRPr lang="zh-CN" altLang="en-US">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矩形 20"/>
          <p:cNvSpPr/>
          <p:nvPr/>
        </p:nvSpPr>
        <p:spPr>
          <a:xfrm>
            <a:off x="5127071" y="1497165"/>
            <a:ext cx="2282546" cy="434989"/>
          </a:xfrm>
          <a:prstGeom prst="rect">
            <a:avLst/>
          </a:prstGeom>
          <a:effectLst/>
        </p:spPr>
        <p:txBody>
          <a:bodyPr wrap="none" lIns="65023" tIns="32511" rIns="65023" bIns="32511">
            <a:spAutoFit/>
          </a:bodyPr>
          <a:lstStyle/>
          <a:p>
            <a:pPr algn="r">
              <a:lnSpc>
                <a:spcPct val="120000"/>
              </a:lnSpc>
            </a:pPr>
            <a:r>
              <a:rPr lang="en-US" altLang="zh-CN" sz="2000">
                <a:solidFill>
                  <a:schemeClr val="accent1"/>
                </a:solidFill>
                <a:latin typeface="Arial" panose="020b0604020202020204" pitchFamily="34" charset="0"/>
                <a:ea typeface="微软雅黑" panose="020b0503020204020204" pitchFamily="34" charset="-122"/>
                <a:sym typeface="Arial" panose="020b0604020202020204" pitchFamily="34" charset="0"/>
              </a:rPr>
              <a:t>02 </a:t>
            </a:r>
            <a:r>
              <a:rPr lang="zh-CN" altLang="en-US" sz="2000">
                <a:solidFill>
                  <a:schemeClr val="accent1"/>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zh-CN" sz="200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33" name="矩形 32"/>
          <p:cNvSpPr/>
          <p:nvPr/>
        </p:nvSpPr>
        <p:spPr>
          <a:xfrm>
            <a:off x="5135261" y="1510059"/>
            <a:ext cx="394696" cy="37594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endParaRPr lang="zh-CN" altLang="en-US">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矩形 33"/>
          <p:cNvSpPr/>
          <p:nvPr/>
        </p:nvSpPr>
        <p:spPr>
          <a:xfrm>
            <a:off x="5127071" y="2174536"/>
            <a:ext cx="2282546" cy="434989"/>
          </a:xfrm>
          <a:prstGeom prst="rect">
            <a:avLst/>
          </a:prstGeom>
          <a:effectLst/>
        </p:spPr>
        <p:txBody>
          <a:bodyPr wrap="none" lIns="65023" tIns="32511" rIns="65023" bIns="32511">
            <a:spAutoFit/>
          </a:bodyPr>
          <a:lstStyle/>
          <a:p>
            <a:pPr algn="r">
              <a:lnSpc>
                <a:spcPct val="120000"/>
              </a:lnSpc>
            </a:pPr>
            <a:r>
              <a:rPr lang="en-US" altLang="zh-CN" sz="2000">
                <a:solidFill>
                  <a:schemeClr val="accent1"/>
                </a:solidFill>
                <a:latin typeface="Arial" panose="020b0604020202020204" pitchFamily="34" charset="0"/>
                <a:ea typeface="微软雅黑" panose="020b0503020204020204" pitchFamily="34" charset="-122"/>
                <a:sym typeface="Arial" panose="020b0604020202020204" pitchFamily="34" charset="0"/>
              </a:rPr>
              <a:t>03 </a:t>
            </a:r>
            <a:r>
              <a:rPr lang="zh-CN" altLang="en-US" sz="2000">
                <a:solidFill>
                  <a:schemeClr val="accent1"/>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zh-CN" sz="200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35" name="矩形 34"/>
          <p:cNvSpPr/>
          <p:nvPr/>
        </p:nvSpPr>
        <p:spPr>
          <a:xfrm>
            <a:off x="5135261" y="2187429"/>
            <a:ext cx="394696" cy="37594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endParaRPr lang="zh-CN" altLang="en-US">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矩形 35"/>
          <p:cNvSpPr/>
          <p:nvPr/>
        </p:nvSpPr>
        <p:spPr>
          <a:xfrm>
            <a:off x="5127071" y="2879001"/>
            <a:ext cx="2282546" cy="434989"/>
          </a:xfrm>
          <a:prstGeom prst="rect">
            <a:avLst/>
          </a:prstGeom>
          <a:effectLst/>
        </p:spPr>
        <p:txBody>
          <a:bodyPr wrap="none" lIns="65023" tIns="32511" rIns="65023" bIns="32511">
            <a:spAutoFit/>
          </a:bodyPr>
          <a:lstStyle/>
          <a:p>
            <a:pPr algn="r">
              <a:lnSpc>
                <a:spcPct val="120000"/>
              </a:lnSpc>
            </a:pPr>
            <a:r>
              <a:rPr lang="en-US" altLang="zh-CN" sz="2000">
                <a:solidFill>
                  <a:schemeClr val="accent1"/>
                </a:solidFill>
                <a:latin typeface="Arial" panose="020b0604020202020204" pitchFamily="34" charset="0"/>
                <a:ea typeface="微软雅黑" panose="020b0503020204020204" pitchFamily="34" charset="-122"/>
                <a:sym typeface="Arial" panose="020b0604020202020204" pitchFamily="34" charset="0"/>
              </a:rPr>
              <a:t>04 </a:t>
            </a:r>
            <a:r>
              <a:rPr lang="zh-CN" altLang="en-US" sz="2000">
                <a:solidFill>
                  <a:schemeClr val="accent1"/>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zh-CN" sz="200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矩形 36"/>
          <p:cNvSpPr/>
          <p:nvPr/>
        </p:nvSpPr>
        <p:spPr>
          <a:xfrm>
            <a:off x="5135261" y="2891895"/>
            <a:ext cx="394696" cy="37594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endParaRPr lang="zh-CN" altLang="en-US">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TextBox 148"/>
          <p:cNvSpPr txBox="1"/>
          <p:nvPr/>
        </p:nvSpPr>
        <p:spPr>
          <a:xfrm>
            <a:off x="1653276" y="1328039"/>
            <a:ext cx="1760725" cy="933587"/>
          </a:xfrm>
          <a:prstGeom prst="rect">
            <a:avLst/>
          </a:prstGeom>
          <a:noFill/>
        </p:spPr>
        <p:txBody>
          <a:bodyPr vert="horz" wrap="square" lIns="65023" tIns="32511" rIns="65023" bIns="32511" rtlCol="0">
            <a:spAutoFit/>
          </a:bodyPr>
          <a:lstStyle/>
          <a:p>
            <a:pPr>
              <a:lnSpc>
                <a:spcPct val="120000"/>
              </a:lnSpc>
            </a:pPr>
            <a:r>
              <a:rPr lang="zh-CN" altLang="en-US" sz="4700" b="1" cap="all" spc="213">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目录</a:t>
            </a:r>
            <a:endParaRPr lang="en-US" altLang="zh-CN" sz="4700" b="1" cap="all" spc="213">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 name="TextBox 148"/>
          <p:cNvSpPr txBox="1"/>
          <p:nvPr/>
        </p:nvSpPr>
        <p:spPr>
          <a:xfrm>
            <a:off x="1653276" y="2087661"/>
            <a:ext cx="2380001" cy="638121"/>
          </a:xfrm>
          <a:prstGeom prst="rect">
            <a:avLst/>
          </a:prstGeom>
          <a:noFill/>
        </p:spPr>
        <p:txBody>
          <a:bodyPr vert="horz" wrap="square" lIns="65023" tIns="32511" rIns="65023" bIns="32511" rtlCol="0">
            <a:spAutoFit/>
          </a:bodyPr>
          <a:lstStyle/>
          <a:p>
            <a:pPr>
              <a:lnSpc>
                <a:spcPct val="120000"/>
              </a:lnSpc>
            </a:pPr>
            <a:r>
              <a:rPr lang="en-US" altLang="zh-CN" sz="3100" b="1">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CONTENTS</a:t>
            </a:r>
            <a:endParaRPr lang="en-US" altLang="zh-CN" sz="3100" b="1">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 name="Freeform 6"/>
          <p:cNvSpPr/>
          <p:nvPr/>
        </p:nvSpPr>
        <p:spPr bwMode="auto">
          <a:xfrm>
            <a:off x="252" y="3838725"/>
            <a:ext cx="9143498" cy="1304775"/>
          </a:xfrm>
          <a:custGeom>
            <a:gdLst>
              <a:gd name="T0" fmla="*/ 1115 w 5702"/>
              <a:gd name="T1" fmla="*/ 0 h 1219"/>
              <a:gd name="T2" fmla="*/ 1277 w 5702"/>
              <a:gd name="T3" fmla="*/ 0 h 1219"/>
              <a:gd name="T4" fmla="*/ 1428 w 5702"/>
              <a:gd name="T5" fmla="*/ 2 h 1219"/>
              <a:gd name="T6" fmla="*/ 1569 w 5702"/>
              <a:gd name="T7" fmla="*/ 2 h 1219"/>
              <a:gd name="T8" fmla="*/ 1698 w 5702"/>
              <a:gd name="T9" fmla="*/ 4 h 1219"/>
              <a:gd name="T10" fmla="*/ 1816 w 5702"/>
              <a:gd name="T11" fmla="*/ 6 h 1219"/>
              <a:gd name="T12" fmla="*/ 1922 w 5702"/>
              <a:gd name="T13" fmla="*/ 7 h 1219"/>
              <a:gd name="T14" fmla="*/ 2018 w 5702"/>
              <a:gd name="T15" fmla="*/ 11 h 1219"/>
              <a:gd name="T16" fmla="*/ 2102 w 5702"/>
              <a:gd name="T17" fmla="*/ 14 h 1219"/>
              <a:gd name="T18" fmla="*/ 2201 w 5702"/>
              <a:gd name="T19" fmla="*/ 20 h 1219"/>
              <a:gd name="T20" fmla="*/ 2293 w 5702"/>
              <a:gd name="T21" fmla="*/ 32 h 1219"/>
              <a:gd name="T22" fmla="*/ 2375 w 5702"/>
              <a:gd name="T23" fmla="*/ 46 h 1219"/>
              <a:gd name="T24" fmla="*/ 2452 w 5702"/>
              <a:gd name="T25" fmla="*/ 63 h 1219"/>
              <a:gd name="T26" fmla="*/ 2518 w 5702"/>
              <a:gd name="T27" fmla="*/ 84 h 1219"/>
              <a:gd name="T28" fmla="*/ 2579 w 5702"/>
              <a:gd name="T29" fmla="*/ 107 h 1219"/>
              <a:gd name="T30" fmla="*/ 2633 w 5702"/>
              <a:gd name="T31" fmla="*/ 131 h 1219"/>
              <a:gd name="T32" fmla="*/ 2680 w 5702"/>
              <a:gd name="T33" fmla="*/ 157 h 1219"/>
              <a:gd name="T34" fmla="*/ 2722 w 5702"/>
              <a:gd name="T35" fmla="*/ 185 h 1219"/>
              <a:gd name="T36" fmla="*/ 2756 w 5702"/>
              <a:gd name="T37" fmla="*/ 213 h 1219"/>
              <a:gd name="T38" fmla="*/ 2788 w 5702"/>
              <a:gd name="T39" fmla="*/ 241 h 1219"/>
              <a:gd name="T40" fmla="*/ 2812 w 5702"/>
              <a:gd name="T41" fmla="*/ 269 h 1219"/>
              <a:gd name="T42" fmla="*/ 2835 w 5702"/>
              <a:gd name="T43" fmla="*/ 295 h 1219"/>
              <a:gd name="T44" fmla="*/ 2852 w 5702"/>
              <a:gd name="T45" fmla="*/ 319 h 1219"/>
              <a:gd name="T46" fmla="*/ 2868 w 5702"/>
              <a:gd name="T47" fmla="*/ 295 h 1219"/>
              <a:gd name="T48" fmla="*/ 2891 w 5702"/>
              <a:gd name="T49" fmla="*/ 269 h 1219"/>
              <a:gd name="T50" fmla="*/ 2915 w 5702"/>
              <a:gd name="T51" fmla="*/ 241 h 1219"/>
              <a:gd name="T52" fmla="*/ 2946 w 5702"/>
              <a:gd name="T53" fmla="*/ 213 h 1219"/>
              <a:gd name="T54" fmla="*/ 2981 w 5702"/>
              <a:gd name="T55" fmla="*/ 185 h 1219"/>
              <a:gd name="T56" fmla="*/ 3023 w 5702"/>
              <a:gd name="T57" fmla="*/ 157 h 1219"/>
              <a:gd name="T58" fmla="*/ 3070 w 5702"/>
              <a:gd name="T59" fmla="*/ 131 h 1219"/>
              <a:gd name="T60" fmla="*/ 3124 w 5702"/>
              <a:gd name="T61" fmla="*/ 107 h 1219"/>
              <a:gd name="T62" fmla="*/ 3185 w 5702"/>
              <a:gd name="T63" fmla="*/ 84 h 1219"/>
              <a:gd name="T64" fmla="*/ 3253 w 5702"/>
              <a:gd name="T65" fmla="*/ 63 h 1219"/>
              <a:gd name="T66" fmla="*/ 3328 w 5702"/>
              <a:gd name="T67" fmla="*/ 46 h 1219"/>
              <a:gd name="T68" fmla="*/ 3409 w 5702"/>
              <a:gd name="T69" fmla="*/ 32 h 1219"/>
              <a:gd name="T70" fmla="*/ 3502 w 5702"/>
              <a:gd name="T71" fmla="*/ 20 h 1219"/>
              <a:gd name="T72" fmla="*/ 3601 w 5702"/>
              <a:gd name="T73" fmla="*/ 14 h 1219"/>
              <a:gd name="T74" fmla="*/ 3684 w 5702"/>
              <a:gd name="T75" fmla="*/ 11 h 1219"/>
              <a:gd name="T76" fmla="*/ 3780 w 5702"/>
              <a:gd name="T77" fmla="*/ 7 h 1219"/>
              <a:gd name="T78" fmla="*/ 3886 w 5702"/>
              <a:gd name="T79" fmla="*/ 6 h 1219"/>
              <a:gd name="T80" fmla="*/ 4005 w 5702"/>
              <a:gd name="T81" fmla="*/ 4 h 1219"/>
              <a:gd name="T82" fmla="*/ 4134 w 5702"/>
              <a:gd name="T83" fmla="*/ 2 h 1219"/>
              <a:gd name="T84" fmla="*/ 4275 w 5702"/>
              <a:gd name="T85" fmla="*/ 2 h 1219"/>
              <a:gd name="T86" fmla="*/ 4426 w 5702"/>
              <a:gd name="T87" fmla="*/ 0 h 1219"/>
              <a:gd name="T88" fmla="*/ 4588 w 5702"/>
              <a:gd name="T89" fmla="*/ 0 h 1219"/>
              <a:gd name="T90" fmla="*/ 4799 w 5702"/>
              <a:gd name="T91" fmla="*/ 0 h 1219"/>
              <a:gd name="T92" fmla="*/ 4999 w 5702"/>
              <a:gd name="T93" fmla="*/ 2 h 1219"/>
              <a:gd name="T94" fmla="*/ 5189 w 5702"/>
              <a:gd name="T95" fmla="*/ 4 h 1219"/>
              <a:gd name="T96" fmla="*/ 5368 w 5702"/>
              <a:gd name="T97" fmla="*/ 6 h 1219"/>
              <a:gd name="T98" fmla="*/ 5541 w 5702"/>
              <a:gd name="T99" fmla="*/ 7 h 1219"/>
              <a:gd name="T100" fmla="*/ 5702 w 5702"/>
              <a:gd name="T101" fmla="*/ 9 h 1219"/>
              <a:gd name="T102" fmla="*/ 5702 w 5702"/>
              <a:gd name="T103" fmla="*/ 1219 h 1219"/>
              <a:gd name="T104" fmla="*/ 0 w 5702"/>
              <a:gd name="T105" fmla="*/ 1219 h 1219"/>
              <a:gd name="T106" fmla="*/ 0 w 5702"/>
              <a:gd name="T107" fmla="*/ 9 h 1219"/>
              <a:gd name="T108" fmla="*/ 164 w 5702"/>
              <a:gd name="T109" fmla="*/ 7 h 1219"/>
              <a:gd name="T110" fmla="*/ 335 w 5702"/>
              <a:gd name="T111" fmla="*/ 6 h 1219"/>
              <a:gd name="T112" fmla="*/ 514 w 5702"/>
              <a:gd name="T113" fmla="*/ 4 h 1219"/>
              <a:gd name="T114" fmla="*/ 704 w 5702"/>
              <a:gd name="T115" fmla="*/ 2 h 1219"/>
              <a:gd name="T116" fmla="*/ 904 w 5702"/>
              <a:gd name="T117" fmla="*/ 0 h 1219"/>
              <a:gd name="T118" fmla="*/ 1115 w 5702"/>
              <a:gd name="T119" fmla="*/ 0 h 12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2" h="1219">
                <a:moveTo>
                  <a:pt x="1115" y="0"/>
                </a:moveTo>
                <a:lnTo>
                  <a:pt x="1277" y="0"/>
                </a:lnTo>
                <a:lnTo>
                  <a:pt x="1428" y="2"/>
                </a:lnTo>
                <a:lnTo>
                  <a:pt x="1569" y="2"/>
                </a:lnTo>
                <a:lnTo>
                  <a:pt x="1698" y="4"/>
                </a:lnTo>
                <a:lnTo>
                  <a:pt x="1816" y="6"/>
                </a:lnTo>
                <a:lnTo>
                  <a:pt x="1922" y="7"/>
                </a:lnTo>
                <a:lnTo>
                  <a:pt x="2018" y="11"/>
                </a:lnTo>
                <a:lnTo>
                  <a:pt x="2102" y="14"/>
                </a:lnTo>
                <a:lnTo>
                  <a:pt x="2201" y="20"/>
                </a:lnTo>
                <a:lnTo>
                  <a:pt x="2293" y="32"/>
                </a:lnTo>
                <a:lnTo>
                  <a:pt x="2375" y="46"/>
                </a:lnTo>
                <a:lnTo>
                  <a:pt x="2452" y="63"/>
                </a:lnTo>
                <a:lnTo>
                  <a:pt x="2518" y="84"/>
                </a:lnTo>
                <a:lnTo>
                  <a:pt x="2579" y="107"/>
                </a:lnTo>
                <a:lnTo>
                  <a:pt x="2633" y="131"/>
                </a:lnTo>
                <a:lnTo>
                  <a:pt x="2680" y="157"/>
                </a:lnTo>
                <a:lnTo>
                  <a:pt x="2722" y="185"/>
                </a:lnTo>
                <a:lnTo>
                  <a:pt x="2756" y="213"/>
                </a:lnTo>
                <a:lnTo>
                  <a:pt x="2788" y="241"/>
                </a:lnTo>
                <a:lnTo>
                  <a:pt x="2812" y="269"/>
                </a:lnTo>
                <a:lnTo>
                  <a:pt x="2835" y="295"/>
                </a:lnTo>
                <a:lnTo>
                  <a:pt x="2852" y="319"/>
                </a:lnTo>
                <a:lnTo>
                  <a:pt x="2868" y="295"/>
                </a:lnTo>
                <a:lnTo>
                  <a:pt x="2891" y="269"/>
                </a:lnTo>
                <a:lnTo>
                  <a:pt x="2915" y="241"/>
                </a:lnTo>
                <a:lnTo>
                  <a:pt x="2946" y="213"/>
                </a:lnTo>
                <a:lnTo>
                  <a:pt x="2981" y="185"/>
                </a:lnTo>
                <a:lnTo>
                  <a:pt x="3023" y="157"/>
                </a:lnTo>
                <a:lnTo>
                  <a:pt x="3070" y="131"/>
                </a:lnTo>
                <a:lnTo>
                  <a:pt x="3124" y="107"/>
                </a:lnTo>
                <a:lnTo>
                  <a:pt x="3185" y="84"/>
                </a:lnTo>
                <a:lnTo>
                  <a:pt x="3253" y="63"/>
                </a:lnTo>
                <a:lnTo>
                  <a:pt x="3328" y="46"/>
                </a:lnTo>
                <a:lnTo>
                  <a:pt x="3409" y="32"/>
                </a:lnTo>
                <a:lnTo>
                  <a:pt x="3502" y="20"/>
                </a:lnTo>
                <a:lnTo>
                  <a:pt x="3601" y="14"/>
                </a:lnTo>
                <a:lnTo>
                  <a:pt x="3684" y="11"/>
                </a:lnTo>
                <a:lnTo>
                  <a:pt x="3780" y="7"/>
                </a:lnTo>
                <a:lnTo>
                  <a:pt x="3886" y="6"/>
                </a:lnTo>
                <a:lnTo>
                  <a:pt x="4005" y="4"/>
                </a:lnTo>
                <a:lnTo>
                  <a:pt x="4134" y="2"/>
                </a:lnTo>
                <a:lnTo>
                  <a:pt x="4275" y="2"/>
                </a:lnTo>
                <a:lnTo>
                  <a:pt x="4426" y="0"/>
                </a:lnTo>
                <a:lnTo>
                  <a:pt x="4588" y="0"/>
                </a:lnTo>
                <a:lnTo>
                  <a:pt x="4799" y="0"/>
                </a:lnTo>
                <a:lnTo>
                  <a:pt x="4999" y="2"/>
                </a:lnTo>
                <a:lnTo>
                  <a:pt x="5189" y="4"/>
                </a:lnTo>
                <a:lnTo>
                  <a:pt x="5368" y="6"/>
                </a:lnTo>
                <a:lnTo>
                  <a:pt x="5541" y="7"/>
                </a:lnTo>
                <a:lnTo>
                  <a:pt x="5702" y="9"/>
                </a:lnTo>
                <a:lnTo>
                  <a:pt x="5702" y="1219"/>
                </a:lnTo>
                <a:lnTo>
                  <a:pt x="0" y="1219"/>
                </a:lnTo>
                <a:lnTo>
                  <a:pt x="0" y="9"/>
                </a:lnTo>
                <a:lnTo>
                  <a:pt x="164" y="7"/>
                </a:lnTo>
                <a:lnTo>
                  <a:pt x="335" y="6"/>
                </a:lnTo>
                <a:lnTo>
                  <a:pt x="514" y="4"/>
                </a:lnTo>
                <a:lnTo>
                  <a:pt x="704" y="2"/>
                </a:lnTo>
                <a:lnTo>
                  <a:pt x="904" y="0"/>
                </a:lnTo>
                <a:lnTo>
                  <a:pt x="1115" y="0"/>
                </a:lnTo>
                <a:close/>
              </a:path>
            </a:pathLst>
          </a:custGeom>
          <a:solidFill>
            <a:schemeClr val="accent2"/>
          </a:solidFill>
          <a:ln w="0">
            <a:noFill/>
            <a:prstDash val="solid"/>
            <a:round/>
          </a:ln>
        </p:spPr>
        <p:txBody>
          <a:bodyPr vert="horz" wrap="square" lIns="91433" tIns="45717" rIns="91433" bIns="45717" numCol="1" anchor="t" anchorCtr="0" compatLnSpc="1"/>
          <a:lstStyle/>
          <a:p>
            <a:endParaRPr lang="zh-CN" altLang="en-US"/>
          </a:p>
        </p:txBody>
      </p:sp>
      <p:sp>
        <p:nvSpPr>
          <p:cNvPr id="18" name="Freeform 7"/>
          <p:cNvSpPr/>
          <p:nvPr/>
        </p:nvSpPr>
        <p:spPr bwMode="auto">
          <a:xfrm>
            <a:off x="252" y="3647129"/>
            <a:ext cx="9143498" cy="421724"/>
          </a:xfrm>
          <a:custGeom>
            <a:gdLst>
              <a:gd name="T0" fmla="*/ 1184 w 5702"/>
              <a:gd name="T1" fmla="*/ 0 h 394"/>
              <a:gd name="T2" fmla="*/ 1492 w 5702"/>
              <a:gd name="T3" fmla="*/ 2 h 394"/>
              <a:gd name="T4" fmla="*/ 1754 w 5702"/>
              <a:gd name="T5" fmla="*/ 5 h 394"/>
              <a:gd name="T6" fmla="*/ 1968 w 5702"/>
              <a:gd name="T7" fmla="*/ 11 h 394"/>
              <a:gd name="T8" fmla="*/ 2156 w 5702"/>
              <a:gd name="T9" fmla="*/ 19 h 394"/>
              <a:gd name="T10" fmla="*/ 2333 w 5702"/>
              <a:gd name="T11" fmla="*/ 42 h 394"/>
              <a:gd name="T12" fmla="*/ 2480 w 5702"/>
              <a:gd name="T13" fmla="*/ 78 h 394"/>
              <a:gd name="T14" fmla="*/ 2598 w 5702"/>
              <a:gd name="T15" fmla="*/ 122 h 394"/>
              <a:gd name="T16" fmla="*/ 2690 w 5702"/>
              <a:gd name="T17" fmla="*/ 172 h 394"/>
              <a:gd name="T18" fmla="*/ 2763 w 5702"/>
              <a:gd name="T19" fmla="*/ 225 h 394"/>
              <a:gd name="T20" fmla="*/ 2816 w 5702"/>
              <a:gd name="T21" fmla="*/ 277 h 394"/>
              <a:gd name="T22" fmla="*/ 2852 w 5702"/>
              <a:gd name="T23" fmla="*/ 326 h 394"/>
              <a:gd name="T24" fmla="*/ 2887 w 5702"/>
              <a:gd name="T25" fmla="*/ 277 h 394"/>
              <a:gd name="T26" fmla="*/ 2939 w 5702"/>
              <a:gd name="T27" fmla="*/ 225 h 394"/>
              <a:gd name="T28" fmla="*/ 3012 w 5702"/>
              <a:gd name="T29" fmla="*/ 172 h 394"/>
              <a:gd name="T30" fmla="*/ 3105 w 5702"/>
              <a:gd name="T31" fmla="*/ 122 h 394"/>
              <a:gd name="T32" fmla="*/ 3223 w 5702"/>
              <a:gd name="T33" fmla="*/ 78 h 394"/>
              <a:gd name="T34" fmla="*/ 3369 w 5702"/>
              <a:gd name="T35" fmla="*/ 42 h 394"/>
              <a:gd name="T36" fmla="*/ 3547 w 5702"/>
              <a:gd name="T37" fmla="*/ 19 h 394"/>
              <a:gd name="T38" fmla="*/ 3735 w 5702"/>
              <a:gd name="T39" fmla="*/ 11 h 394"/>
              <a:gd name="T40" fmla="*/ 3949 w 5702"/>
              <a:gd name="T41" fmla="*/ 5 h 394"/>
              <a:gd name="T42" fmla="*/ 4210 w 5702"/>
              <a:gd name="T43" fmla="*/ 2 h 394"/>
              <a:gd name="T44" fmla="*/ 4519 w 5702"/>
              <a:gd name="T45" fmla="*/ 0 h 394"/>
              <a:gd name="T46" fmla="*/ 4907 w 5702"/>
              <a:gd name="T47" fmla="*/ 0 h 394"/>
              <a:gd name="T48" fmla="*/ 5318 w 5702"/>
              <a:gd name="T49" fmla="*/ 2 h 394"/>
              <a:gd name="T50" fmla="*/ 5702 w 5702"/>
              <a:gd name="T51" fmla="*/ 5 h 394"/>
              <a:gd name="T52" fmla="*/ 5513 w 5702"/>
              <a:gd name="T53" fmla="*/ 72 h 394"/>
              <a:gd name="T54" fmla="*/ 5116 w 5702"/>
              <a:gd name="T55" fmla="*/ 70 h 394"/>
              <a:gd name="T56" fmla="*/ 4689 w 5702"/>
              <a:gd name="T57" fmla="*/ 68 h 394"/>
              <a:gd name="T58" fmla="*/ 4358 w 5702"/>
              <a:gd name="T59" fmla="*/ 70 h 394"/>
              <a:gd name="T60" fmla="*/ 4073 w 5702"/>
              <a:gd name="T61" fmla="*/ 72 h 394"/>
              <a:gd name="T62" fmla="*/ 3836 w 5702"/>
              <a:gd name="T63" fmla="*/ 75 h 394"/>
              <a:gd name="T64" fmla="*/ 3648 w 5702"/>
              <a:gd name="T65" fmla="*/ 80 h 394"/>
              <a:gd name="T66" fmla="*/ 3455 w 5702"/>
              <a:gd name="T67" fmla="*/ 98 h 394"/>
              <a:gd name="T68" fmla="*/ 3293 w 5702"/>
              <a:gd name="T69" fmla="*/ 127 h 394"/>
              <a:gd name="T70" fmla="*/ 3162 w 5702"/>
              <a:gd name="T71" fmla="*/ 167 h 394"/>
              <a:gd name="T72" fmla="*/ 3056 w 5702"/>
              <a:gd name="T73" fmla="*/ 214 h 394"/>
              <a:gd name="T74" fmla="*/ 2974 w 5702"/>
              <a:gd name="T75" fmla="*/ 266 h 394"/>
              <a:gd name="T76" fmla="*/ 2911 w 5702"/>
              <a:gd name="T77" fmla="*/ 320 h 394"/>
              <a:gd name="T78" fmla="*/ 2868 w 5702"/>
              <a:gd name="T79" fmla="*/ 371 h 394"/>
              <a:gd name="T80" fmla="*/ 2835 w 5702"/>
              <a:gd name="T81" fmla="*/ 371 h 394"/>
              <a:gd name="T82" fmla="*/ 2791 w 5702"/>
              <a:gd name="T83" fmla="*/ 320 h 394"/>
              <a:gd name="T84" fmla="*/ 2730 w 5702"/>
              <a:gd name="T85" fmla="*/ 266 h 394"/>
              <a:gd name="T86" fmla="*/ 2647 w 5702"/>
              <a:gd name="T87" fmla="*/ 214 h 394"/>
              <a:gd name="T88" fmla="*/ 2542 w 5702"/>
              <a:gd name="T89" fmla="*/ 167 h 394"/>
              <a:gd name="T90" fmla="*/ 2410 w 5702"/>
              <a:gd name="T91" fmla="*/ 127 h 394"/>
              <a:gd name="T92" fmla="*/ 2248 w 5702"/>
              <a:gd name="T93" fmla="*/ 98 h 394"/>
              <a:gd name="T94" fmla="*/ 2055 w 5702"/>
              <a:gd name="T95" fmla="*/ 80 h 394"/>
              <a:gd name="T96" fmla="*/ 1867 w 5702"/>
              <a:gd name="T97" fmla="*/ 75 h 394"/>
              <a:gd name="T98" fmla="*/ 1630 w 5702"/>
              <a:gd name="T99" fmla="*/ 72 h 394"/>
              <a:gd name="T100" fmla="*/ 1344 w 5702"/>
              <a:gd name="T101" fmla="*/ 70 h 394"/>
              <a:gd name="T102" fmla="*/ 1014 w 5702"/>
              <a:gd name="T103" fmla="*/ 68 h 394"/>
              <a:gd name="T104" fmla="*/ 587 w 5702"/>
              <a:gd name="T105" fmla="*/ 70 h 394"/>
              <a:gd name="T106" fmla="*/ 190 w 5702"/>
              <a:gd name="T107" fmla="*/ 72 h 394"/>
              <a:gd name="T108" fmla="*/ 0 w 5702"/>
              <a:gd name="T109" fmla="*/ 5 h 394"/>
              <a:gd name="T110" fmla="*/ 385 w 5702"/>
              <a:gd name="T111" fmla="*/ 2 h 394"/>
              <a:gd name="T112" fmla="*/ 796 w 5702"/>
              <a:gd name="T113" fmla="*/ 0 h 3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02" h="394">
                <a:moveTo>
                  <a:pt x="1014" y="0"/>
                </a:moveTo>
                <a:lnTo>
                  <a:pt x="1184" y="0"/>
                </a:lnTo>
                <a:lnTo>
                  <a:pt x="1344" y="0"/>
                </a:lnTo>
                <a:lnTo>
                  <a:pt x="1492" y="2"/>
                </a:lnTo>
                <a:lnTo>
                  <a:pt x="1630" y="4"/>
                </a:lnTo>
                <a:lnTo>
                  <a:pt x="1754" y="5"/>
                </a:lnTo>
                <a:lnTo>
                  <a:pt x="1867" y="7"/>
                </a:lnTo>
                <a:lnTo>
                  <a:pt x="1968" y="11"/>
                </a:lnTo>
                <a:lnTo>
                  <a:pt x="2055" y="12"/>
                </a:lnTo>
                <a:lnTo>
                  <a:pt x="2156" y="19"/>
                </a:lnTo>
                <a:lnTo>
                  <a:pt x="2248" y="30"/>
                </a:lnTo>
                <a:lnTo>
                  <a:pt x="2333" y="42"/>
                </a:lnTo>
                <a:lnTo>
                  <a:pt x="2410" y="59"/>
                </a:lnTo>
                <a:lnTo>
                  <a:pt x="2480" y="78"/>
                </a:lnTo>
                <a:lnTo>
                  <a:pt x="2542" y="99"/>
                </a:lnTo>
                <a:lnTo>
                  <a:pt x="2598" y="122"/>
                </a:lnTo>
                <a:lnTo>
                  <a:pt x="2647" y="146"/>
                </a:lnTo>
                <a:lnTo>
                  <a:pt x="2690" y="172"/>
                </a:lnTo>
                <a:lnTo>
                  <a:pt x="2730" y="199"/>
                </a:lnTo>
                <a:lnTo>
                  <a:pt x="2763" y="225"/>
                </a:lnTo>
                <a:lnTo>
                  <a:pt x="2791" y="253"/>
                </a:lnTo>
                <a:lnTo>
                  <a:pt x="2816" y="277"/>
                </a:lnTo>
                <a:lnTo>
                  <a:pt x="2835" y="303"/>
                </a:lnTo>
                <a:lnTo>
                  <a:pt x="2852" y="326"/>
                </a:lnTo>
                <a:lnTo>
                  <a:pt x="2868" y="303"/>
                </a:lnTo>
                <a:lnTo>
                  <a:pt x="2887" y="277"/>
                </a:lnTo>
                <a:lnTo>
                  <a:pt x="2911" y="253"/>
                </a:lnTo>
                <a:lnTo>
                  <a:pt x="2939" y="225"/>
                </a:lnTo>
                <a:lnTo>
                  <a:pt x="2974" y="199"/>
                </a:lnTo>
                <a:lnTo>
                  <a:pt x="3012" y="172"/>
                </a:lnTo>
                <a:lnTo>
                  <a:pt x="3056" y="146"/>
                </a:lnTo>
                <a:lnTo>
                  <a:pt x="3105" y="122"/>
                </a:lnTo>
                <a:lnTo>
                  <a:pt x="3162" y="99"/>
                </a:lnTo>
                <a:lnTo>
                  <a:pt x="3223" y="78"/>
                </a:lnTo>
                <a:lnTo>
                  <a:pt x="3293" y="59"/>
                </a:lnTo>
                <a:lnTo>
                  <a:pt x="3369" y="42"/>
                </a:lnTo>
                <a:lnTo>
                  <a:pt x="3455" y="30"/>
                </a:lnTo>
                <a:lnTo>
                  <a:pt x="3547" y="19"/>
                </a:lnTo>
                <a:lnTo>
                  <a:pt x="3648" y="12"/>
                </a:lnTo>
                <a:lnTo>
                  <a:pt x="3735" y="11"/>
                </a:lnTo>
                <a:lnTo>
                  <a:pt x="3836" y="7"/>
                </a:lnTo>
                <a:lnTo>
                  <a:pt x="3949" y="5"/>
                </a:lnTo>
                <a:lnTo>
                  <a:pt x="4073" y="4"/>
                </a:lnTo>
                <a:lnTo>
                  <a:pt x="4210" y="2"/>
                </a:lnTo>
                <a:lnTo>
                  <a:pt x="4358" y="0"/>
                </a:lnTo>
                <a:lnTo>
                  <a:pt x="4519" y="0"/>
                </a:lnTo>
                <a:lnTo>
                  <a:pt x="4689" y="0"/>
                </a:lnTo>
                <a:lnTo>
                  <a:pt x="4907" y="0"/>
                </a:lnTo>
                <a:lnTo>
                  <a:pt x="5116" y="2"/>
                </a:lnTo>
                <a:lnTo>
                  <a:pt x="5318" y="2"/>
                </a:lnTo>
                <a:lnTo>
                  <a:pt x="5513" y="4"/>
                </a:lnTo>
                <a:lnTo>
                  <a:pt x="5702" y="5"/>
                </a:lnTo>
                <a:lnTo>
                  <a:pt x="5702" y="73"/>
                </a:lnTo>
                <a:lnTo>
                  <a:pt x="5513" y="72"/>
                </a:lnTo>
                <a:lnTo>
                  <a:pt x="5318" y="70"/>
                </a:lnTo>
                <a:lnTo>
                  <a:pt x="5116" y="70"/>
                </a:lnTo>
                <a:lnTo>
                  <a:pt x="4907" y="68"/>
                </a:lnTo>
                <a:lnTo>
                  <a:pt x="4689" y="68"/>
                </a:lnTo>
                <a:lnTo>
                  <a:pt x="4519" y="68"/>
                </a:lnTo>
                <a:lnTo>
                  <a:pt x="4358" y="70"/>
                </a:lnTo>
                <a:lnTo>
                  <a:pt x="4210" y="70"/>
                </a:lnTo>
                <a:lnTo>
                  <a:pt x="4073" y="72"/>
                </a:lnTo>
                <a:lnTo>
                  <a:pt x="3949" y="73"/>
                </a:lnTo>
                <a:lnTo>
                  <a:pt x="3836" y="75"/>
                </a:lnTo>
                <a:lnTo>
                  <a:pt x="3735" y="78"/>
                </a:lnTo>
                <a:lnTo>
                  <a:pt x="3648" y="80"/>
                </a:lnTo>
                <a:lnTo>
                  <a:pt x="3547" y="87"/>
                </a:lnTo>
                <a:lnTo>
                  <a:pt x="3455" y="98"/>
                </a:lnTo>
                <a:lnTo>
                  <a:pt x="3369" y="110"/>
                </a:lnTo>
                <a:lnTo>
                  <a:pt x="3293" y="127"/>
                </a:lnTo>
                <a:lnTo>
                  <a:pt x="3223" y="146"/>
                </a:lnTo>
                <a:lnTo>
                  <a:pt x="3162" y="167"/>
                </a:lnTo>
                <a:lnTo>
                  <a:pt x="3105" y="190"/>
                </a:lnTo>
                <a:lnTo>
                  <a:pt x="3056" y="214"/>
                </a:lnTo>
                <a:lnTo>
                  <a:pt x="3012" y="240"/>
                </a:lnTo>
                <a:lnTo>
                  <a:pt x="2974" y="266"/>
                </a:lnTo>
                <a:lnTo>
                  <a:pt x="2939" y="293"/>
                </a:lnTo>
                <a:lnTo>
                  <a:pt x="2911" y="320"/>
                </a:lnTo>
                <a:lnTo>
                  <a:pt x="2887" y="345"/>
                </a:lnTo>
                <a:lnTo>
                  <a:pt x="2868" y="371"/>
                </a:lnTo>
                <a:lnTo>
                  <a:pt x="2852" y="394"/>
                </a:lnTo>
                <a:lnTo>
                  <a:pt x="2835" y="371"/>
                </a:lnTo>
                <a:lnTo>
                  <a:pt x="2816" y="345"/>
                </a:lnTo>
                <a:lnTo>
                  <a:pt x="2791" y="320"/>
                </a:lnTo>
                <a:lnTo>
                  <a:pt x="2763" y="293"/>
                </a:lnTo>
                <a:lnTo>
                  <a:pt x="2730" y="266"/>
                </a:lnTo>
                <a:lnTo>
                  <a:pt x="2690" y="240"/>
                </a:lnTo>
                <a:lnTo>
                  <a:pt x="2647" y="214"/>
                </a:lnTo>
                <a:lnTo>
                  <a:pt x="2598" y="190"/>
                </a:lnTo>
                <a:lnTo>
                  <a:pt x="2542" y="167"/>
                </a:lnTo>
                <a:lnTo>
                  <a:pt x="2480" y="146"/>
                </a:lnTo>
                <a:lnTo>
                  <a:pt x="2410" y="127"/>
                </a:lnTo>
                <a:lnTo>
                  <a:pt x="2333" y="110"/>
                </a:lnTo>
                <a:lnTo>
                  <a:pt x="2248" y="98"/>
                </a:lnTo>
                <a:lnTo>
                  <a:pt x="2156" y="87"/>
                </a:lnTo>
                <a:lnTo>
                  <a:pt x="2055" y="80"/>
                </a:lnTo>
                <a:lnTo>
                  <a:pt x="1968" y="78"/>
                </a:lnTo>
                <a:lnTo>
                  <a:pt x="1867" y="75"/>
                </a:lnTo>
                <a:lnTo>
                  <a:pt x="1754" y="73"/>
                </a:lnTo>
                <a:lnTo>
                  <a:pt x="1630" y="72"/>
                </a:lnTo>
                <a:lnTo>
                  <a:pt x="1492" y="70"/>
                </a:lnTo>
                <a:lnTo>
                  <a:pt x="1344" y="70"/>
                </a:lnTo>
                <a:lnTo>
                  <a:pt x="1184" y="68"/>
                </a:lnTo>
                <a:lnTo>
                  <a:pt x="1014" y="68"/>
                </a:lnTo>
                <a:lnTo>
                  <a:pt x="796" y="68"/>
                </a:lnTo>
                <a:lnTo>
                  <a:pt x="587" y="70"/>
                </a:lnTo>
                <a:lnTo>
                  <a:pt x="385" y="70"/>
                </a:lnTo>
                <a:lnTo>
                  <a:pt x="190" y="72"/>
                </a:lnTo>
                <a:lnTo>
                  <a:pt x="0" y="73"/>
                </a:lnTo>
                <a:lnTo>
                  <a:pt x="0" y="5"/>
                </a:lnTo>
                <a:lnTo>
                  <a:pt x="190" y="4"/>
                </a:lnTo>
                <a:lnTo>
                  <a:pt x="385" y="2"/>
                </a:lnTo>
                <a:lnTo>
                  <a:pt x="587" y="2"/>
                </a:lnTo>
                <a:lnTo>
                  <a:pt x="796" y="0"/>
                </a:lnTo>
                <a:lnTo>
                  <a:pt x="1014" y="0"/>
                </a:lnTo>
                <a:close/>
              </a:path>
            </a:pathLst>
          </a:custGeom>
          <a:solidFill>
            <a:schemeClr val="accent1"/>
          </a:solidFill>
          <a:ln w="0">
            <a:noFill/>
            <a:prstDash val="solid"/>
            <a:round/>
          </a:ln>
        </p:spPr>
        <p:txBody>
          <a:bodyPr vert="horz" wrap="square" lIns="91433" tIns="45717" rIns="91433" bIns="45717" numCol="1" anchor="t" anchorCtr="0" compatLnSpc="1"/>
          <a:lstStyle/>
          <a:p>
            <a:endParaRPr lang="zh-CN" altLang="en-US"/>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2" presetClass="entr" presetSubtype="4"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p:tgtEl>
                                          <p:spTgt spid="38"/>
                                        </p:tgtEl>
                                        <p:attrNameLst>
                                          <p:attrName>ppt_y</p:attrName>
                                        </p:attrNameLst>
                                      </p:cBhvr>
                                      <p:tavLst>
                                        <p:tav tm="0">
                                          <p:val>
                                            <p:strVal val="#ppt_y+#ppt_h*1.125000"/>
                                          </p:val>
                                        </p:tav>
                                        <p:tav tm="100000">
                                          <p:val>
                                            <p:strVal val="#ppt_y"/>
                                          </p:val>
                                        </p:tav>
                                      </p:tavLst>
                                    </p:anim>
                                    <p:animEffect transition="in" filter="wipe(up)">
                                      <p:cBhvr>
                                        <p:cTn id="8" dur="500"/>
                                        <p:tgtEl>
                                          <p:spTgt spid="38"/>
                                        </p:tgtEl>
                                      </p:cBhvr>
                                    </p:animEffect>
                                  </p:childTnLst>
                                </p:cTn>
                              </p:par>
                            </p:childTnLst>
                          </p:cTn>
                        </p:par>
                        <p:par>
                          <p:cTn id="9" fill="hold" nodeType="afterGroup">
                            <p:stCondLst>
                              <p:cond delay="500"/>
                            </p:stCondLst>
                            <p:childTnLst>
                              <p:par>
                                <p:cTn id="10" presetID="16" presetClass="entr" presetSubtype="21" fill="hold" grpId="0" nodeType="after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barn(inVertical)">
                                      <p:cBhvr>
                                        <p:cTn id="12" dur="500"/>
                                        <p:tgtEl>
                                          <p:spTgt spid="20"/>
                                        </p:tgtEl>
                                      </p:cBhvr>
                                    </p:animEffect>
                                  </p:childTnLst>
                                </p:cTn>
                              </p:par>
                            </p:childTnLst>
                          </p:cTn>
                        </p:par>
                        <p:par>
                          <p:cTn id="13" fill="hold" nodeType="afterGroup">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wipe(left)">
                                      <p:cBhvr>
                                        <p:cTn id="16" dur="500"/>
                                        <p:tgtEl>
                                          <p:spTgt spid="19"/>
                                        </p:tgtEl>
                                      </p:cBhvr>
                                    </p:animEffect>
                                  </p:childTnLst>
                                </p:cTn>
                              </p:par>
                            </p:childTnLst>
                          </p:cTn>
                        </p:par>
                        <p:par>
                          <p:cTn id="17" fill="hold" nodeType="afterGroup">
                            <p:stCondLst>
                              <p:cond delay="1500"/>
                            </p:stCondLst>
                            <p:childTnLst>
                              <p:par>
                                <p:cTn id="18" presetID="16" presetClass="entr" presetSubtype="21" fill="hold" grpId="0" nodeType="after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barn(inVertical)">
                                      <p:cBhvr>
                                        <p:cTn id="20" dur="500"/>
                                        <p:tgtEl>
                                          <p:spTgt spid="33"/>
                                        </p:tgtEl>
                                      </p:cBhvr>
                                    </p:animEffect>
                                  </p:childTnLst>
                                </p:cTn>
                              </p:par>
                            </p:childTnLst>
                          </p:cTn>
                        </p:par>
                        <p:par>
                          <p:cTn id="21" fill="hold" nodeType="afterGroup">
                            <p:stCondLst>
                              <p:cond delay="2000"/>
                            </p:stCondLst>
                            <p:childTnLst>
                              <p:par>
                                <p:cTn id="22" presetID="22" presetClass="entr" presetSubtype="8" fill="hold" grpId="0" nodeType="after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wipe(left)">
                                      <p:cBhvr>
                                        <p:cTn id="24" dur="500"/>
                                        <p:tgtEl>
                                          <p:spTgt spid="21"/>
                                        </p:tgtEl>
                                      </p:cBhvr>
                                    </p:animEffect>
                                  </p:childTnLst>
                                </p:cTn>
                              </p:par>
                            </p:childTnLst>
                          </p:cTn>
                        </p:par>
                        <p:par>
                          <p:cTn id="25" fill="hold" nodeType="afterGroup">
                            <p:stCondLst>
                              <p:cond delay="2500"/>
                            </p:stCondLst>
                            <p:childTnLst>
                              <p:par>
                                <p:cTn id="26" presetID="16" presetClass="entr" presetSubtype="21" fill="hold" grpId="0" nodeType="after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barn(inVertical)">
                                      <p:cBhvr>
                                        <p:cTn id="28" dur="500"/>
                                        <p:tgtEl>
                                          <p:spTgt spid="35"/>
                                        </p:tgtEl>
                                      </p:cBhvr>
                                    </p:animEffect>
                                  </p:childTnLst>
                                </p:cTn>
                              </p:par>
                            </p:childTnLst>
                          </p:cTn>
                        </p:par>
                        <p:par>
                          <p:cTn id="29" fill="hold" nodeType="afterGroup">
                            <p:stCondLst>
                              <p:cond delay="3000"/>
                            </p:stCondLst>
                            <p:childTnLst>
                              <p:par>
                                <p:cTn id="30" presetID="22" presetClass="entr" presetSubtype="8" fill="hold" grpId="0" nodeType="after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wipe(left)">
                                      <p:cBhvr>
                                        <p:cTn id="32" dur="500"/>
                                        <p:tgtEl>
                                          <p:spTgt spid="34"/>
                                        </p:tgtEl>
                                      </p:cBhvr>
                                    </p:animEffect>
                                  </p:childTnLst>
                                </p:cTn>
                              </p:par>
                            </p:childTnLst>
                          </p:cTn>
                        </p:par>
                        <p:par>
                          <p:cTn id="33" fill="hold" nodeType="afterGroup">
                            <p:stCondLst>
                              <p:cond delay="3500"/>
                            </p:stCondLst>
                            <p:childTnLst>
                              <p:par>
                                <p:cTn id="34" presetID="16" presetClass="entr" presetSubtype="21" fill="hold" grpId="0" nodeType="after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barn(inVertical)">
                                      <p:cBhvr>
                                        <p:cTn id="36" dur="500"/>
                                        <p:tgtEl>
                                          <p:spTgt spid="37"/>
                                        </p:tgtEl>
                                      </p:cBhvr>
                                    </p:animEffect>
                                  </p:childTnLst>
                                </p:cTn>
                              </p:par>
                            </p:childTnLst>
                          </p:cTn>
                        </p:par>
                        <p:par>
                          <p:cTn id="37" fill="hold" nodeType="afterGroup">
                            <p:stCondLst>
                              <p:cond delay="4000"/>
                            </p:stCondLst>
                            <p:childTnLst>
                              <p:par>
                                <p:cTn id="38" presetID="22" presetClass="entr" presetSubtype="8" fill="hold" grpId="0" nodeType="after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wipe(left)">
                                      <p:cBhvr>
                                        <p:cTn id="40" dur="500"/>
                                        <p:tgtEl>
                                          <p:spTgt spid="36"/>
                                        </p:tgtEl>
                                      </p:cBhvr>
                                    </p:animEffect>
                                  </p:childTnLst>
                                </p:cTn>
                              </p:par>
                              <p:par>
                                <p:cTn id="41" presetID="12" presetClass="entr" presetSubtype="4"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500"/>
                                        <p:tgtEl>
                                          <p:spTgt spid="15"/>
                                        </p:tgtEl>
                                        <p:attrNameLst>
                                          <p:attrName>ppt_y</p:attrName>
                                        </p:attrNameLst>
                                      </p:cBhvr>
                                      <p:tavLst>
                                        <p:tav tm="0">
                                          <p:val>
                                            <p:strVal val="#ppt_y+#ppt_h*1.125000"/>
                                          </p:val>
                                        </p:tav>
                                        <p:tav tm="100000">
                                          <p:val>
                                            <p:strVal val="#ppt_y"/>
                                          </p:val>
                                        </p:tav>
                                      </p:tavLst>
                                    </p:anim>
                                    <p:animEffect transition="in" filter="wipe(up)">
                                      <p:cBhvr>
                                        <p:cTn id="44" dur="500"/>
                                        <p:tgtEl>
                                          <p:spTgt spid="15"/>
                                        </p:tgtEl>
                                      </p:cBhvr>
                                    </p:animEffect>
                                  </p:childTnLst>
                                </p:cTn>
                              </p:par>
                            </p:childTnLst>
                          </p:cTn>
                        </p:par>
                      </p:childTnLst>
                    </p:cTn>
                  </p:par>
                  <p:par>
                    <p:cTn id="45" fill="hold" nodeType="clickPar">
                      <p:stCondLst>
                        <p:cond delay="indefinite"/>
                        <p:cond evt="onBegin" delay="0">
                          <p:tn val="44"/>
                        </p:cond>
                      </p:stCondLst>
                      <p:childTnLst>
                        <p:par>
                          <p:cTn id="46" fill="hold">
                            <p:stCondLst>
                              <p:cond delay="0"/>
                            </p:stCondLst>
                            <p:childTnLst>
                              <p:par>
                                <p:cTn id="47" presetID="16" presetClass="entr" presetSubtype="37" fill="hold" grpId="0" nodeType="click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barn(outVertical)">
                                      <p:cBhvr>
                                        <p:cTn id="49" dur="500"/>
                                        <p:tgtEl>
                                          <p:spTgt spid="18"/>
                                        </p:tgtEl>
                                      </p:cBhvr>
                                    </p:animEffect>
                                  </p:childTnLst>
                                </p:cTn>
                              </p:par>
                              <p:par>
                                <p:cTn id="50" presetID="16" presetClass="entr" presetSubtype="37" fill="hold" grpId="0" nodeType="with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barn(outVertical)">
                                      <p:cBhvr>
                                        <p:cTn id="5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animBg="1"/>
      <p:bldP spid="21" grpId="0"/>
      <p:bldP spid="33" grpId="0" animBg="1"/>
      <p:bldP spid="34" grpId="0"/>
      <p:bldP spid="35" grpId="0" animBg="1"/>
      <p:bldP spid="36" grpId="0"/>
      <p:bldP spid="37" grpId="0" animBg="1"/>
      <p:bldP spid="38" grpId="0"/>
      <p:bldP spid="15" grpId="0"/>
      <p:bldP spid="16" grpId="0" animBg="1"/>
      <p:bldP spid="18" grpId="0" animBg="1"/>
    </p:bldLst>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pSp>
        <p:nvGrpSpPr>
          <p:cNvPr id="2" name="067a8686-3c76-461f-b098-8690c521abcd"/>
          <p:cNvGrpSpPr>
            <a:grpSpLocks noChangeAspect="1"/>
          </p:cNvGrpSpPr>
          <p:nvPr/>
        </p:nvGrpSpPr>
        <p:grpSpPr>
          <a:xfrm>
            <a:off x="643367" y="1376832"/>
            <a:ext cx="7857268" cy="2748634"/>
            <a:chOff x="857822" y="1888391"/>
            <a:chExt cx="10476357" cy="3664845"/>
          </a:xfrm>
        </p:grpSpPr>
        <p:grpSp>
          <p:nvGrpSpPr>
            <p:cNvPr id="4" name="Group 38"/>
            <p:cNvGrpSpPr/>
            <p:nvPr/>
          </p:nvGrpSpPr>
          <p:grpSpPr>
            <a:xfrm>
              <a:off x="857822" y="1888391"/>
              <a:ext cx="4177215" cy="1659473"/>
              <a:chOff x="914399" y="1841591"/>
              <a:chExt cx="4132096" cy="1641549"/>
            </a:xfrm>
            <a:effectLst/>
          </p:grpSpPr>
          <p:sp>
            <p:nvSpPr>
              <p:cNvPr id="21" name="Arrow: Right 39"/>
              <p:cNvSpPr/>
              <p:nvPr/>
            </p:nvSpPr>
            <p:spPr>
              <a:xfrm rot="10800000">
                <a:off x="914399" y="1841591"/>
                <a:ext cx="3705726" cy="164154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400">
                  <a:solidFill>
                    <a:schemeClr val="bg1">
                      <a:lumMod val="50000"/>
                    </a:schemeClr>
                  </a:solidFill>
                  <a:latin typeface="+mj-ea"/>
                  <a:ea typeface="+mj-ea"/>
                </a:endParaRPr>
              </a:p>
            </p:txBody>
          </p:sp>
          <p:sp>
            <p:nvSpPr>
              <p:cNvPr id="22" name="Oval 40"/>
              <p:cNvSpPr/>
              <p:nvPr/>
            </p:nvSpPr>
            <p:spPr>
              <a:xfrm>
                <a:off x="4228107" y="2250566"/>
                <a:ext cx="818388" cy="818388"/>
              </a:xfrm>
              <a:prstGeom prst="ellipse">
                <a:avLst/>
              </a:prstGeom>
              <a:solidFill>
                <a:schemeClr val="accent2"/>
              </a:solidFill>
              <a:ln w="41275">
                <a:noFill/>
              </a:ln>
              <a:effectLst/>
            </p:spPr>
            <p:style>
              <a:lnRef idx="1">
                <a:schemeClr val="accent1"/>
              </a:lnRef>
              <a:fillRef idx="3">
                <a:schemeClr val="accent1"/>
              </a:fillRef>
              <a:effectRef idx="2">
                <a:schemeClr val="accent1"/>
              </a:effectRef>
              <a:fontRef idx="minor">
                <a:schemeClr val="lt1"/>
              </a:fontRef>
            </p:style>
            <p:txBody>
              <a:bodyPr wrap="none" anchor="ctr">
                <a:normAutofit/>
              </a:bodyPr>
              <a:lstStyle/>
              <a:p>
                <a:r>
                  <a:rPr lang="en-US" sz="1400">
                    <a:solidFill>
                      <a:schemeClr val="bg1"/>
                    </a:solidFill>
                    <a:latin typeface="+mj-ea"/>
                    <a:ea typeface="+mj-ea"/>
                  </a:rPr>
                  <a:t>01</a:t>
                </a:r>
                <a:endParaRPr lang="en-US" sz="1400">
                  <a:solidFill>
                    <a:schemeClr val="bg1"/>
                  </a:solidFill>
                  <a:latin typeface="+mj-ea"/>
                  <a:ea typeface="+mj-ea"/>
                </a:endParaRPr>
              </a:p>
            </p:txBody>
          </p:sp>
        </p:grpSp>
        <p:grpSp>
          <p:nvGrpSpPr>
            <p:cNvPr id="5" name="Group 41"/>
            <p:cNvGrpSpPr/>
            <p:nvPr/>
          </p:nvGrpSpPr>
          <p:grpSpPr>
            <a:xfrm>
              <a:off x="6792079" y="3893763"/>
              <a:ext cx="4542100" cy="1659473"/>
              <a:chOff x="6784559" y="3825303"/>
              <a:chExt cx="4493041" cy="1641549"/>
            </a:xfrm>
            <a:effectLst/>
          </p:grpSpPr>
          <p:sp>
            <p:nvSpPr>
              <p:cNvPr id="19" name="Arrow: Right 42"/>
              <p:cNvSpPr/>
              <p:nvPr/>
            </p:nvSpPr>
            <p:spPr>
              <a:xfrm>
                <a:off x="7154779" y="3825303"/>
                <a:ext cx="4122821" cy="1641549"/>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400">
                  <a:solidFill>
                    <a:schemeClr val="bg1">
                      <a:lumMod val="50000"/>
                    </a:schemeClr>
                  </a:solidFill>
                  <a:latin typeface="+mj-ea"/>
                  <a:ea typeface="+mj-ea"/>
                </a:endParaRPr>
              </a:p>
            </p:txBody>
          </p:sp>
          <p:sp>
            <p:nvSpPr>
              <p:cNvPr id="20" name="Oval 43"/>
              <p:cNvSpPr/>
              <p:nvPr/>
            </p:nvSpPr>
            <p:spPr>
              <a:xfrm>
                <a:off x="6784559" y="4236883"/>
                <a:ext cx="818388" cy="818388"/>
              </a:xfrm>
              <a:prstGeom prst="ellipse">
                <a:avLst/>
              </a:prstGeom>
              <a:solidFill>
                <a:schemeClr val="accent5"/>
              </a:solidFill>
              <a:ln w="41275">
                <a:noFill/>
              </a:ln>
              <a:effectLst/>
            </p:spPr>
            <p:style>
              <a:lnRef idx="1">
                <a:schemeClr val="accent1"/>
              </a:lnRef>
              <a:fillRef idx="3">
                <a:schemeClr val="accent1"/>
              </a:fillRef>
              <a:effectRef idx="2">
                <a:schemeClr val="accent1"/>
              </a:effectRef>
              <a:fontRef idx="minor">
                <a:schemeClr val="lt1"/>
              </a:fontRef>
            </p:style>
            <p:txBody>
              <a:bodyPr wrap="none" anchor="ctr">
                <a:normAutofit/>
              </a:bodyPr>
              <a:lstStyle/>
              <a:p>
                <a:pPr algn="ctr"/>
                <a:r>
                  <a:rPr lang="en-US" sz="1400">
                    <a:solidFill>
                      <a:schemeClr val="bg1"/>
                    </a:solidFill>
                    <a:latin typeface="+mj-ea"/>
                    <a:ea typeface="+mj-ea"/>
                  </a:rPr>
                  <a:t>02</a:t>
                </a:r>
                <a:endParaRPr lang="en-US" sz="1400">
                  <a:solidFill>
                    <a:schemeClr val="bg1"/>
                  </a:solidFill>
                  <a:latin typeface="+mj-ea"/>
                  <a:ea typeface="+mj-ea"/>
                </a:endParaRPr>
              </a:p>
            </p:txBody>
          </p:sp>
        </p:grpSp>
        <p:grpSp>
          <p:nvGrpSpPr>
            <p:cNvPr id="10" name="Group 45"/>
            <p:cNvGrpSpPr/>
            <p:nvPr/>
          </p:nvGrpSpPr>
          <p:grpSpPr>
            <a:xfrm>
              <a:off x="1376599" y="2464654"/>
              <a:ext cx="456595" cy="456595"/>
              <a:chExt cx="575" cy="575"/>
            </a:xfrm>
            <a:solidFill>
              <a:srgbClr val="FFFFFF"/>
            </a:solidFill>
            <a:effectLst/>
          </p:grpSpPr>
          <p:sp>
            <p:nvSpPr>
              <p:cNvPr id="17" name="Freeform: Shape 46"/>
              <p:cNvSpPr/>
              <p:nvPr/>
            </p:nvSpPr>
            <p:spPr bwMode="auto">
              <a:xfrm>
                <a:off x="360" y="0"/>
                <a:ext cx="215" cy="215"/>
              </a:xfrm>
              <a:custGeom>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600" h="21600">
                    <a:moveTo>
                      <a:pt x="21031" y="8861"/>
                    </a:moveTo>
                    <a:lnTo>
                      <a:pt x="17805" y="8267"/>
                    </a:lnTo>
                    <a:cubicBezTo>
                      <a:pt x="17492" y="8210"/>
                      <a:pt x="17382" y="7947"/>
                      <a:pt x="17559" y="7682"/>
                    </a:cubicBezTo>
                    <a:lnTo>
                      <a:pt x="19409" y="4939"/>
                    </a:lnTo>
                    <a:cubicBezTo>
                      <a:pt x="19588" y="4676"/>
                      <a:pt x="19549" y="4276"/>
                      <a:pt x="19324" y="4051"/>
                    </a:cubicBezTo>
                    <a:lnTo>
                      <a:pt x="17549" y="2276"/>
                    </a:lnTo>
                    <a:cubicBezTo>
                      <a:pt x="17324" y="2052"/>
                      <a:pt x="16924" y="2013"/>
                      <a:pt x="16661" y="2191"/>
                    </a:cubicBezTo>
                    <a:lnTo>
                      <a:pt x="13918" y="4042"/>
                    </a:lnTo>
                    <a:cubicBezTo>
                      <a:pt x="13654" y="4220"/>
                      <a:pt x="13391" y="4109"/>
                      <a:pt x="13333" y="3796"/>
                    </a:cubicBezTo>
                    <a:lnTo>
                      <a:pt x="12739" y="569"/>
                    </a:lnTo>
                    <a:cubicBezTo>
                      <a:pt x="12681" y="255"/>
                      <a:pt x="12374" y="0"/>
                      <a:pt x="12056" y="0"/>
                    </a:cubicBezTo>
                    <a:lnTo>
                      <a:pt x="9545" y="0"/>
                    </a:lnTo>
                    <a:cubicBezTo>
                      <a:pt x="9227" y="0"/>
                      <a:pt x="8919" y="255"/>
                      <a:pt x="8861" y="569"/>
                    </a:cubicBezTo>
                    <a:lnTo>
                      <a:pt x="8267" y="3796"/>
                    </a:lnTo>
                    <a:cubicBezTo>
                      <a:pt x="8210" y="4109"/>
                      <a:pt x="7947" y="4219"/>
                      <a:pt x="7682" y="4041"/>
                    </a:cubicBezTo>
                    <a:lnTo>
                      <a:pt x="4939" y="2191"/>
                    </a:lnTo>
                    <a:cubicBezTo>
                      <a:pt x="4676" y="2013"/>
                      <a:pt x="4276" y="2052"/>
                      <a:pt x="4051" y="2276"/>
                    </a:cubicBezTo>
                    <a:lnTo>
                      <a:pt x="2276" y="4051"/>
                    </a:lnTo>
                    <a:cubicBezTo>
                      <a:pt x="2051" y="4277"/>
                      <a:pt x="2012" y="4677"/>
                      <a:pt x="2191" y="4939"/>
                    </a:cubicBezTo>
                    <a:lnTo>
                      <a:pt x="4041" y="7682"/>
                    </a:lnTo>
                    <a:cubicBezTo>
                      <a:pt x="4220" y="7946"/>
                      <a:pt x="4108" y="8209"/>
                      <a:pt x="3796" y="8267"/>
                    </a:cubicBezTo>
                    <a:lnTo>
                      <a:pt x="569" y="8861"/>
                    </a:lnTo>
                    <a:cubicBezTo>
                      <a:pt x="255" y="8919"/>
                      <a:pt x="0" y="9226"/>
                      <a:pt x="0" y="9545"/>
                    </a:cubicBezTo>
                    <a:lnTo>
                      <a:pt x="0" y="12055"/>
                    </a:lnTo>
                    <a:cubicBezTo>
                      <a:pt x="0" y="12373"/>
                      <a:pt x="255" y="12681"/>
                      <a:pt x="569" y="12739"/>
                    </a:cubicBezTo>
                    <a:lnTo>
                      <a:pt x="3796" y="13333"/>
                    </a:lnTo>
                    <a:cubicBezTo>
                      <a:pt x="4110" y="13390"/>
                      <a:pt x="4219" y="13653"/>
                      <a:pt x="4042" y="13917"/>
                    </a:cubicBezTo>
                    <a:lnTo>
                      <a:pt x="2191" y="16661"/>
                    </a:lnTo>
                    <a:cubicBezTo>
                      <a:pt x="2012" y="16925"/>
                      <a:pt x="2051" y="17324"/>
                      <a:pt x="2276" y="17549"/>
                    </a:cubicBezTo>
                    <a:lnTo>
                      <a:pt x="4051" y="19324"/>
                    </a:lnTo>
                    <a:cubicBezTo>
                      <a:pt x="4276" y="19549"/>
                      <a:pt x="4676" y="19589"/>
                      <a:pt x="4939" y="19410"/>
                    </a:cubicBezTo>
                    <a:lnTo>
                      <a:pt x="7682" y="17559"/>
                    </a:lnTo>
                    <a:cubicBezTo>
                      <a:pt x="7946" y="17381"/>
                      <a:pt x="8209" y="17492"/>
                      <a:pt x="8267" y="17804"/>
                    </a:cubicBezTo>
                    <a:lnTo>
                      <a:pt x="8861" y="21031"/>
                    </a:lnTo>
                    <a:cubicBezTo>
                      <a:pt x="8919" y="21345"/>
                      <a:pt x="9226" y="21600"/>
                      <a:pt x="9545" y="21600"/>
                    </a:cubicBezTo>
                    <a:lnTo>
                      <a:pt x="12056" y="21600"/>
                    </a:lnTo>
                    <a:cubicBezTo>
                      <a:pt x="12374" y="21600"/>
                      <a:pt x="12681" y="21345"/>
                      <a:pt x="12739" y="21031"/>
                    </a:cubicBezTo>
                    <a:lnTo>
                      <a:pt x="13333" y="17804"/>
                    </a:lnTo>
                    <a:cubicBezTo>
                      <a:pt x="13390" y="17492"/>
                      <a:pt x="13653" y="17382"/>
                      <a:pt x="13918" y="17559"/>
                    </a:cubicBezTo>
                    <a:lnTo>
                      <a:pt x="16661" y="19410"/>
                    </a:lnTo>
                    <a:cubicBezTo>
                      <a:pt x="16924" y="19589"/>
                      <a:pt x="17324" y="19549"/>
                      <a:pt x="17549" y="19324"/>
                    </a:cubicBezTo>
                    <a:lnTo>
                      <a:pt x="19324" y="17551"/>
                    </a:lnTo>
                    <a:cubicBezTo>
                      <a:pt x="19549" y="17324"/>
                      <a:pt x="19588" y="16925"/>
                      <a:pt x="19409" y="16661"/>
                    </a:cubicBezTo>
                    <a:lnTo>
                      <a:pt x="17559" y="13917"/>
                    </a:lnTo>
                    <a:cubicBezTo>
                      <a:pt x="17380" y="13654"/>
                      <a:pt x="17491" y="13391"/>
                      <a:pt x="17804" y="13333"/>
                    </a:cubicBezTo>
                    <a:lnTo>
                      <a:pt x="21031" y="12739"/>
                    </a:lnTo>
                    <a:cubicBezTo>
                      <a:pt x="21344" y="12681"/>
                      <a:pt x="21600" y="12374"/>
                      <a:pt x="21600" y="12055"/>
                    </a:cubicBezTo>
                    <a:lnTo>
                      <a:pt x="21600" y="9545"/>
                    </a:lnTo>
                    <a:cubicBezTo>
                      <a:pt x="21600" y="9227"/>
                      <a:pt x="21344" y="8919"/>
                      <a:pt x="21031" y="8861"/>
                    </a:cubicBezTo>
                    <a:close/>
                    <a:moveTo>
                      <a:pt x="10826" y="14160"/>
                    </a:moveTo>
                    <a:cubicBezTo>
                      <a:pt x="8974" y="14160"/>
                      <a:pt x="7473" y="12659"/>
                      <a:pt x="7473" y="10807"/>
                    </a:cubicBezTo>
                    <a:cubicBezTo>
                      <a:pt x="7473" y="8956"/>
                      <a:pt x="8974" y="7456"/>
                      <a:pt x="10826" y="7456"/>
                    </a:cubicBezTo>
                    <a:cubicBezTo>
                      <a:pt x="12677" y="7456"/>
                      <a:pt x="14178" y="8956"/>
                      <a:pt x="14178" y="10807"/>
                    </a:cubicBezTo>
                    <a:cubicBezTo>
                      <a:pt x="14178" y="12659"/>
                      <a:pt x="12677" y="14160"/>
                      <a:pt x="10826" y="14160"/>
                    </a:cubicBezTo>
                    <a:close/>
                    <a:moveTo>
                      <a:pt x="10826" y="14160"/>
                    </a:moveTo>
                  </a:path>
                </a:pathLst>
              </a:custGeom>
              <a:grpFill/>
              <a:ln>
                <a:noFill/>
              </a:ln>
            </p:spPr>
            <p:txBody>
              <a:bodyPr anchor="ctr"/>
              <a:lstStyle/>
              <a:p>
                <a:pPr algn="ctr"/>
                <a:endParaRPr sz="1400">
                  <a:solidFill>
                    <a:schemeClr val="bg1">
                      <a:lumMod val="50000"/>
                    </a:schemeClr>
                  </a:solidFill>
                  <a:latin typeface="+mj-ea"/>
                  <a:ea typeface="+mj-ea"/>
                </a:endParaRPr>
              </a:p>
            </p:txBody>
          </p:sp>
          <p:sp>
            <p:nvSpPr>
              <p:cNvPr id="18" name="Freeform: Shape 47"/>
              <p:cNvSpPr/>
              <p:nvPr/>
            </p:nvSpPr>
            <p:spPr bwMode="auto">
              <a:xfrm>
                <a:off x="0" y="143"/>
                <a:ext cx="431" cy="432"/>
              </a:xfrm>
              <a:custGeom>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600" h="21600">
                    <a:moveTo>
                      <a:pt x="21032" y="8862"/>
                    </a:moveTo>
                    <a:lnTo>
                      <a:pt x="17805" y="8267"/>
                    </a:lnTo>
                    <a:cubicBezTo>
                      <a:pt x="17492" y="8210"/>
                      <a:pt x="17382" y="7947"/>
                      <a:pt x="17560" y="7684"/>
                    </a:cubicBezTo>
                    <a:lnTo>
                      <a:pt x="19410" y="4940"/>
                    </a:lnTo>
                    <a:cubicBezTo>
                      <a:pt x="19588" y="4676"/>
                      <a:pt x="19550" y="4276"/>
                      <a:pt x="19324" y="4051"/>
                    </a:cubicBezTo>
                    <a:lnTo>
                      <a:pt x="17549" y="2276"/>
                    </a:lnTo>
                    <a:cubicBezTo>
                      <a:pt x="17324" y="2051"/>
                      <a:pt x="16924" y="2013"/>
                      <a:pt x="16661" y="2191"/>
                    </a:cubicBezTo>
                    <a:lnTo>
                      <a:pt x="13917" y="4041"/>
                    </a:lnTo>
                    <a:cubicBezTo>
                      <a:pt x="13653" y="4219"/>
                      <a:pt x="13390" y="4108"/>
                      <a:pt x="13332" y="3796"/>
                    </a:cubicBezTo>
                    <a:lnTo>
                      <a:pt x="12739" y="569"/>
                    </a:lnTo>
                    <a:cubicBezTo>
                      <a:pt x="12681" y="256"/>
                      <a:pt x="12374" y="0"/>
                      <a:pt x="12055" y="0"/>
                    </a:cubicBezTo>
                    <a:lnTo>
                      <a:pt x="9545" y="0"/>
                    </a:lnTo>
                    <a:cubicBezTo>
                      <a:pt x="9226" y="0"/>
                      <a:pt x="8919" y="256"/>
                      <a:pt x="8861" y="569"/>
                    </a:cubicBezTo>
                    <a:lnTo>
                      <a:pt x="8268" y="3796"/>
                    </a:lnTo>
                    <a:cubicBezTo>
                      <a:pt x="8210" y="4108"/>
                      <a:pt x="7947" y="4219"/>
                      <a:pt x="7683" y="4041"/>
                    </a:cubicBezTo>
                    <a:lnTo>
                      <a:pt x="4940" y="2191"/>
                    </a:lnTo>
                    <a:cubicBezTo>
                      <a:pt x="4676" y="2013"/>
                      <a:pt x="4276" y="2051"/>
                      <a:pt x="4051" y="2276"/>
                    </a:cubicBezTo>
                    <a:lnTo>
                      <a:pt x="2276" y="4051"/>
                    </a:lnTo>
                    <a:cubicBezTo>
                      <a:pt x="2051" y="4276"/>
                      <a:pt x="2012" y="4677"/>
                      <a:pt x="2190" y="4940"/>
                    </a:cubicBezTo>
                    <a:lnTo>
                      <a:pt x="4040" y="7684"/>
                    </a:lnTo>
                    <a:cubicBezTo>
                      <a:pt x="4218" y="7947"/>
                      <a:pt x="4108" y="8210"/>
                      <a:pt x="3795" y="8267"/>
                    </a:cubicBezTo>
                    <a:lnTo>
                      <a:pt x="568" y="8862"/>
                    </a:lnTo>
                    <a:cubicBezTo>
                      <a:pt x="256" y="8920"/>
                      <a:pt x="0" y="9227"/>
                      <a:pt x="0" y="9545"/>
                    </a:cubicBezTo>
                    <a:lnTo>
                      <a:pt x="0" y="12055"/>
                    </a:lnTo>
                    <a:cubicBezTo>
                      <a:pt x="0" y="12374"/>
                      <a:pt x="256" y="12681"/>
                      <a:pt x="568" y="12738"/>
                    </a:cubicBezTo>
                    <a:lnTo>
                      <a:pt x="3796" y="13333"/>
                    </a:lnTo>
                    <a:cubicBezTo>
                      <a:pt x="4108" y="13391"/>
                      <a:pt x="4219" y="13654"/>
                      <a:pt x="4041" y="13917"/>
                    </a:cubicBezTo>
                    <a:lnTo>
                      <a:pt x="2190" y="16661"/>
                    </a:lnTo>
                    <a:cubicBezTo>
                      <a:pt x="2012" y="16924"/>
                      <a:pt x="2050" y="17324"/>
                      <a:pt x="2276" y="17549"/>
                    </a:cubicBezTo>
                    <a:lnTo>
                      <a:pt x="4051" y="19324"/>
                    </a:lnTo>
                    <a:cubicBezTo>
                      <a:pt x="4276" y="19549"/>
                      <a:pt x="4676" y="19588"/>
                      <a:pt x="4940" y="19410"/>
                    </a:cubicBezTo>
                    <a:lnTo>
                      <a:pt x="7683" y="17560"/>
                    </a:lnTo>
                    <a:cubicBezTo>
                      <a:pt x="7947" y="17382"/>
                      <a:pt x="8210" y="17493"/>
                      <a:pt x="8268" y="17805"/>
                    </a:cubicBezTo>
                    <a:lnTo>
                      <a:pt x="8861" y="21031"/>
                    </a:lnTo>
                    <a:cubicBezTo>
                      <a:pt x="8919" y="21344"/>
                      <a:pt x="9226" y="21600"/>
                      <a:pt x="9545" y="21600"/>
                    </a:cubicBezTo>
                    <a:lnTo>
                      <a:pt x="12055" y="21600"/>
                    </a:lnTo>
                    <a:cubicBezTo>
                      <a:pt x="12374" y="21600"/>
                      <a:pt x="12681" y="21344"/>
                      <a:pt x="12739" y="21031"/>
                    </a:cubicBezTo>
                    <a:lnTo>
                      <a:pt x="13332" y="17805"/>
                    </a:lnTo>
                    <a:cubicBezTo>
                      <a:pt x="13390" y="17492"/>
                      <a:pt x="13653" y="17381"/>
                      <a:pt x="13917" y="17560"/>
                    </a:cubicBezTo>
                    <a:lnTo>
                      <a:pt x="16661" y="19410"/>
                    </a:lnTo>
                    <a:cubicBezTo>
                      <a:pt x="16924" y="19588"/>
                      <a:pt x="17324" y="19550"/>
                      <a:pt x="17549" y="19324"/>
                    </a:cubicBezTo>
                    <a:lnTo>
                      <a:pt x="19324" y="17550"/>
                    </a:lnTo>
                    <a:cubicBezTo>
                      <a:pt x="19549" y="17324"/>
                      <a:pt x="19588" y="16924"/>
                      <a:pt x="19410" y="16661"/>
                    </a:cubicBezTo>
                    <a:lnTo>
                      <a:pt x="17559" y="13917"/>
                    </a:lnTo>
                    <a:cubicBezTo>
                      <a:pt x="17381" y="13654"/>
                      <a:pt x="17492" y="13391"/>
                      <a:pt x="17804" y="13333"/>
                    </a:cubicBezTo>
                    <a:lnTo>
                      <a:pt x="21032" y="12738"/>
                    </a:lnTo>
                    <a:cubicBezTo>
                      <a:pt x="21344" y="12681"/>
                      <a:pt x="21600" y="12374"/>
                      <a:pt x="21600" y="12055"/>
                    </a:cubicBezTo>
                    <a:lnTo>
                      <a:pt x="21600" y="9545"/>
                    </a:lnTo>
                    <a:cubicBezTo>
                      <a:pt x="21600" y="9227"/>
                      <a:pt x="21344" y="8920"/>
                      <a:pt x="21032" y="8862"/>
                    </a:cubicBezTo>
                    <a:close/>
                    <a:moveTo>
                      <a:pt x="10799" y="14712"/>
                    </a:moveTo>
                    <a:cubicBezTo>
                      <a:pt x="8643" y="14712"/>
                      <a:pt x="6896" y="12964"/>
                      <a:pt x="6896" y="10809"/>
                    </a:cubicBezTo>
                    <a:cubicBezTo>
                      <a:pt x="6896" y="8654"/>
                      <a:pt x="8643" y="6907"/>
                      <a:pt x="10799" y="6907"/>
                    </a:cubicBezTo>
                    <a:cubicBezTo>
                      <a:pt x="12954" y="6907"/>
                      <a:pt x="14701" y="8654"/>
                      <a:pt x="14701" y="10809"/>
                    </a:cubicBezTo>
                    <a:cubicBezTo>
                      <a:pt x="14701" y="12964"/>
                      <a:pt x="12954" y="14712"/>
                      <a:pt x="10799" y="14712"/>
                    </a:cubicBezTo>
                    <a:close/>
                    <a:moveTo>
                      <a:pt x="10799" y="14712"/>
                    </a:moveTo>
                  </a:path>
                </a:pathLst>
              </a:custGeom>
              <a:grpFill/>
              <a:ln>
                <a:noFill/>
              </a:ln>
            </p:spPr>
            <p:txBody>
              <a:bodyPr anchor="ctr"/>
              <a:lstStyle/>
              <a:p>
                <a:pPr algn="ctr"/>
                <a:endParaRPr sz="1400">
                  <a:solidFill>
                    <a:schemeClr val="bg1">
                      <a:lumMod val="50000"/>
                    </a:schemeClr>
                  </a:solidFill>
                  <a:latin typeface="+mj-ea"/>
                  <a:ea typeface="+mj-ea"/>
                </a:endParaRPr>
              </a:p>
            </p:txBody>
          </p:sp>
        </p:grpSp>
        <p:grpSp>
          <p:nvGrpSpPr>
            <p:cNvPr id="11" name="Group 48"/>
            <p:cNvGrpSpPr/>
            <p:nvPr/>
          </p:nvGrpSpPr>
          <p:grpSpPr>
            <a:xfrm>
              <a:off x="10396480" y="4495199"/>
              <a:ext cx="369031" cy="456596"/>
              <a:chExt cx="464" cy="573"/>
            </a:xfrm>
            <a:solidFill>
              <a:srgbClr val="FFFFFF"/>
            </a:solidFill>
            <a:effectLst/>
          </p:grpSpPr>
          <p:sp>
            <p:nvSpPr>
              <p:cNvPr id="15" name="Freeform: Shape 49"/>
              <p:cNvSpPr/>
              <p:nvPr/>
            </p:nvSpPr>
            <p:spPr bwMode="auto">
              <a:xfrm>
                <a:off x="88" y="24"/>
                <a:ext cx="376" cy="322"/>
              </a:xfrm>
              <a:custGeom>
                <a:gdLst>
                  <a:gd name="T0" fmla="*/ 0 w 21115"/>
                  <a:gd name="T1" fmla="*/ 0 h 18556"/>
                  <a:gd name="T2" fmla="*/ 0 w 21115"/>
                  <a:gd name="T3" fmla="*/ 0 h 18556"/>
                  <a:gd name="T4" fmla="*/ 0 w 21115"/>
                  <a:gd name="T5" fmla="*/ 0 h 18556"/>
                  <a:gd name="T6" fmla="*/ 0 w 21115"/>
                  <a:gd name="T7" fmla="*/ 0 h 18556"/>
                  <a:gd name="T8" fmla="*/ 0 w 21115"/>
                  <a:gd name="T9" fmla="*/ 0 h 18556"/>
                  <a:gd name="T10" fmla="*/ 0 w 21115"/>
                  <a:gd name="T11" fmla="*/ 0 h 18556"/>
                  <a:gd name="T12" fmla="*/ 0 w 21115"/>
                  <a:gd name="T13" fmla="*/ 0 h 18556"/>
                  <a:gd name="T14" fmla="*/ 0 w 21115"/>
                  <a:gd name="T15" fmla="*/ 0 h 18556"/>
                  <a:gd name="T16" fmla="*/ 0 w 21115"/>
                  <a:gd name="T17" fmla="*/ 0 h 18556"/>
                  <a:gd name="T18" fmla="*/ 0 w 21115"/>
                  <a:gd name="T19" fmla="*/ 0 h 18556"/>
                  <a:gd name="T20" fmla="*/ 0 w 21115"/>
                  <a:gd name="T21" fmla="*/ 0 h 185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115" h="18556">
                    <a:moveTo>
                      <a:pt x="20779" y="3635"/>
                    </a:moveTo>
                    <a:cubicBezTo>
                      <a:pt x="20779" y="3635"/>
                      <a:pt x="16054" y="3835"/>
                      <a:pt x="13538" y="4151"/>
                    </a:cubicBezTo>
                    <a:cubicBezTo>
                      <a:pt x="12114" y="4330"/>
                      <a:pt x="13006" y="1476"/>
                      <a:pt x="13006" y="911"/>
                    </a:cubicBezTo>
                    <a:cubicBezTo>
                      <a:pt x="13006" y="-1684"/>
                      <a:pt x="0" y="2094"/>
                      <a:pt x="0" y="2094"/>
                    </a:cubicBezTo>
                    <a:lnTo>
                      <a:pt x="0" y="17384"/>
                    </a:lnTo>
                    <a:cubicBezTo>
                      <a:pt x="0" y="17384"/>
                      <a:pt x="988" y="17824"/>
                      <a:pt x="2373" y="17286"/>
                    </a:cubicBezTo>
                    <a:cubicBezTo>
                      <a:pt x="5889" y="15919"/>
                      <a:pt x="11968" y="13959"/>
                      <a:pt x="10988" y="17189"/>
                    </a:cubicBezTo>
                    <a:cubicBezTo>
                      <a:pt x="10160" y="19916"/>
                      <a:pt x="20491" y="17722"/>
                      <a:pt x="20491" y="17722"/>
                    </a:cubicBezTo>
                    <a:cubicBezTo>
                      <a:pt x="20491" y="17722"/>
                      <a:pt x="19749" y="12037"/>
                      <a:pt x="20675" y="8735"/>
                    </a:cubicBezTo>
                    <a:cubicBezTo>
                      <a:pt x="21600" y="5433"/>
                      <a:pt x="20779" y="3635"/>
                      <a:pt x="20779" y="3635"/>
                    </a:cubicBezTo>
                    <a:close/>
                    <a:moveTo>
                      <a:pt x="20779" y="3635"/>
                    </a:moveTo>
                  </a:path>
                </a:pathLst>
              </a:custGeom>
              <a:grpFill/>
              <a:ln>
                <a:noFill/>
              </a:ln>
            </p:spPr>
            <p:txBody>
              <a:bodyPr anchor="ctr"/>
              <a:lstStyle/>
              <a:p>
                <a:pPr algn="ctr"/>
                <a:endParaRPr sz="1400">
                  <a:solidFill>
                    <a:schemeClr val="bg1">
                      <a:lumMod val="50000"/>
                    </a:schemeClr>
                  </a:solidFill>
                  <a:latin typeface="+mj-ea"/>
                  <a:ea typeface="+mj-ea"/>
                </a:endParaRPr>
              </a:p>
            </p:txBody>
          </p:sp>
          <p:sp>
            <p:nvSpPr>
              <p:cNvPr id="16" name="Freeform: Shape 50"/>
              <p:cNvSpPr/>
              <p:nvPr/>
            </p:nvSpPr>
            <p:spPr bwMode="auto">
              <a:xfrm>
                <a:off x="0" y="0"/>
                <a:ext cx="56" cy="573"/>
              </a:xfrm>
              <a:custGeom>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21600" y="1065"/>
                    </a:moveTo>
                    <a:cubicBezTo>
                      <a:pt x="21600" y="477"/>
                      <a:pt x="16763" y="0"/>
                      <a:pt x="10802" y="0"/>
                    </a:cubicBezTo>
                    <a:cubicBezTo>
                      <a:pt x="4834" y="0"/>
                      <a:pt x="0" y="477"/>
                      <a:pt x="0" y="1065"/>
                    </a:cubicBezTo>
                    <a:lnTo>
                      <a:pt x="0" y="21600"/>
                    </a:lnTo>
                    <a:lnTo>
                      <a:pt x="21600" y="21600"/>
                    </a:lnTo>
                    <a:lnTo>
                      <a:pt x="21600" y="1065"/>
                    </a:lnTo>
                    <a:close/>
                    <a:moveTo>
                      <a:pt x="21600" y="1065"/>
                    </a:moveTo>
                  </a:path>
                </a:pathLst>
              </a:custGeom>
              <a:grpFill/>
              <a:ln>
                <a:noFill/>
              </a:ln>
            </p:spPr>
            <p:txBody>
              <a:bodyPr anchor="ctr"/>
              <a:lstStyle/>
              <a:p>
                <a:pPr algn="ctr"/>
                <a:endParaRPr sz="1400">
                  <a:solidFill>
                    <a:schemeClr val="bg1">
                      <a:lumMod val="50000"/>
                    </a:schemeClr>
                  </a:solidFill>
                  <a:latin typeface="+mj-ea"/>
                  <a:ea typeface="+mj-ea"/>
                </a:endParaRPr>
              </a:p>
            </p:txBody>
          </p:sp>
        </p:grpSp>
      </p:grpSp>
      <p:grpSp>
        <p:nvGrpSpPr>
          <p:cNvPr id="12" name="组合 22"/>
          <p:cNvGrpSpPr/>
          <p:nvPr/>
        </p:nvGrpSpPr>
        <p:grpSpPr>
          <a:xfrm>
            <a:off x="3966570" y="1636401"/>
            <a:ext cx="4396380" cy="728185"/>
            <a:chOff x="7014777" y="1359546"/>
            <a:chExt cx="5861840" cy="970913"/>
          </a:xfrm>
        </p:grpSpPr>
        <p:sp>
          <p:nvSpPr>
            <p:cNvPr id="24" name="矩形 23"/>
            <p:cNvSpPr/>
            <p:nvPr/>
          </p:nvSpPr>
          <p:spPr>
            <a:xfrm>
              <a:off x="7014778" y="1712170"/>
              <a:ext cx="5861839" cy="618289"/>
            </a:xfrm>
            <a:prstGeom prst="rect">
              <a:avLst/>
            </a:prstGeom>
          </p:spPr>
          <p:txBody>
            <a:bodyPr wrap="square">
              <a:spAutoFit/>
            </a:bodyPr>
            <a:lstStyle/>
            <a:p>
              <a:pPr algn="just">
                <a:lnSpc>
                  <a:spcPct val="120000"/>
                </a:lnSpc>
              </a:pPr>
              <a:r>
                <a:rPr lang="zh-CN" altLang="en-US" sz="1000">
                  <a:solidFill>
                    <a:schemeClr val="bg1">
                      <a:lumMod val="50000"/>
                    </a:schemeClr>
                  </a:solidFill>
                  <a:latin typeface="+mj-ea"/>
                  <a:ea typeface="+mj-ea"/>
                </a:rPr>
                <a:t>用户可以在投影仪或者计算机上进行演示也可以将演示文稿打印出来制作成胶片以便应用到更广泛的领域中</a:t>
              </a:r>
              <a:endParaRPr lang="zh-CN" altLang="en-US" sz="1000">
                <a:solidFill>
                  <a:schemeClr val="bg1">
                    <a:lumMod val="50000"/>
                  </a:schemeClr>
                </a:solidFill>
                <a:latin typeface="+mj-ea"/>
                <a:ea typeface="+mj-ea"/>
              </a:endParaRPr>
            </a:p>
          </p:txBody>
        </p:sp>
        <p:sp>
          <p:nvSpPr>
            <p:cNvPr id="25" name="矩形 24"/>
            <p:cNvSpPr/>
            <p:nvPr/>
          </p:nvSpPr>
          <p:spPr>
            <a:xfrm>
              <a:off x="7014777" y="1359546"/>
              <a:ext cx="2241975" cy="438581"/>
            </a:xfrm>
            <a:prstGeom prst="rect">
              <a:avLst/>
            </a:prstGeom>
          </p:spPr>
          <p:txBody>
            <a:bodyPr wrap="square">
              <a:spAutoFit/>
            </a:bodyPr>
            <a:lstStyle/>
            <a:p>
              <a:pPr algn="just">
                <a:lnSpc>
                  <a:spcPct val="120000"/>
                </a:lnSpc>
              </a:pPr>
              <a:r>
                <a:rPr lang="zh-CN" altLang="en-US" sz="1400" b="1">
                  <a:solidFill>
                    <a:schemeClr val="bg1">
                      <a:lumMod val="50000"/>
                    </a:schemeClr>
                  </a:solidFill>
                  <a:latin typeface="+mj-ea"/>
                  <a:ea typeface="+mj-ea"/>
                </a:rPr>
                <a:t>标题文字添加</a:t>
              </a:r>
              <a:endParaRPr lang="zh-CN" altLang="en-US" sz="1400" b="1">
                <a:solidFill>
                  <a:schemeClr val="bg1">
                    <a:lumMod val="50000"/>
                  </a:schemeClr>
                </a:solidFill>
                <a:latin typeface="+mj-ea"/>
                <a:ea typeface="+mj-ea"/>
              </a:endParaRPr>
            </a:p>
          </p:txBody>
        </p:sp>
      </p:grpSp>
      <p:grpSp>
        <p:nvGrpSpPr>
          <p:cNvPr id="13" name="组合 25"/>
          <p:cNvGrpSpPr/>
          <p:nvPr/>
        </p:nvGrpSpPr>
        <p:grpSpPr>
          <a:xfrm>
            <a:off x="577636" y="3122281"/>
            <a:ext cx="4396379" cy="728185"/>
            <a:chOff x="7014778" y="1359546"/>
            <a:chExt cx="5861839" cy="970913"/>
          </a:xfrm>
        </p:grpSpPr>
        <p:sp>
          <p:nvSpPr>
            <p:cNvPr id="27" name="矩形 26"/>
            <p:cNvSpPr/>
            <p:nvPr/>
          </p:nvSpPr>
          <p:spPr>
            <a:xfrm>
              <a:off x="7014778" y="1712170"/>
              <a:ext cx="5861839" cy="618289"/>
            </a:xfrm>
            <a:prstGeom prst="rect">
              <a:avLst/>
            </a:prstGeom>
          </p:spPr>
          <p:txBody>
            <a:bodyPr wrap="square">
              <a:spAutoFit/>
            </a:bodyPr>
            <a:lstStyle/>
            <a:p>
              <a:pPr algn="r">
                <a:lnSpc>
                  <a:spcPct val="120000"/>
                </a:lnSpc>
              </a:pPr>
              <a:r>
                <a:rPr lang="zh-CN" altLang="en-US" sz="1000">
                  <a:solidFill>
                    <a:schemeClr val="bg1">
                      <a:lumMod val="50000"/>
                    </a:schemeClr>
                  </a:solidFill>
                  <a:latin typeface="+mj-ea"/>
                  <a:ea typeface="+mj-ea"/>
                </a:rPr>
                <a:t>用户可以在投影仪或者计算机上进行演示也可以将演示文稿打印出来制作成胶片以便应用到更广泛的领域中</a:t>
              </a:r>
              <a:endParaRPr lang="zh-CN" altLang="en-US" sz="1000">
                <a:solidFill>
                  <a:schemeClr val="bg1">
                    <a:lumMod val="50000"/>
                  </a:schemeClr>
                </a:solidFill>
                <a:latin typeface="+mj-ea"/>
                <a:ea typeface="+mj-ea"/>
              </a:endParaRPr>
            </a:p>
          </p:txBody>
        </p:sp>
        <p:sp>
          <p:nvSpPr>
            <p:cNvPr id="28" name="矩形 27"/>
            <p:cNvSpPr/>
            <p:nvPr/>
          </p:nvSpPr>
          <p:spPr>
            <a:xfrm>
              <a:off x="10634644" y="1359546"/>
              <a:ext cx="2241973" cy="438581"/>
            </a:xfrm>
            <a:prstGeom prst="rect">
              <a:avLst/>
            </a:prstGeom>
          </p:spPr>
          <p:txBody>
            <a:bodyPr wrap="square">
              <a:spAutoFit/>
            </a:bodyPr>
            <a:lstStyle/>
            <a:p>
              <a:pPr algn="r">
                <a:lnSpc>
                  <a:spcPct val="120000"/>
                </a:lnSpc>
              </a:pPr>
              <a:r>
                <a:rPr lang="zh-CN" altLang="en-US" sz="1400" b="1">
                  <a:solidFill>
                    <a:schemeClr val="bg1">
                      <a:lumMod val="50000"/>
                    </a:schemeClr>
                  </a:solidFill>
                  <a:latin typeface="+mj-ea"/>
                  <a:ea typeface="+mj-ea"/>
                </a:rPr>
                <a:t>标题文字添加</a:t>
              </a:r>
              <a:endParaRPr lang="zh-CN" altLang="en-US" sz="1400" b="1">
                <a:solidFill>
                  <a:schemeClr val="bg1">
                    <a:lumMod val="50000"/>
                  </a:schemeClr>
                </a:solidFill>
                <a:latin typeface="+mj-ea"/>
                <a:ea typeface="+mj-ea"/>
              </a:endParaRPr>
            </a:p>
          </p:txBody>
        </p:sp>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nodeType="afterGroup">
                            <p:stCondLst>
                              <p:cond delay="500"/>
                            </p:stCondLst>
                            <p:childTnLst>
                              <p:par>
                                <p:cTn id="11" presetID="22" presetClass="entr" presetSubtype="8"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wipe(left)">
                                      <p:cBhvr>
                                        <p:cTn id="13" dur="500"/>
                                        <p:tgtEl>
                                          <p:spTgt spid="12"/>
                                        </p:tgtEl>
                                      </p:cBhvr>
                                    </p:animEffect>
                                  </p:childTnLst>
                                </p:cTn>
                              </p:par>
                            </p:childTnLst>
                          </p:cTn>
                        </p:par>
                        <p:par>
                          <p:cTn id="14" fill="hold" nodeType="afterGroup">
                            <p:stCondLst>
                              <p:cond delay="1000"/>
                            </p:stCondLst>
                            <p:childTnLst>
                              <p:par>
                                <p:cTn id="15" presetID="22" presetClass="entr" presetSubtype="2" fill="hold"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right)">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4" name="矩形 3"/>
          <p:cNvSpPr/>
          <p:nvPr/>
        </p:nvSpPr>
        <p:spPr>
          <a:xfrm>
            <a:off x="1155687" y="2517744"/>
            <a:ext cx="5198512" cy="121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lumMod val="50000"/>
                </a:schemeClr>
              </a:solidFill>
            </a:endParaRPr>
          </a:p>
        </p:txBody>
      </p:sp>
      <p:sp>
        <p:nvSpPr>
          <p:cNvPr id="5" name="矩形 12"/>
          <p:cNvSpPr/>
          <p:nvPr/>
        </p:nvSpPr>
        <p:spPr>
          <a:xfrm>
            <a:off x="1155687" y="2720266"/>
            <a:ext cx="5164201" cy="121514"/>
          </a:xfrm>
          <a:custGeom>
            <a:rect l="l" t="t" r="r" b="b"/>
            <a:pathLst>
              <a:path w="6885601" h="162018">
                <a:moveTo>
                  <a:pt x="0" y="0"/>
                </a:moveTo>
                <a:lnTo>
                  <a:pt x="6863886" y="0"/>
                </a:lnTo>
                <a:cubicBezTo>
                  <a:pt x="6867441" y="55065"/>
                  <a:pt x="6874351" y="109213"/>
                  <a:pt x="6885601" y="162018"/>
                </a:cubicBezTo>
                <a:lnTo>
                  <a:pt x="0" y="162018"/>
                </a:ln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lumMod val="50000"/>
                </a:schemeClr>
              </a:solidFill>
            </a:endParaRPr>
          </a:p>
        </p:txBody>
      </p:sp>
      <p:grpSp>
        <p:nvGrpSpPr>
          <p:cNvPr id="2" name="组合 5"/>
          <p:cNvGrpSpPr/>
          <p:nvPr/>
        </p:nvGrpSpPr>
        <p:grpSpPr>
          <a:xfrm>
            <a:off x="6303601" y="1707654"/>
            <a:ext cx="1991405" cy="1944216"/>
            <a:chOff x="8404007" y="2276872"/>
            <a:chExt cx="2655206" cy="2592288"/>
          </a:xfrm>
        </p:grpSpPr>
        <p:sp>
          <p:nvSpPr>
            <p:cNvPr id="7" name="椭圆 1"/>
            <p:cNvSpPr/>
            <p:nvPr/>
          </p:nvSpPr>
          <p:spPr>
            <a:xfrm>
              <a:off x="8404007" y="2276872"/>
              <a:ext cx="2655206" cy="1242138"/>
            </a:xfrm>
            <a:custGeom>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1" fmla="*/ 1327603 w 2655206"/>
                <a:gd name="connsiteY0-2" fmla="*/ 2664296 h 2664296"/>
                <a:gd name="connsiteX1-3" fmla="*/ 2655206 w 2655206"/>
                <a:gd name="connsiteY1-4" fmla="*/ 1422158 h 2664296"/>
                <a:gd name="connsiteX2-5" fmla="*/ 1327603 w 2655206"/>
                <a:gd name="connsiteY2-6" fmla="*/ 2664296 h 2664296"/>
                <a:gd name="connsiteX3-7" fmla="*/ 1327603 w 2655206"/>
                <a:gd name="connsiteY3-8" fmla="*/ 0 h 2664296"/>
                <a:gd name="connsiteX4-9" fmla="*/ 2655206 w 2655206"/>
                <a:gd name="connsiteY4-10" fmla="*/ 1242138 h 2664296"/>
                <a:gd name="connsiteX5-11" fmla="*/ 0 w 2655206"/>
                <a:gd name="connsiteY5-12" fmla="*/ 1242138 h 2664296"/>
                <a:gd name="connsiteX6-13" fmla="*/ 1327603 w 2655206"/>
                <a:gd name="connsiteY6-14" fmla="*/ 0 h 2664296"/>
                <a:gd name="connsiteX0-15" fmla="*/ 1327603 w 2655206"/>
                <a:gd name="connsiteY0-16" fmla="*/ 0 h 1242138"/>
                <a:gd name="connsiteX1-17" fmla="*/ 2655206 w 2655206"/>
                <a:gd name="connsiteY1-18" fmla="*/ 1242138 h 1242138"/>
                <a:gd name="connsiteX2-19" fmla="*/ 0 w 2655206"/>
                <a:gd name="connsiteY2-20" fmla="*/ 1242138 h 1242138"/>
                <a:gd name="connsiteX3-21" fmla="*/ 1327603 w 2655206"/>
                <a:gd name="connsiteY3-22" fmla="*/ 0 h 1242138"/>
              </a:gdLst>
              <a:cxnLst>
                <a:cxn ang="0">
                  <a:pos x="connsiteX0-1" y="connsiteY0-2"/>
                </a:cxn>
                <a:cxn ang="0">
                  <a:pos x="connsiteX1-3" y="connsiteY1-4"/>
                </a:cxn>
                <a:cxn ang="0">
                  <a:pos x="connsiteX2-5" y="connsiteY2-6"/>
                </a:cxn>
                <a:cxn ang="0">
                  <a:pos x="connsiteX3-7" y="connsiteY3-8"/>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8" name="椭圆 1"/>
            <p:cNvSpPr/>
            <p:nvPr/>
          </p:nvSpPr>
          <p:spPr>
            <a:xfrm>
              <a:off x="8404007" y="3627022"/>
              <a:ext cx="2655206" cy="1242138"/>
            </a:xfrm>
            <a:custGeom>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1" fmla="*/ 0 w 2655206"/>
                <a:gd name="connsiteY0-2" fmla="*/ 0 h 1242138"/>
                <a:gd name="connsiteX1-3" fmla="*/ 2655206 w 2655206"/>
                <a:gd name="connsiteY1-4" fmla="*/ 0 h 1242138"/>
                <a:gd name="connsiteX2-5" fmla="*/ 1327603 w 2655206"/>
                <a:gd name="connsiteY2-6" fmla="*/ 1242138 h 1242138"/>
                <a:gd name="connsiteX3-7" fmla="*/ 0 w 2655206"/>
                <a:gd name="connsiteY3-8" fmla="*/ 0 h 1242138"/>
              </a:gdLst>
              <a:cxnLst>
                <a:cxn ang="0">
                  <a:pos x="connsiteX0-1" y="connsiteY0-2"/>
                </a:cxn>
                <a:cxn ang="0">
                  <a:pos x="connsiteX1-3" y="connsiteY1-4"/>
                </a:cxn>
                <a:cxn ang="0">
                  <a:pos x="connsiteX2-5" y="connsiteY2-6"/>
                </a:cxn>
                <a:cxn ang="0">
                  <a:pos x="connsiteX3-7" y="connsiteY3-8"/>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6" name="Group 73"/>
            <p:cNvGrpSpPr/>
            <p:nvPr>
              <p:custDataLst>
                <p:tags r:id="rId3"/>
              </p:custDataLst>
            </p:nvPr>
          </p:nvGrpSpPr>
          <p:grpSpPr>
            <a:xfrm>
              <a:off x="9167718" y="2905458"/>
              <a:ext cx="1127785" cy="451534"/>
              <a:chOff x="683122" y="3143325"/>
              <a:chExt cx="1092016" cy="428533"/>
            </a:xfrm>
          </p:grpSpPr>
          <p:pic>
            <p:nvPicPr>
              <p:cNvPr id="13" name="Picture 74"/>
              <p:cNvPicPr>
                <a:picLocks noChangeAspect="1"/>
              </p:cNvPicPr>
              <p:nvPr/>
            </p:nvPicPr>
            <p:blipFill>
              <a:blip r:embed="rId4">
                <a:extLst>
                  <a:ext uri="{28A0092B-C50C-407E-A947-70E740481C1C}">
                    <a14:useLocalDpi xmlns:a14="http://schemas.microsoft.com/office/drawing/2010/main" val="0"/>
                  </a:ext>
                </a:extLst>
              </a:blip>
              <a:srcRect l="27680"/>
              <a:stretch>
                <a:fillRect/>
              </a:stretch>
            </p:blipFill>
            <p:spPr>
              <a:xfrm>
                <a:off x="1022176" y="3143325"/>
                <a:ext cx="752962" cy="428533"/>
              </a:xfrm>
              <a:prstGeom prst="rect">
                <a:avLst/>
              </a:prstGeom>
            </p:spPr>
          </p:pic>
          <p:pic>
            <p:nvPicPr>
              <p:cNvPr id="14" name="Picture 7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10" name="Picture 76"/>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11" name="矩形 10"/>
            <p:cNvSpPr/>
            <p:nvPr/>
          </p:nvSpPr>
          <p:spPr>
            <a:xfrm>
              <a:off x="8946780" y="2515183"/>
              <a:ext cx="1284966" cy="330945"/>
            </a:xfrm>
            <a:prstGeom prst="rect">
              <a:avLst/>
            </a:prstGeom>
          </p:spPr>
          <p:txBody>
            <a:bodyPr wrap="none">
              <a:spAutoFit/>
            </a:bodyPr>
            <a:lstStyle/>
            <a:p>
              <a:r>
                <a:rPr lang="zh-CN" altLang="en-US" sz="1015">
                  <a:solidFill>
                    <a:schemeClr val="bg1"/>
                  </a:solidFill>
                  <a:latin typeface="微软雅黑" panose="020b0503020204020204" pitchFamily="34" charset="-122"/>
                  <a:ea typeface="微软雅黑" panose="020b0503020204020204" pitchFamily="34" charset="-122"/>
                  <a:cs typeface="华文黑体" pitchFamily="2" charset="-122"/>
                </a:rPr>
                <a:t>单击添加标题</a:t>
              </a:r>
              <a:endParaRPr lang="zh-CN" altLang="en-US" sz="1015">
                <a:solidFill>
                  <a:schemeClr val="bg1"/>
                </a:solidFill>
                <a:latin typeface="微软雅黑" panose="020b0503020204020204" pitchFamily="34" charset="-122"/>
                <a:ea typeface="微软雅黑" panose="020b0503020204020204" pitchFamily="34" charset="-122"/>
                <a:cs typeface="华文黑体" pitchFamily="2" charset="-122"/>
              </a:endParaRPr>
            </a:p>
          </p:txBody>
        </p:sp>
        <p:sp>
          <p:nvSpPr>
            <p:cNvPr id="12" name="矩形 11"/>
            <p:cNvSpPr/>
            <p:nvPr/>
          </p:nvSpPr>
          <p:spPr>
            <a:xfrm>
              <a:off x="8946780" y="3708031"/>
              <a:ext cx="1284966" cy="330945"/>
            </a:xfrm>
            <a:prstGeom prst="rect">
              <a:avLst/>
            </a:prstGeom>
          </p:spPr>
          <p:txBody>
            <a:bodyPr wrap="none">
              <a:spAutoFit/>
            </a:bodyPr>
            <a:lstStyle/>
            <a:p>
              <a:r>
                <a:rPr lang="zh-CN" altLang="en-US" sz="1015">
                  <a:solidFill>
                    <a:schemeClr val="bg1"/>
                  </a:solidFill>
                  <a:latin typeface="微软雅黑" panose="020b0503020204020204" pitchFamily="34" charset="-122"/>
                  <a:ea typeface="微软雅黑" panose="020b0503020204020204" pitchFamily="34" charset="-122"/>
                  <a:cs typeface="华文黑体" pitchFamily="2" charset="-122"/>
                </a:rPr>
                <a:t>单击添加标题</a:t>
              </a:r>
              <a:endParaRPr lang="zh-CN" altLang="en-US" sz="1015">
                <a:solidFill>
                  <a:schemeClr val="bg1"/>
                </a:solidFill>
                <a:latin typeface="微软雅黑" panose="020b0503020204020204" pitchFamily="34" charset="-122"/>
                <a:ea typeface="微软雅黑" panose="020b0503020204020204" pitchFamily="34" charset="-122"/>
                <a:cs typeface="华文黑体" pitchFamily="2" charset="-122"/>
              </a:endParaRPr>
            </a:p>
          </p:txBody>
        </p:sp>
      </p:grpSp>
      <p:sp>
        <p:nvSpPr>
          <p:cNvPr id="15" name="Freeform 91"/>
          <p:cNvSpPr>
            <a:spLocks noEditPoints="1"/>
          </p:cNvSpPr>
          <p:nvPr/>
        </p:nvSpPr>
        <p:spPr bwMode="auto">
          <a:xfrm>
            <a:off x="1169622" y="1383618"/>
            <a:ext cx="219881" cy="313519"/>
          </a:xfrm>
          <a:custGeom>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3">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accent1"/>
          </a:solidFill>
          <a:ln>
            <a:noFill/>
          </a:ln>
        </p:spPr>
        <p:txBody>
          <a:bodyPr vert="horz" wrap="square" lIns="51428" tIns="25715" rIns="51428" bIns="25715" numCol="1" anchor="t" anchorCtr="0" compatLnSpc="1"/>
          <a:lstStyle/>
          <a:p>
            <a:endParaRPr lang="en-US" sz="1015">
              <a:solidFill>
                <a:schemeClr val="bg1">
                  <a:lumMod val="50000"/>
                </a:schemeClr>
              </a:solidFill>
            </a:endParaRPr>
          </a:p>
        </p:txBody>
      </p:sp>
      <p:sp>
        <p:nvSpPr>
          <p:cNvPr id="16" name="Freeform 80"/>
          <p:cNvSpPr>
            <a:spLocks noEditPoints="1"/>
          </p:cNvSpPr>
          <p:nvPr/>
        </p:nvSpPr>
        <p:spPr bwMode="auto">
          <a:xfrm>
            <a:off x="1169622" y="3054148"/>
            <a:ext cx="219881" cy="312557"/>
          </a:xfrm>
          <a:custGeom>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2">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accent2"/>
          </a:solidFill>
          <a:ln>
            <a:noFill/>
          </a:ln>
        </p:spPr>
        <p:txBody>
          <a:bodyPr vert="horz" wrap="square" lIns="51428" tIns="25715" rIns="51428" bIns="25715" numCol="1" anchor="t" anchorCtr="0" compatLnSpc="1"/>
          <a:lstStyle/>
          <a:p>
            <a:endParaRPr lang="en-US" sz="1015">
              <a:solidFill>
                <a:schemeClr val="bg1">
                  <a:lumMod val="50000"/>
                </a:schemeClr>
              </a:solidFill>
            </a:endParaRPr>
          </a:p>
        </p:txBody>
      </p:sp>
      <p:grpSp>
        <p:nvGrpSpPr>
          <p:cNvPr id="9" name="组合 20"/>
          <p:cNvGrpSpPr/>
          <p:nvPr/>
        </p:nvGrpSpPr>
        <p:grpSpPr>
          <a:xfrm>
            <a:off x="1169622" y="1113588"/>
            <a:ext cx="6183687" cy="540060"/>
            <a:chOff x="1558702" y="1628800"/>
            <a:chExt cx="8244916" cy="720080"/>
          </a:xfrm>
          <a:solidFill>
            <a:schemeClr val="accent1"/>
          </a:solidFill>
        </p:grpSpPr>
        <p:cxnSp>
          <p:nvCxnSpPr>
            <p:cNvPr id="22" name="直接连接符 6"/>
            <p:cNvCxnSpPr/>
            <p:nvPr/>
          </p:nvCxnSpPr>
          <p:spPr>
            <a:xfrm>
              <a:off x="1558702" y="1628800"/>
              <a:ext cx="8172908" cy="648072"/>
            </a:xfrm>
            <a:prstGeom prst="bentConnector3">
              <a:avLst>
                <a:gd name="adj1" fmla="val 99935"/>
              </a:avLst>
            </a:prstGeom>
            <a:grpFill/>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3" name="椭圆 22"/>
            <p:cNvSpPr/>
            <p:nvPr/>
          </p:nvSpPr>
          <p:spPr>
            <a:xfrm>
              <a:off x="9659602" y="2204864"/>
              <a:ext cx="144016" cy="144016"/>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17" name="组合 23"/>
          <p:cNvGrpSpPr/>
          <p:nvPr/>
        </p:nvGrpSpPr>
        <p:grpSpPr>
          <a:xfrm flipV="1">
            <a:off x="1169622" y="3705876"/>
            <a:ext cx="6183687" cy="540060"/>
            <a:chOff x="1558702" y="5301208"/>
            <a:chExt cx="8244916" cy="720080"/>
          </a:xfrm>
          <a:solidFill>
            <a:schemeClr val="accent2"/>
          </a:solidFill>
        </p:grpSpPr>
        <p:cxnSp>
          <p:nvCxnSpPr>
            <p:cNvPr id="25" name="直接连接符 6"/>
            <p:cNvCxnSpPr/>
            <p:nvPr/>
          </p:nvCxnSpPr>
          <p:spPr>
            <a:xfrm>
              <a:off x="1558702" y="5301208"/>
              <a:ext cx="8172908" cy="648072"/>
            </a:xfrm>
            <a:prstGeom prst="bentConnector3">
              <a:avLst>
                <a:gd name="adj1" fmla="val 99935"/>
              </a:avLst>
            </a:prstGeom>
            <a:grpFill/>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26" name="椭圆 25"/>
            <p:cNvSpPr/>
            <p:nvPr/>
          </p:nvSpPr>
          <p:spPr>
            <a:xfrm>
              <a:off x="9659602" y="5877272"/>
              <a:ext cx="144016" cy="144016"/>
            </a:xfrm>
            <a:prstGeom prst="ellipse">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27" name="矩形 26"/>
          <p:cNvSpPr/>
          <p:nvPr/>
        </p:nvSpPr>
        <p:spPr>
          <a:xfrm>
            <a:off x="1493658" y="1397055"/>
            <a:ext cx="1659899" cy="323165"/>
          </a:xfrm>
          <a:prstGeom prst="rect">
            <a:avLst/>
          </a:prstGeom>
        </p:spPr>
        <p:txBody>
          <a:bodyPr wrap="square">
            <a:spAutoFit/>
          </a:bodyPr>
          <a:lstStyle/>
          <a:p>
            <a:pPr lvl="0"/>
            <a:r>
              <a:rPr lang="zh-CN" altLang="en-US" sz="1500" b="1">
                <a:solidFill>
                  <a:schemeClr val="bg1">
                    <a:lumMod val="50000"/>
                  </a:schemeClr>
                </a:solidFill>
                <a:latin typeface="微软雅黑" panose="020b0503020204020204" pitchFamily="34" charset="-122"/>
                <a:ea typeface="微软雅黑" panose="020b0503020204020204" pitchFamily="34" charset="-122"/>
              </a:rPr>
              <a:t>请添加您的标题</a:t>
            </a:r>
            <a:endParaRPr lang="zh-CN" altLang="en-US" sz="1500" b="1">
              <a:solidFill>
                <a:schemeClr val="bg1">
                  <a:lumMod val="50000"/>
                </a:schemeClr>
              </a:solidFill>
              <a:latin typeface="微软雅黑" panose="020b0503020204020204" pitchFamily="34" charset="-122"/>
              <a:ea typeface="微软雅黑" panose="020b0503020204020204" pitchFamily="34" charset="-122"/>
            </a:endParaRPr>
          </a:p>
        </p:txBody>
      </p:sp>
      <p:sp>
        <p:nvSpPr>
          <p:cNvPr id="28" name="矩形 27"/>
          <p:cNvSpPr/>
          <p:nvPr/>
        </p:nvSpPr>
        <p:spPr>
          <a:xfrm>
            <a:off x="1501638" y="1731208"/>
            <a:ext cx="4420512" cy="480131"/>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可通过右键选择只保留文本来粘贴您的内容。可通过右键选择只保留文本来粘贴您的内容。可通过右键选择只保留文本来粘贴您的内容。</a:t>
            </a: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p:txBody>
      </p:sp>
      <p:sp>
        <p:nvSpPr>
          <p:cNvPr id="29" name="矩形 28"/>
          <p:cNvSpPr/>
          <p:nvPr/>
        </p:nvSpPr>
        <p:spPr>
          <a:xfrm>
            <a:off x="1493658" y="3097416"/>
            <a:ext cx="1659899" cy="323165"/>
          </a:xfrm>
          <a:prstGeom prst="rect">
            <a:avLst/>
          </a:prstGeom>
        </p:spPr>
        <p:txBody>
          <a:bodyPr wrap="square">
            <a:spAutoFit/>
          </a:bodyPr>
          <a:lstStyle/>
          <a:p>
            <a:pPr lvl="0"/>
            <a:r>
              <a:rPr lang="zh-CN" altLang="en-US" sz="1500" b="1">
                <a:solidFill>
                  <a:schemeClr val="bg1">
                    <a:lumMod val="50000"/>
                  </a:schemeClr>
                </a:solidFill>
                <a:latin typeface="微软雅黑" panose="020b0503020204020204" pitchFamily="34" charset="-122"/>
                <a:ea typeface="微软雅黑" panose="020b0503020204020204" pitchFamily="34" charset="-122"/>
              </a:rPr>
              <a:t>请添加您的标题</a:t>
            </a:r>
            <a:endParaRPr lang="zh-CN" altLang="en-US" sz="1500" b="1">
              <a:solidFill>
                <a:schemeClr val="bg1">
                  <a:lumMod val="50000"/>
                </a:schemeClr>
              </a:solidFill>
              <a:latin typeface="微软雅黑" panose="020b0503020204020204" pitchFamily="34" charset="-122"/>
              <a:ea typeface="微软雅黑" panose="020b0503020204020204" pitchFamily="34" charset="-122"/>
            </a:endParaRPr>
          </a:p>
        </p:txBody>
      </p:sp>
      <p:sp>
        <p:nvSpPr>
          <p:cNvPr id="30" name="矩形 29"/>
          <p:cNvSpPr/>
          <p:nvPr/>
        </p:nvSpPr>
        <p:spPr>
          <a:xfrm>
            <a:off x="1501638" y="3431569"/>
            <a:ext cx="4420512" cy="480131"/>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可通过右键选择只保留文本来粘贴您的内容。可通过右键选择只保留文本来粘贴您的内容。可通过右键选择只保留文本来粘贴您的内容。</a:t>
            </a: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22" presetClass="entr" presetSubtype="2" fill="hold" grpId="0" nodeType="withEffect">
                                  <p:stCondLst>
                                    <p:cond delay="500"/>
                                  </p:stCondLst>
                                  <p:childTnLst>
                                    <p:set>
                                      <p:cBhvr>
                                        <p:cTn id="11" dur="1" fill="hold">
                                          <p:stCondLst>
                                            <p:cond delay="0"/>
                                          </p:stCondLst>
                                        </p:cTn>
                                        <p:tgtEl>
                                          <p:spTgt spid="4"/>
                                        </p:tgtEl>
                                        <p:attrNameLst>
                                          <p:attrName>style.visibility</p:attrName>
                                        </p:attrNameLst>
                                      </p:cBhvr>
                                      <p:to>
                                        <p:strVal val="visible"/>
                                      </p:to>
                                    </p:set>
                                    <p:animEffect transition="in" filter="wipe(right)">
                                      <p:cBhvr>
                                        <p:cTn id="12" dur="500"/>
                                        <p:tgtEl>
                                          <p:spTgt spid="4"/>
                                        </p:tgtEl>
                                      </p:cBhvr>
                                    </p:animEffect>
                                  </p:childTnLst>
                                </p:cTn>
                              </p:par>
                              <p:par>
                                <p:cTn id="13" presetID="22" presetClass="entr" presetSubtype="2" fill="hold" grpId="0" nodeType="withEffect">
                                  <p:stCondLst>
                                    <p:cond delay="500"/>
                                  </p:stCondLst>
                                  <p:childTnLst>
                                    <p:set>
                                      <p:cBhvr>
                                        <p:cTn id="14" dur="1" fill="hold">
                                          <p:stCondLst>
                                            <p:cond delay="0"/>
                                          </p:stCondLst>
                                        </p:cTn>
                                        <p:tgtEl>
                                          <p:spTgt spid="5"/>
                                        </p:tgtEl>
                                        <p:attrNameLst>
                                          <p:attrName>style.visibility</p:attrName>
                                        </p:attrNameLst>
                                      </p:cBhvr>
                                      <p:to>
                                        <p:strVal val="visible"/>
                                      </p:to>
                                    </p:set>
                                    <p:animEffect transition="in" filter="wipe(right)">
                                      <p:cBhvr>
                                        <p:cTn id="15" dur="500"/>
                                        <p:tgtEl>
                                          <p:spTgt spid="5"/>
                                        </p:tgtEl>
                                      </p:cBhvr>
                                    </p:animEffect>
                                  </p:childTnLst>
                                </p:cTn>
                              </p:par>
                              <p:par>
                                <p:cTn id="16" presetID="22" presetClass="entr" presetSubtype="2" fill="hold" nodeType="withEffect">
                                  <p:stCondLst>
                                    <p:cond delay="500"/>
                                  </p:stCondLst>
                                  <p:childTnLst>
                                    <p:set>
                                      <p:cBhvr>
                                        <p:cTn id="17" dur="1" fill="hold">
                                          <p:stCondLst>
                                            <p:cond delay="0"/>
                                          </p:stCondLst>
                                        </p:cTn>
                                        <p:tgtEl>
                                          <p:spTgt spid="9"/>
                                        </p:tgtEl>
                                        <p:attrNameLst>
                                          <p:attrName>style.visibility</p:attrName>
                                        </p:attrNameLst>
                                      </p:cBhvr>
                                      <p:to>
                                        <p:strVal val="visible"/>
                                      </p:to>
                                    </p:set>
                                    <p:animEffect transition="in" filter="wipe(right)">
                                      <p:cBhvr>
                                        <p:cTn id="18" dur="500"/>
                                        <p:tgtEl>
                                          <p:spTgt spid="9"/>
                                        </p:tgtEl>
                                      </p:cBhvr>
                                    </p:animEffect>
                                  </p:childTnLst>
                                </p:cTn>
                              </p:par>
                              <p:par>
                                <p:cTn id="19" presetID="22" presetClass="entr" presetSubtype="2" fill="hold" nodeType="withEffect">
                                  <p:stCondLst>
                                    <p:cond delay="500"/>
                                  </p:stCondLst>
                                  <p:childTnLst>
                                    <p:set>
                                      <p:cBhvr>
                                        <p:cTn id="20" dur="1" fill="hold">
                                          <p:stCondLst>
                                            <p:cond delay="0"/>
                                          </p:stCondLst>
                                        </p:cTn>
                                        <p:tgtEl>
                                          <p:spTgt spid="17"/>
                                        </p:tgtEl>
                                        <p:attrNameLst>
                                          <p:attrName>style.visibility</p:attrName>
                                        </p:attrNameLst>
                                      </p:cBhvr>
                                      <p:to>
                                        <p:strVal val="visible"/>
                                      </p:to>
                                    </p:set>
                                    <p:animEffect transition="in" filter="wipe(right)">
                                      <p:cBhvr>
                                        <p:cTn id="21" dur="500"/>
                                        <p:tgtEl>
                                          <p:spTgt spid="17"/>
                                        </p:tgtEl>
                                      </p:cBhvr>
                                    </p:animEffect>
                                  </p:childTnLst>
                                </p:cTn>
                              </p:par>
                              <p:par>
                                <p:cTn id="22" presetID="22" presetClass="entr" presetSubtype="2" fill="hold" grpId="0" nodeType="withEffect">
                                  <p:stCondLst>
                                    <p:cond delay="1000"/>
                                  </p:stCondLst>
                                  <p:childTnLst>
                                    <p:set>
                                      <p:cBhvr>
                                        <p:cTn id="23" dur="1" fill="hold">
                                          <p:stCondLst>
                                            <p:cond delay="0"/>
                                          </p:stCondLst>
                                        </p:cTn>
                                        <p:tgtEl>
                                          <p:spTgt spid="15"/>
                                        </p:tgtEl>
                                        <p:attrNameLst>
                                          <p:attrName>style.visibility</p:attrName>
                                        </p:attrNameLst>
                                      </p:cBhvr>
                                      <p:to>
                                        <p:strVal val="visible"/>
                                      </p:to>
                                    </p:set>
                                    <p:animEffect transition="in" filter="wipe(right)">
                                      <p:cBhvr>
                                        <p:cTn id="24" dur="500"/>
                                        <p:tgtEl>
                                          <p:spTgt spid="15"/>
                                        </p:tgtEl>
                                      </p:cBhvr>
                                    </p:animEffect>
                                  </p:childTnLst>
                                </p:cTn>
                              </p:par>
                              <p:par>
                                <p:cTn id="25" presetID="22" presetClass="entr" presetSubtype="2" fill="hold" grpId="0" nodeType="withEffect">
                                  <p:stCondLst>
                                    <p:cond delay="1000"/>
                                  </p:stCondLst>
                                  <p:childTnLst>
                                    <p:set>
                                      <p:cBhvr>
                                        <p:cTn id="26" dur="1" fill="hold">
                                          <p:stCondLst>
                                            <p:cond delay="0"/>
                                          </p:stCondLst>
                                        </p:cTn>
                                        <p:tgtEl>
                                          <p:spTgt spid="16"/>
                                        </p:tgtEl>
                                        <p:attrNameLst>
                                          <p:attrName>style.visibility</p:attrName>
                                        </p:attrNameLst>
                                      </p:cBhvr>
                                      <p:to>
                                        <p:strVal val="visible"/>
                                      </p:to>
                                    </p:set>
                                    <p:animEffect transition="in" filter="wipe(right)">
                                      <p:cBhvr>
                                        <p:cTn id="27" dur="500"/>
                                        <p:tgtEl>
                                          <p:spTgt spid="16"/>
                                        </p:tgtEl>
                                      </p:cBhvr>
                                    </p:animEffect>
                                  </p:childTnLst>
                                </p:cTn>
                              </p:par>
                            </p:childTnLst>
                          </p:cTn>
                        </p:par>
                        <p:par>
                          <p:cTn id="28" fill="hold" nodeType="afterGroup">
                            <p:stCondLst>
                              <p:cond delay="1500"/>
                            </p:stCondLst>
                            <p:childTnLst>
                              <p:par>
                                <p:cTn id="29" presetID="23" presetClass="entr" presetSubtype="16" fill="hold" grpId="0" nodeType="afterEffect">
                                  <p:stCondLst>
                                    <p:cond delay="0"/>
                                  </p:stCondLst>
                                  <p:iterate type="lt">
                                    <p:tmPct val="10000"/>
                                  </p:iterate>
                                  <p:childTnLst>
                                    <p:set>
                                      <p:cBhvr>
                                        <p:cTn id="30" dur="1" fill="hold">
                                          <p:stCondLst>
                                            <p:cond delay="0"/>
                                          </p:stCondLst>
                                        </p:cTn>
                                        <p:tgtEl>
                                          <p:spTgt spid="27"/>
                                        </p:tgtEl>
                                        <p:attrNameLst>
                                          <p:attrName>style.visibility</p:attrName>
                                        </p:attrNameLst>
                                      </p:cBhvr>
                                      <p:to>
                                        <p:strVal val="visible"/>
                                      </p:to>
                                    </p:set>
                                    <p:anim calcmode="lin" valueType="num">
                                      <p:cBhvr>
                                        <p:cTn id="31" dur="250" fill="hold"/>
                                        <p:tgtEl>
                                          <p:spTgt spid="27"/>
                                        </p:tgtEl>
                                        <p:attrNameLst>
                                          <p:attrName>ppt_w</p:attrName>
                                        </p:attrNameLst>
                                      </p:cBhvr>
                                      <p:tavLst>
                                        <p:tav tm="0">
                                          <p:val>
                                            <p:fltVal val="0"/>
                                          </p:val>
                                        </p:tav>
                                        <p:tav tm="100000">
                                          <p:val>
                                            <p:strVal val="#ppt_w"/>
                                          </p:val>
                                        </p:tav>
                                      </p:tavLst>
                                    </p:anim>
                                    <p:anim calcmode="lin" valueType="num">
                                      <p:cBhvr>
                                        <p:cTn id="32" dur="250" fill="hold"/>
                                        <p:tgtEl>
                                          <p:spTgt spid="27"/>
                                        </p:tgtEl>
                                        <p:attrNameLst>
                                          <p:attrName>ppt_h</p:attrName>
                                        </p:attrNameLst>
                                      </p:cBhvr>
                                      <p:tavLst>
                                        <p:tav tm="0">
                                          <p:val>
                                            <p:fltVal val="0"/>
                                          </p:val>
                                        </p:tav>
                                        <p:tav tm="100000">
                                          <p:val>
                                            <p:strVal val="#ppt_h"/>
                                          </p:val>
                                        </p:tav>
                                      </p:tavLst>
                                    </p:anim>
                                  </p:childTnLst>
                                </p:cTn>
                              </p:par>
                            </p:childTnLst>
                          </p:cTn>
                        </p:par>
                        <p:par>
                          <p:cTn id="33" fill="hold" nodeType="afterGroup">
                            <p:stCondLst>
                              <p:cond delay="1750"/>
                            </p:stCondLst>
                            <p:childTnLst>
                              <p:par>
                                <p:cTn id="34" presetID="14" presetClass="entr" presetSubtype="10" fill="hold" grpId="0" nodeType="after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randombar(horizontal)">
                                      <p:cBhvr>
                                        <p:cTn id="36" dur="250"/>
                                        <p:tgtEl>
                                          <p:spTgt spid="28"/>
                                        </p:tgtEl>
                                      </p:cBhvr>
                                    </p:animEffect>
                                  </p:childTnLst>
                                </p:cTn>
                              </p:par>
                            </p:childTnLst>
                          </p:cTn>
                        </p:par>
                        <p:par>
                          <p:cTn id="37" fill="hold" nodeType="afterGroup">
                            <p:stCondLst>
                              <p:cond delay="2000"/>
                            </p:stCondLst>
                            <p:childTnLst>
                              <p:par>
                                <p:cTn id="38" presetID="23" presetClass="entr" presetSubtype="16" fill="hold" grpId="0" nodeType="afterEffect">
                                  <p:stCondLst>
                                    <p:cond delay="0"/>
                                  </p:stCondLst>
                                  <p:iterate type="lt">
                                    <p:tmPct val="10000"/>
                                  </p:iterate>
                                  <p:childTnLst>
                                    <p:set>
                                      <p:cBhvr>
                                        <p:cTn id="39" dur="1" fill="hold">
                                          <p:stCondLst>
                                            <p:cond delay="0"/>
                                          </p:stCondLst>
                                        </p:cTn>
                                        <p:tgtEl>
                                          <p:spTgt spid="29"/>
                                        </p:tgtEl>
                                        <p:attrNameLst>
                                          <p:attrName>style.visibility</p:attrName>
                                        </p:attrNameLst>
                                      </p:cBhvr>
                                      <p:to>
                                        <p:strVal val="visible"/>
                                      </p:to>
                                    </p:set>
                                    <p:anim calcmode="lin" valueType="num">
                                      <p:cBhvr>
                                        <p:cTn id="40" dur="250" fill="hold"/>
                                        <p:tgtEl>
                                          <p:spTgt spid="29"/>
                                        </p:tgtEl>
                                        <p:attrNameLst>
                                          <p:attrName>ppt_w</p:attrName>
                                        </p:attrNameLst>
                                      </p:cBhvr>
                                      <p:tavLst>
                                        <p:tav tm="0">
                                          <p:val>
                                            <p:fltVal val="0"/>
                                          </p:val>
                                        </p:tav>
                                        <p:tav tm="100000">
                                          <p:val>
                                            <p:strVal val="#ppt_w"/>
                                          </p:val>
                                        </p:tav>
                                      </p:tavLst>
                                    </p:anim>
                                    <p:anim calcmode="lin" valueType="num">
                                      <p:cBhvr>
                                        <p:cTn id="41" dur="250" fill="hold"/>
                                        <p:tgtEl>
                                          <p:spTgt spid="29"/>
                                        </p:tgtEl>
                                        <p:attrNameLst>
                                          <p:attrName>ppt_h</p:attrName>
                                        </p:attrNameLst>
                                      </p:cBhvr>
                                      <p:tavLst>
                                        <p:tav tm="0">
                                          <p:val>
                                            <p:fltVal val="0"/>
                                          </p:val>
                                        </p:tav>
                                        <p:tav tm="100000">
                                          <p:val>
                                            <p:strVal val="#ppt_h"/>
                                          </p:val>
                                        </p:tav>
                                      </p:tavLst>
                                    </p:anim>
                                  </p:childTnLst>
                                </p:cTn>
                              </p:par>
                            </p:childTnLst>
                          </p:cTn>
                        </p:par>
                        <p:par>
                          <p:cTn id="42" fill="hold" nodeType="afterGroup">
                            <p:stCondLst>
                              <p:cond delay="2250"/>
                            </p:stCondLst>
                            <p:childTnLst>
                              <p:par>
                                <p:cTn id="43" presetID="14" presetClass="entr" presetSubtype="10" fill="hold" grpId="0"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randombar(horizontal)">
                                      <p:cBhvr>
                                        <p:cTn id="45" dur="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5" grpId="0" animBg="1"/>
      <p:bldP spid="16" grpId="0" animBg="1"/>
      <p:bldP spid="27" grpId="0"/>
      <p:bldP spid="28" grpId="0"/>
      <p:bldP spid="29" grpId="0"/>
      <p:bldP spid="30" grpId="0"/>
    </p:bldLst>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aphicFrame>
        <p:nvGraphicFramePr>
          <p:cNvPr id="7" name="图表 6"/>
          <p:cNvGraphicFramePr/>
          <p:nvPr/>
        </p:nvGraphicFramePr>
        <p:xfrm>
          <a:off x="774454" y="1426802"/>
          <a:ext cx="3829050" cy="2775994"/>
        </p:xfrm>
        <a:graphic>
          <a:graphicData uri="http://schemas.openxmlformats.org/drawingml/2006/chart">
            <c:chart xmlns:c="http://schemas.openxmlformats.org/drawingml/2006/chart" r:id="rId3"/>
          </a:graphicData>
        </a:graphic>
      </p:graphicFrame>
      <p:grpSp>
        <p:nvGrpSpPr>
          <p:cNvPr id="2" name="组合 1"/>
          <p:cNvGrpSpPr/>
          <p:nvPr/>
        </p:nvGrpSpPr>
        <p:grpSpPr>
          <a:xfrm>
            <a:off x="5104752" y="1426802"/>
            <a:ext cx="3296225" cy="2643516"/>
            <a:chOff x="6806335" y="1902403"/>
            <a:chExt cx="4394967" cy="3524688"/>
          </a:xfrm>
        </p:grpSpPr>
        <p:sp>
          <p:nvSpPr>
            <p:cNvPr id="16" name="文本框 15"/>
            <p:cNvSpPr txBox="1"/>
            <p:nvPr/>
          </p:nvSpPr>
          <p:spPr>
            <a:xfrm>
              <a:off x="6806335" y="2389876"/>
              <a:ext cx="3626848" cy="430887"/>
            </a:xfrm>
            <a:prstGeom prst="rect">
              <a:avLst/>
            </a:prstGeom>
            <a:noFill/>
          </p:spPr>
          <p:txBody>
            <a:bodyPr wrap="square" rtlCol="0">
              <a:spAutoFit/>
            </a:bodyPr>
            <a:lstStyle/>
            <a:p>
              <a:pPr algn="l"/>
              <a:r>
                <a:rPr lang="en-US" altLang="zh-CN" sz="1500">
                  <a:solidFill>
                    <a:schemeClr val="bg1">
                      <a:lumMod val="50000"/>
                    </a:schemeClr>
                  </a:solidFill>
                  <a:latin typeface="黑体" panose="02010609060101010101" charset="-122"/>
                  <a:ea typeface="黑体" panose="02010609060101010101" charset="-122"/>
                </a:rPr>
                <a:t>单击此处添加标题</a:t>
              </a:r>
              <a:endParaRPr lang="en-US" altLang="zh-CN" sz="1500">
                <a:solidFill>
                  <a:schemeClr val="bg1">
                    <a:lumMod val="50000"/>
                  </a:schemeClr>
                </a:solidFill>
                <a:latin typeface="黑体" panose="02010609060101010101" charset="-122"/>
                <a:ea typeface="黑体" panose="02010609060101010101" charset="-122"/>
              </a:endParaRPr>
            </a:p>
          </p:txBody>
        </p:sp>
        <p:sp>
          <p:nvSpPr>
            <p:cNvPr id="17" name="KSO_Shape"/>
            <p:cNvSpPr>
              <a:spLocks noChangeArrowheads="1"/>
            </p:cNvSpPr>
            <p:nvPr/>
          </p:nvSpPr>
          <p:spPr bwMode="auto">
            <a:xfrm>
              <a:off x="6806432" y="1902403"/>
              <a:ext cx="584967" cy="487473"/>
            </a:xfrm>
            <a:custGeom>
              <a:rect l="0" t="0" r="r" b="b"/>
              <a:pathLst>
                <a:path w="1450975" h="1209675">
                  <a:moveTo>
                    <a:pt x="180975" y="182562"/>
                  </a:moveTo>
                  <a:lnTo>
                    <a:pt x="1270000" y="182562"/>
                  </a:lnTo>
                  <a:lnTo>
                    <a:pt x="1270000" y="725487"/>
                  </a:lnTo>
                  <a:lnTo>
                    <a:pt x="180975" y="725487"/>
                  </a:lnTo>
                  <a:lnTo>
                    <a:pt x="180975" y="182562"/>
                  </a:lnTo>
                  <a:close/>
                  <a:moveTo>
                    <a:pt x="120672" y="120703"/>
                  </a:moveTo>
                  <a:lnTo>
                    <a:pt x="120672" y="785892"/>
                  </a:lnTo>
                  <a:lnTo>
                    <a:pt x="1330039" y="785892"/>
                  </a:lnTo>
                  <a:lnTo>
                    <a:pt x="1330039" y="120703"/>
                  </a:lnTo>
                  <a:lnTo>
                    <a:pt x="120672" y="120703"/>
                  </a:lnTo>
                  <a:close/>
                  <a:moveTo>
                    <a:pt x="114585" y="0"/>
                  </a:moveTo>
                  <a:lnTo>
                    <a:pt x="120672" y="0"/>
                  </a:lnTo>
                  <a:lnTo>
                    <a:pt x="1330039" y="0"/>
                  </a:lnTo>
                  <a:lnTo>
                    <a:pt x="1336390" y="0"/>
                  </a:lnTo>
                  <a:lnTo>
                    <a:pt x="1342476" y="529"/>
                  </a:lnTo>
                  <a:lnTo>
                    <a:pt x="1348298" y="1059"/>
                  </a:lnTo>
                  <a:lnTo>
                    <a:pt x="1354385" y="2382"/>
                  </a:lnTo>
                  <a:lnTo>
                    <a:pt x="1360207" y="3441"/>
                  </a:lnTo>
                  <a:lnTo>
                    <a:pt x="1366028" y="5294"/>
                  </a:lnTo>
                  <a:lnTo>
                    <a:pt x="1371586" y="7147"/>
                  </a:lnTo>
                  <a:lnTo>
                    <a:pt x="1376878" y="9264"/>
                  </a:lnTo>
                  <a:lnTo>
                    <a:pt x="1382436" y="11911"/>
                  </a:lnTo>
                  <a:lnTo>
                    <a:pt x="1387728" y="14558"/>
                  </a:lnTo>
                  <a:lnTo>
                    <a:pt x="1392492" y="17205"/>
                  </a:lnTo>
                  <a:lnTo>
                    <a:pt x="1397784" y="20646"/>
                  </a:lnTo>
                  <a:lnTo>
                    <a:pt x="1402283" y="24087"/>
                  </a:lnTo>
                  <a:lnTo>
                    <a:pt x="1406782" y="27529"/>
                  </a:lnTo>
                  <a:lnTo>
                    <a:pt x="1411545" y="31234"/>
                  </a:lnTo>
                  <a:lnTo>
                    <a:pt x="1415515" y="35205"/>
                  </a:lnTo>
                  <a:lnTo>
                    <a:pt x="1419749" y="39440"/>
                  </a:lnTo>
                  <a:lnTo>
                    <a:pt x="1423454" y="44205"/>
                  </a:lnTo>
                  <a:lnTo>
                    <a:pt x="1426894" y="48705"/>
                  </a:lnTo>
                  <a:lnTo>
                    <a:pt x="1430334" y="53204"/>
                  </a:lnTo>
                  <a:lnTo>
                    <a:pt x="1433510" y="58234"/>
                  </a:lnTo>
                  <a:lnTo>
                    <a:pt x="1436420" y="63263"/>
                  </a:lnTo>
                  <a:lnTo>
                    <a:pt x="1439067" y="68557"/>
                  </a:lnTo>
                  <a:lnTo>
                    <a:pt x="1441713" y="73586"/>
                  </a:lnTo>
                  <a:lnTo>
                    <a:pt x="1443830" y="79145"/>
                  </a:lnTo>
                  <a:lnTo>
                    <a:pt x="1445683" y="84968"/>
                  </a:lnTo>
                  <a:lnTo>
                    <a:pt x="1447006" y="90792"/>
                  </a:lnTo>
                  <a:lnTo>
                    <a:pt x="1448594" y="96615"/>
                  </a:lnTo>
                  <a:lnTo>
                    <a:pt x="1449652" y="102438"/>
                  </a:lnTo>
                  <a:lnTo>
                    <a:pt x="1450446" y="108527"/>
                  </a:lnTo>
                  <a:lnTo>
                    <a:pt x="1450711" y="114615"/>
                  </a:lnTo>
                  <a:lnTo>
                    <a:pt x="1450975" y="120703"/>
                  </a:lnTo>
                  <a:lnTo>
                    <a:pt x="1450975" y="785892"/>
                  </a:lnTo>
                  <a:lnTo>
                    <a:pt x="1450711" y="792245"/>
                  </a:lnTo>
                  <a:lnTo>
                    <a:pt x="1450446" y="798333"/>
                  </a:lnTo>
                  <a:lnTo>
                    <a:pt x="1449652" y="804421"/>
                  </a:lnTo>
                  <a:lnTo>
                    <a:pt x="1448594" y="810244"/>
                  </a:lnTo>
                  <a:lnTo>
                    <a:pt x="1447006" y="816068"/>
                  </a:lnTo>
                  <a:lnTo>
                    <a:pt x="1445683" y="821891"/>
                  </a:lnTo>
                  <a:lnTo>
                    <a:pt x="1443830" y="827714"/>
                  </a:lnTo>
                  <a:lnTo>
                    <a:pt x="1441713" y="833008"/>
                  </a:lnTo>
                  <a:lnTo>
                    <a:pt x="1439067" y="838302"/>
                  </a:lnTo>
                  <a:lnTo>
                    <a:pt x="1436420" y="843596"/>
                  </a:lnTo>
                  <a:lnTo>
                    <a:pt x="1433510" y="848626"/>
                  </a:lnTo>
                  <a:lnTo>
                    <a:pt x="1430334" y="853655"/>
                  </a:lnTo>
                  <a:lnTo>
                    <a:pt x="1426894" y="858155"/>
                  </a:lnTo>
                  <a:lnTo>
                    <a:pt x="1423454" y="862655"/>
                  </a:lnTo>
                  <a:lnTo>
                    <a:pt x="1419749" y="867419"/>
                  </a:lnTo>
                  <a:lnTo>
                    <a:pt x="1415515" y="871654"/>
                  </a:lnTo>
                  <a:lnTo>
                    <a:pt x="1411545" y="875625"/>
                  </a:lnTo>
                  <a:lnTo>
                    <a:pt x="1406782" y="879331"/>
                  </a:lnTo>
                  <a:lnTo>
                    <a:pt x="1402283" y="883036"/>
                  </a:lnTo>
                  <a:lnTo>
                    <a:pt x="1397784" y="886213"/>
                  </a:lnTo>
                  <a:lnTo>
                    <a:pt x="1392492" y="889389"/>
                  </a:lnTo>
                  <a:lnTo>
                    <a:pt x="1387728" y="892301"/>
                  </a:lnTo>
                  <a:lnTo>
                    <a:pt x="1382436" y="895213"/>
                  </a:lnTo>
                  <a:lnTo>
                    <a:pt x="1376878" y="897595"/>
                  </a:lnTo>
                  <a:lnTo>
                    <a:pt x="1371586" y="899713"/>
                  </a:lnTo>
                  <a:lnTo>
                    <a:pt x="1366028" y="901565"/>
                  </a:lnTo>
                  <a:lnTo>
                    <a:pt x="1360207" y="903418"/>
                  </a:lnTo>
                  <a:lnTo>
                    <a:pt x="1354385" y="904477"/>
                  </a:lnTo>
                  <a:lnTo>
                    <a:pt x="1348298" y="905536"/>
                  </a:lnTo>
                  <a:lnTo>
                    <a:pt x="1342476" y="906330"/>
                  </a:lnTo>
                  <a:lnTo>
                    <a:pt x="1336390" y="907124"/>
                  </a:lnTo>
                  <a:lnTo>
                    <a:pt x="1330039" y="907124"/>
                  </a:lnTo>
                  <a:lnTo>
                    <a:pt x="846557" y="907124"/>
                  </a:lnTo>
                  <a:lnTo>
                    <a:pt x="846557" y="1149059"/>
                  </a:lnTo>
                  <a:lnTo>
                    <a:pt x="906893" y="1149059"/>
                  </a:lnTo>
                  <a:lnTo>
                    <a:pt x="909539" y="1149059"/>
                  </a:lnTo>
                  <a:lnTo>
                    <a:pt x="912715" y="1149588"/>
                  </a:lnTo>
                  <a:lnTo>
                    <a:pt x="916155" y="1150118"/>
                  </a:lnTo>
                  <a:lnTo>
                    <a:pt x="920918" y="1150912"/>
                  </a:lnTo>
                  <a:lnTo>
                    <a:pt x="925946" y="1152235"/>
                  </a:lnTo>
                  <a:lnTo>
                    <a:pt x="931503" y="1154088"/>
                  </a:lnTo>
                  <a:lnTo>
                    <a:pt x="937061" y="1156471"/>
                  </a:lnTo>
                  <a:lnTo>
                    <a:pt x="942883" y="1159912"/>
                  </a:lnTo>
                  <a:lnTo>
                    <a:pt x="945529" y="1161765"/>
                  </a:lnTo>
                  <a:lnTo>
                    <a:pt x="948175" y="1163882"/>
                  </a:lnTo>
                  <a:lnTo>
                    <a:pt x="950821" y="1166265"/>
                  </a:lnTo>
                  <a:lnTo>
                    <a:pt x="953468" y="1168647"/>
                  </a:lnTo>
                  <a:lnTo>
                    <a:pt x="955585" y="1171559"/>
                  </a:lnTo>
                  <a:lnTo>
                    <a:pt x="957967" y="1174470"/>
                  </a:lnTo>
                  <a:lnTo>
                    <a:pt x="959819" y="1177911"/>
                  </a:lnTo>
                  <a:lnTo>
                    <a:pt x="961671" y="1181617"/>
                  </a:lnTo>
                  <a:lnTo>
                    <a:pt x="963524" y="1185588"/>
                  </a:lnTo>
                  <a:lnTo>
                    <a:pt x="964847" y="1189558"/>
                  </a:lnTo>
                  <a:lnTo>
                    <a:pt x="965905" y="1194058"/>
                  </a:lnTo>
                  <a:lnTo>
                    <a:pt x="966699" y="1198823"/>
                  </a:lnTo>
                  <a:lnTo>
                    <a:pt x="967229" y="1204117"/>
                  </a:lnTo>
                  <a:lnTo>
                    <a:pt x="967493" y="1209675"/>
                  </a:lnTo>
                  <a:lnTo>
                    <a:pt x="483482" y="1209675"/>
                  </a:lnTo>
                  <a:lnTo>
                    <a:pt x="484011" y="1206763"/>
                  </a:lnTo>
                  <a:lnTo>
                    <a:pt x="484011" y="1204117"/>
                  </a:lnTo>
                  <a:lnTo>
                    <a:pt x="484541" y="1200146"/>
                  </a:lnTo>
                  <a:lnTo>
                    <a:pt x="485334" y="1195646"/>
                  </a:lnTo>
                  <a:lnTo>
                    <a:pt x="486922" y="1190352"/>
                  </a:lnTo>
                  <a:lnTo>
                    <a:pt x="488775" y="1184793"/>
                  </a:lnTo>
                  <a:lnTo>
                    <a:pt x="491156" y="1179499"/>
                  </a:lnTo>
                  <a:lnTo>
                    <a:pt x="494332" y="1173676"/>
                  </a:lnTo>
                  <a:lnTo>
                    <a:pt x="496449" y="1170764"/>
                  </a:lnTo>
                  <a:lnTo>
                    <a:pt x="498566" y="1168117"/>
                  </a:lnTo>
                  <a:lnTo>
                    <a:pt x="500683" y="1165735"/>
                  </a:lnTo>
                  <a:lnTo>
                    <a:pt x="503329" y="1163353"/>
                  </a:lnTo>
                  <a:lnTo>
                    <a:pt x="506240" y="1160706"/>
                  </a:lnTo>
                  <a:lnTo>
                    <a:pt x="509151" y="1158588"/>
                  </a:lnTo>
                  <a:lnTo>
                    <a:pt x="512592" y="1156471"/>
                  </a:lnTo>
                  <a:lnTo>
                    <a:pt x="516296" y="1154618"/>
                  </a:lnTo>
                  <a:lnTo>
                    <a:pt x="520001" y="1153030"/>
                  </a:lnTo>
                  <a:lnTo>
                    <a:pt x="524235" y="1151706"/>
                  </a:lnTo>
                  <a:lnTo>
                    <a:pt x="528734" y="1150383"/>
                  </a:lnTo>
                  <a:lnTo>
                    <a:pt x="533497" y="1149853"/>
                  </a:lnTo>
                  <a:lnTo>
                    <a:pt x="538525" y="1149059"/>
                  </a:lnTo>
                  <a:lnTo>
                    <a:pt x="544083" y="1149059"/>
                  </a:lnTo>
                  <a:lnTo>
                    <a:pt x="604683" y="1149059"/>
                  </a:lnTo>
                  <a:lnTo>
                    <a:pt x="604683" y="907124"/>
                  </a:lnTo>
                  <a:lnTo>
                    <a:pt x="120672" y="907124"/>
                  </a:lnTo>
                  <a:lnTo>
                    <a:pt x="114585" y="907124"/>
                  </a:lnTo>
                  <a:lnTo>
                    <a:pt x="108499" y="906330"/>
                  </a:lnTo>
                  <a:lnTo>
                    <a:pt x="102412" y="905536"/>
                  </a:lnTo>
                  <a:lnTo>
                    <a:pt x="96590" y="904477"/>
                  </a:lnTo>
                  <a:lnTo>
                    <a:pt x="90769" y="903418"/>
                  </a:lnTo>
                  <a:lnTo>
                    <a:pt x="84947" y="901565"/>
                  </a:lnTo>
                  <a:lnTo>
                    <a:pt x="79389" y="899713"/>
                  </a:lnTo>
                  <a:lnTo>
                    <a:pt x="73832" y="897595"/>
                  </a:lnTo>
                  <a:lnTo>
                    <a:pt x="68539" y="895213"/>
                  </a:lnTo>
                  <a:lnTo>
                    <a:pt x="63511" y="892301"/>
                  </a:lnTo>
                  <a:lnTo>
                    <a:pt x="58219" y="889389"/>
                  </a:lnTo>
                  <a:lnTo>
                    <a:pt x="53455" y="886213"/>
                  </a:lnTo>
                  <a:lnTo>
                    <a:pt x="48427" y="883036"/>
                  </a:lnTo>
                  <a:lnTo>
                    <a:pt x="43929" y="879331"/>
                  </a:lnTo>
                  <a:lnTo>
                    <a:pt x="39695" y="875625"/>
                  </a:lnTo>
                  <a:lnTo>
                    <a:pt x="35461" y="871654"/>
                  </a:lnTo>
                  <a:lnTo>
                    <a:pt x="31491" y="867419"/>
                  </a:lnTo>
                  <a:lnTo>
                    <a:pt x="27786" y="862655"/>
                  </a:lnTo>
                  <a:lnTo>
                    <a:pt x="24081" y="858155"/>
                  </a:lnTo>
                  <a:lnTo>
                    <a:pt x="20641" y="853655"/>
                  </a:lnTo>
                  <a:lnTo>
                    <a:pt x="17466" y="848626"/>
                  </a:lnTo>
                  <a:lnTo>
                    <a:pt x="14555" y="843596"/>
                  </a:lnTo>
                  <a:lnTo>
                    <a:pt x="11908" y="838302"/>
                  </a:lnTo>
                  <a:lnTo>
                    <a:pt x="9527" y="833008"/>
                  </a:lnTo>
                  <a:lnTo>
                    <a:pt x="7410" y="827714"/>
                  </a:lnTo>
                  <a:lnTo>
                    <a:pt x="5557" y="821891"/>
                  </a:lnTo>
                  <a:lnTo>
                    <a:pt x="3705" y="816068"/>
                  </a:lnTo>
                  <a:lnTo>
                    <a:pt x="2382" y="810244"/>
                  </a:lnTo>
                  <a:lnTo>
                    <a:pt x="1323" y="804421"/>
                  </a:lnTo>
                  <a:lnTo>
                    <a:pt x="529" y="798333"/>
                  </a:lnTo>
                  <a:lnTo>
                    <a:pt x="0" y="792245"/>
                  </a:lnTo>
                  <a:lnTo>
                    <a:pt x="0" y="785892"/>
                  </a:lnTo>
                  <a:lnTo>
                    <a:pt x="0" y="120703"/>
                  </a:lnTo>
                  <a:lnTo>
                    <a:pt x="0" y="114615"/>
                  </a:lnTo>
                  <a:lnTo>
                    <a:pt x="529" y="108527"/>
                  </a:lnTo>
                  <a:lnTo>
                    <a:pt x="1323" y="102438"/>
                  </a:lnTo>
                  <a:lnTo>
                    <a:pt x="2382" y="96615"/>
                  </a:lnTo>
                  <a:lnTo>
                    <a:pt x="3705" y="90792"/>
                  </a:lnTo>
                  <a:lnTo>
                    <a:pt x="5557" y="84968"/>
                  </a:lnTo>
                  <a:lnTo>
                    <a:pt x="7410" y="79145"/>
                  </a:lnTo>
                  <a:lnTo>
                    <a:pt x="9527" y="73586"/>
                  </a:lnTo>
                  <a:lnTo>
                    <a:pt x="11908" y="68557"/>
                  </a:lnTo>
                  <a:lnTo>
                    <a:pt x="14555" y="63263"/>
                  </a:lnTo>
                  <a:lnTo>
                    <a:pt x="17466" y="58234"/>
                  </a:lnTo>
                  <a:lnTo>
                    <a:pt x="20641" y="53204"/>
                  </a:lnTo>
                  <a:lnTo>
                    <a:pt x="24081" y="48705"/>
                  </a:lnTo>
                  <a:lnTo>
                    <a:pt x="27786" y="44205"/>
                  </a:lnTo>
                  <a:lnTo>
                    <a:pt x="31491" y="39440"/>
                  </a:lnTo>
                  <a:lnTo>
                    <a:pt x="35461" y="35205"/>
                  </a:lnTo>
                  <a:lnTo>
                    <a:pt x="39695" y="31234"/>
                  </a:lnTo>
                  <a:lnTo>
                    <a:pt x="43929" y="27529"/>
                  </a:lnTo>
                  <a:lnTo>
                    <a:pt x="48427" y="24087"/>
                  </a:lnTo>
                  <a:lnTo>
                    <a:pt x="53455" y="20646"/>
                  </a:lnTo>
                  <a:lnTo>
                    <a:pt x="58219" y="17205"/>
                  </a:lnTo>
                  <a:lnTo>
                    <a:pt x="63511" y="14558"/>
                  </a:lnTo>
                  <a:lnTo>
                    <a:pt x="68539" y="11911"/>
                  </a:lnTo>
                  <a:lnTo>
                    <a:pt x="73832" y="9264"/>
                  </a:lnTo>
                  <a:lnTo>
                    <a:pt x="79389" y="7147"/>
                  </a:lnTo>
                  <a:lnTo>
                    <a:pt x="84947" y="5294"/>
                  </a:lnTo>
                  <a:lnTo>
                    <a:pt x="90769" y="3441"/>
                  </a:lnTo>
                  <a:lnTo>
                    <a:pt x="96590" y="2382"/>
                  </a:lnTo>
                  <a:lnTo>
                    <a:pt x="102412" y="1059"/>
                  </a:lnTo>
                  <a:lnTo>
                    <a:pt x="108499" y="529"/>
                  </a:lnTo>
                  <a:lnTo>
                    <a:pt x="114585" y="0"/>
                  </a:lnTo>
                  <a:close/>
                </a:path>
              </a:pathLst>
            </a:custGeom>
            <a:solidFill>
              <a:schemeClr val="accent3"/>
            </a:solidFill>
            <a:ln>
              <a:noFill/>
            </a:ln>
          </p:spPr>
          <p:txBody>
            <a:bodyPr bIns="432000" anchor="ctr">
              <a:scene3d>
                <a:camera prst="orthographicFront"/>
                <a:lightRig rig="threePt" dir="t"/>
              </a:scene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sz="1200">
                <a:solidFill>
                  <a:schemeClr val="bg1">
                    <a:lumMod val="50000"/>
                  </a:schemeClr>
                </a:solidFill>
                <a:latin typeface="Calibri Light" panose="020f0302020204030204" charset="0"/>
              </a:endParaRPr>
            </a:p>
          </p:txBody>
        </p:sp>
        <p:sp>
          <p:nvSpPr>
            <p:cNvPr id="18" name="文本框 17"/>
            <p:cNvSpPr txBox="1"/>
            <p:nvPr/>
          </p:nvSpPr>
          <p:spPr>
            <a:xfrm>
              <a:off x="6806335" y="2982533"/>
              <a:ext cx="4394967" cy="618717"/>
            </a:xfrm>
            <a:prstGeom prst="rect">
              <a:avLst/>
            </a:prstGeom>
            <a:noFill/>
          </p:spPr>
          <p:txBody>
            <a:bodyPr wrap="square" rtlCol="0">
              <a:spAutoFit/>
            </a:bodyPr>
            <a:lstStyle/>
            <a:p>
              <a:pPr>
                <a:lnSpc>
                  <a:spcPct val="130000"/>
                </a:lnSpc>
              </a:pPr>
              <a:r>
                <a:rPr lang="en-US" altLang="zh-CN" sz="1000">
                  <a:solidFill>
                    <a:schemeClr val="bg1">
                      <a:lumMod val="50000"/>
                    </a:schemeClr>
                  </a:solidFill>
                  <a:latin typeface="黑体" panose="02010609060101010101" charset="-122"/>
                  <a:ea typeface="黑体" panose="02010609060101010101" charset="-122"/>
                </a:rPr>
                <a:t>请在此粘贴或者输入您的文字内容请在此粘贴或者输入您的文字内容请在此粘贴或者输入您的文字内容</a:t>
              </a:r>
              <a:endParaRPr lang="en-US" altLang="zh-CN" sz="1000">
                <a:solidFill>
                  <a:schemeClr val="bg1">
                    <a:lumMod val="50000"/>
                  </a:schemeClr>
                </a:solidFill>
                <a:latin typeface="黑体" panose="02010609060101010101" charset="-122"/>
                <a:ea typeface="黑体" panose="02010609060101010101" charset="-122"/>
              </a:endParaRPr>
            </a:p>
          </p:txBody>
        </p:sp>
        <p:sp>
          <p:nvSpPr>
            <p:cNvPr id="21" name="KSO_Shape"/>
            <p:cNvSpPr/>
            <p:nvPr/>
          </p:nvSpPr>
          <p:spPr bwMode="auto">
            <a:xfrm>
              <a:off x="6835149" y="3796025"/>
              <a:ext cx="541010" cy="405758"/>
            </a:xfrm>
            <a:custGeom>
              <a:rect l="0" t="0" r="r" b="b"/>
              <a:pathLst>
                <a:path w="1166813" h="874713">
                  <a:moveTo>
                    <a:pt x="631825" y="339725"/>
                  </a:moveTo>
                  <a:lnTo>
                    <a:pt x="639247" y="339990"/>
                  </a:lnTo>
                  <a:lnTo>
                    <a:pt x="646669" y="340520"/>
                  </a:lnTo>
                  <a:lnTo>
                    <a:pt x="654090" y="341314"/>
                  </a:lnTo>
                  <a:lnTo>
                    <a:pt x="661247" y="342638"/>
                  </a:lnTo>
                  <a:lnTo>
                    <a:pt x="668404" y="344227"/>
                  </a:lnTo>
                  <a:lnTo>
                    <a:pt x="675296" y="346081"/>
                  </a:lnTo>
                  <a:lnTo>
                    <a:pt x="681922" y="348729"/>
                  </a:lnTo>
                  <a:lnTo>
                    <a:pt x="688814" y="351377"/>
                  </a:lnTo>
                  <a:lnTo>
                    <a:pt x="695175" y="354026"/>
                  </a:lnTo>
                  <a:lnTo>
                    <a:pt x="701537" y="357204"/>
                  </a:lnTo>
                  <a:lnTo>
                    <a:pt x="707633" y="360646"/>
                  </a:lnTo>
                  <a:lnTo>
                    <a:pt x="713465" y="364619"/>
                  </a:lnTo>
                  <a:lnTo>
                    <a:pt x="719296" y="368856"/>
                  </a:lnTo>
                  <a:lnTo>
                    <a:pt x="724862" y="373093"/>
                  </a:lnTo>
                  <a:lnTo>
                    <a:pt x="730164" y="377595"/>
                  </a:lnTo>
                  <a:lnTo>
                    <a:pt x="735200" y="382362"/>
                  </a:lnTo>
                  <a:lnTo>
                    <a:pt x="739971" y="387658"/>
                  </a:lnTo>
                  <a:lnTo>
                    <a:pt x="744742" y="392955"/>
                  </a:lnTo>
                  <a:lnTo>
                    <a:pt x="748983" y="398251"/>
                  </a:lnTo>
                  <a:lnTo>
                    <a:pt x="752959" y="404077"/>
                  </a:lnTo>
                  <a:lnTo>
                    <a:pt x="756670" y="409903"/>
                  </a:lnTo>
                  <a:lnTo>
                    <a:pt x="760116" y="415994"/>
                  </a:lnTo>
                  <a:lnTo>
                    <a:pt x="763562" y="422615"/>
                  </a:lnTo>
                  <a:lnTo>
                    <a:pt x="766477" y="428971"/>
                  </a:lnTo>
                  <a:lnTo>
                    <a:pt x="769128" y="435326"/>
                  </a:lnTo>
                  <a:lnTo>
                    <a:pt x="771514" y="442477"/>
                  </a:lnTo>
                  <a:lnTo>
                    <a:pt x="773369" y="449097"/>
                  </a:lnTo>
                  <a:lnTo>
                    <a:pt x="774959" y="456247"/>
                  </a:lnTo>
                  <a:lnTo>
                    <a:pt x="776285" y="463663"/>
                  </a:lnTo>
                  <a:lnTo>
                    <a:pt x="777080" y="470813"/>
                  </a:lnTo>
                  <a:lnTo>
                    <a:pt x="777610" y="478228"/>
                  </a:lnTo>
                  <a:lnTo>
                    <a:pt x="777875" y="485643"/>
                  </a:lnTo>
                  <a:lnTo>
                    <a:pt x="777610" y="493058"/>
                  </a:lnTo>
                  <a:lnTo>
                    <a:pt x="777080" y="500738"/>
                  </a:lnTo>
                  <a:lnTo>
                    <a:pt x="776285" y="507888"/>
                  </a:lnTo>
                  <a:lnTo>
                    <a:pt x="774959" y="515303"/>
                  </a:lnTo>
                  <a:lnTo>
                    <a:pt x="773369" y="522188"/>
                  </a:lnTo>
                  <a:lnTo>
                    <a:pt x="771514" y="529074"/>
                  </a:lnTo>
                  <a:lnTo>
                    <a:pt x="769128" y="535959"/>
                  </a:lnTo>
                  <a:lnTo>
                    <a:pt x="766477" y="542580"/>
                  </a:lnTo>
                  <a:lnTo>
                    <a:pt x="763562" y="548936"/>
                  </a:lnTo>
                  <a:lnTo>
                    <a:pt x="760116" y="555291"/>
                  </a:lnTo>
                  <a:lnTo>
                    <a:pt x="756670" y="561382"/>
                  </a:lnTo>
                  <a:lnTo>
                    <a:pt x="752959" y="567208"/>
                  </a:lnTo>
                  <a:lnTo>
                    <a:pt x="748983" y="573034"/>
                  </a:lnTo>
                  <a:lnTo>
                    <a:pt x="744742" y="578596"/>
                  </a:lnTo>
                  <a:lnTo>
                    <a:pt x="739971" y="583892"/>
                  </a:lnTo>
                  <a:lnTo>
                    <a:pt x="735200" y="588659"/>
                  </a:lnTo>
                  <a:lnTo>
                    <a:pt x="730164" y="593691"/>
                  </a:lnTo>
                  <a:lnTo>
                    <a:pt x="724862" y="598458"/>
                  </a:lnTo>
                  <a:lnTo>
                    <a:pt x="719296" y="602695"/>
                  </a:lnTo>
                  <a:lnTo>
                    <a:pt x="713465" y="606667"/>
                  </a:lnTo>
                  <a:lnTo>
                    <a:pt x="707633" y="610639"/>
                  </a:lnTo>
                  <a:lnTo>
                    <a:pt x="701537" y="614082"/>
                  </a:lnTo>
                  <a:lnTo>
                    <a:pt x="695175" y="617260"/>
                  </a:lnTo>
                  <a:lnTo>
                    <a:pt x="688814" y="620173"/>
                  </a:lnTo>
                  <a:lnTo>
                    <a:pt x="681922" y="622821"/>
                  </a:lnTo>
                  <a:lnTo>
                    <a:pt x="675296" y="624940"/>
                  </a:lnTo>
                  <a:lnTo>
                    <a:pt x="668404" y="626794"/>
                  </a:lnTo>
                  <a:lnTo>
                    <a:pt x="661247" y="628912"/>
                  </a:lnTo>
                  <a:lnTo>
                    <a:pt x="654090" y="629971"/>
                  </a:lnTo>
                  <a:lnTo>
                    <a:pt x="646669" y="631031"/>
                  </a:lnTo>
                  <a:lnTo>
                    <a:pt x="639247" y="631560"/>
                  </a:lnTo>
                  <a:lnTo>
                    <a:pt x="631825" y="631825"/>
                  </a:lnTo>
                  <a:lnTo>
                    <a:pt x="624403" y="631560"/>
                  </a:lnTo>
                  <a:lnTo>
                    <a:pt x="616982" y="631031"/>
                  </a:lnTo>
                  <a:lnTo>
                    <a:pt x="609560" y="629971"/>
                  </a:lnTo>
                  <a:lnTo>
                    <a:pt x="602403" y="628912"/>
                  </a:lnTo>
                  <a:lnTo>
                    <a:pt x="595511" y="626794"/>
                  </a:lnTo>
                  <a:lnTo>
                    <a:pt x="588355" y="624940"/>
                  </a:lnTo>
                  <a:lnTo>
                    <a:pt x="581728" y="622821"/>
                  </a:lnTo>
                  <a:lnTo>
                    <a:pt x="575102" y="620173"/>
                  </a:lnTo>
                  <a:lnTo>
                    <a:pt x="568475" y="617260"/>
                  </a:lnTo>
                  <a:lnTo>
                    <a:pt x="562378" y="614082"/>
                  </a:lnTo>
                  <a:lnTo>
                    <a:pt x="556282" y="610639"/>
                  </a:lnTo>
                  <a:lnTo>
                    <a:pt x="550186" y="606667"/>
                  </a:lnTo>
                  <a:lnTo>
                    <a:pt x="544619" y="602695"/>
                  </a:lnTo>
                  <a:lnTo>
                    <a:pt x="539053" y="598458"/>
                  </a:lnTo>
                  <a:lnTo>
                    <a:pt x="533487" y="593691"/>
                  </a:lnTo>
                  <a:lnTo>
                    <a:pt x="528450" y="588659"/>
                  </a:lnTo>
                  <a:lnTo>
                    <a:pt x="523679" y="583892"/>
                  </a:lnTo>
                  <a:lnTo>
                    <a:pt x="519173" y="578596"/>
                  </a:lnTo>
                  <a:lnTo>
                    <a:pt x="514667" y="573034"/>
                  </a:lnTo>
                  <a:lnTo>
                    <a:pt x="510691" y="567208"/>
                  </a:lnTo>
                  <a:lnTo>
                    <a:pt x="506980" y="561382"/>
                  </a:lnTo>
                  <a:lnTo>
                    <a:pt x="503534" y="555291"/>
                  </a:lnTo>
                  <a:lnTo>
                    <a:pt x="500354" y="548936"/>
                  </a:lnTo>
                  <a:lnTo>
                    <a:pt x="497438" y="542580"/>
                  </a:lnTo>
                  <a:lnTo>
                    <a:pt x="494522" y="535959"/>
                  </a:lnTo>
                  <a:lnTo>
                    <a:pt x="492402" y="529074"/>
                  </a:lnTo>
                  <a:lnTo>
                    <a:pt x="490281" y="522188"/>
                  </a:lnTo>
                  <a:lnTo>
                    <a:pt x="488691" y="515303"/>
                  </a:lnTo>
                  <a:lnTo>
                    <a:pt x="487366" y="507888"/>
                  </a:lnTo>
                  <a:lnTo>
                    <a:pt x="486570" y="500738"/>
                  </a:lnTo>
                  <a:lnTo>
                    <a:pt x="486040" y="493058"/>
                  </a:lnTo>
                  <a:lnTo>
                    <a:pt x="485775" y="485643"/>
                  </a:lnTo>
                  <a:lnTo>
                    <a:pt x="486040" y="478228"/>
                  </a:lnTo>
                  <a:lnTo>
                    <a:pt x="486570" y="470813"/>
                  </a:lnTo>
                  <a:lnTo>
                    <a:pt x="487366" y="463663"/>
                  </a:lnTo>
                  <a:lnTo>
                    <a:pt x="488691" y="456247"/>
                  </a:lnTo>
                  <a:lnTo>
                    <a:pt x="490281" y="449097"/>
                  </a:lnTo>
                  <a:lnTo>
                    <a:pt x="492402" y="442477"/>
                  </a:lnTo>
                  <a:lnTo>
                    <a:pt x="494522" y="435326"/>
                  </a:lnTo>
                  <a:lnTo>
                    <a:pt x="497438" y="428971"/>
                  </a:lnTo>
                  <a:lnTo>
                    <a:pt x="500354" y="422615"/>
                  </a:lnTo>
                  <a:lnTo>
                    <a:pt x="503534" y="415994"/>
                  </a:lnTo>
                  <a:lnTo>
                    <a:pt x="506980" y="409903"/>
                  </a:lnTo>
                  <a:lnTo>
                    <a:pt x="510691" y="404077"/>
                  </a:lnTo>
                  <a:lnTo>
                    <a:pt x="514667" y="398251"/>
                  </a:lnTo>
                  <a:lnTo>
                    <a:pt x="519173" y="392955"/>
                  </a:lnTo>
                  <a:lnTo>
                    <a:pt x="523679" y="387658"/>
                  </a:lnTo>
                  <a:lnTo>
                    <a:pt x="528450" y="382362"/>
                  </a:lnTo>
                  <a:lnTo>
                    <a:pt x="533487" y="377595"/>
                  </a:lnTo>
                  <a:lnTo>
                    <a:pt x="539053" y="373093"/>
                  </a:lnTo>
                  <a:lnTo>
                    <a:pt x="544619" y="368856"/>
                  </a:lnTo>
                  <a:lnTo>
                    <a:pt x="550186" y="364619"/>
                  </a:lnTo>
                  <a:lnTo>
                    <a:pt x="556282" y="360646"/>
                  </a:lnTo>
                  <a:lnTo>
                    <a:pt x="562378" y="357204"/>
                  </a:lnTo>
                  <a:lnTo>
                    <a:pt x="568475" y="354026"/>
                  </a:lnTo>
                  <a:lnTo>
                    <a:pt x="575102" y="351377"/>
                  </a:lnTo>
                  <a:lnTo>
                    <a:pt x="581728" y="348729"/>
                  </a:lnTo>
                  <a:lnTo>
                    <a:pt x="588355" y="346081"/>
                  </a:lnTo>
                  <a:lnTo>
                    <a:pt x="595511" y="344227"/>
                  </a:lnTo>
                  <a:lnTo>
                    <a:pt x="602403" y="342638"/>
                  </a:lnTo>
                  <a:lnTo>
                    <a:pt x="609560" y="341314"/>
                  </a:lnTo>
                  <a:lnTo>
                    <a:pt x="616982" y="340520"/>
                  </a:lnTo>
                  <a:lnTo>
                    <a:pt x="624403" y="339990"/>
                  </a:lnTo>
                  <a:lnTo>
                    <a:pt x="631825" y="339725"/>
                  </a:lnTo>
                  <a:close/>
                  <a:moveTo>
                    <a:pt x="992942" y="242814"/>
                  </a:moveTo>
                  <a:lnTo>
                    <a:pt x="989237" y="243079"/>
                  </a:lnTo>
                  <a:lnTo>
                    <a:pt x="985797" y="243608"/>
                  </a:lnTo>
                  <a:lnTo>
                    <a:pt x="981827" y="244137"/>
                  </a:lnTo>
                  <a:lnTo>
                    <a:pt x="978387" y="244930"/>
                  </a:lnTo>
                  <a:lnTo>
                    <a:pt x="974947" y="245988"/>
                  </a:lnTo>
                  <a:lnTo>
                    <a:pt x="971506" y="247046"/>
                  </a:lnTo>
                  <a:lnTo>
                    <a:pt x="968331" y="248369"/>
                  </a:lnTo>
                  <a:lnTo>
                    <a:pt x="964890" y="249956"/>
                  </a:lnTo>
                  <a:lnTo>
                    <a:pt x="961714" y="251543"/>
                  </a:lnTo>
                  <a:lnTo>
                    <a:pt x="958803" y="253395"/>
                  </a:lnTo>
                  <a:lnTo>
                    <a:pt x="955892" y="255246"/>
                  </a:lnTo>
                  <a:lnTo>
                    <a:pt x="952981" y="257362"/>
                  </a:lnTo>
                  <a:lnTo>
                    <a:pt x="950335" y="259478"/>
                  </a:lnTo>
                  <a:lnTo>
                    <a:pt x="947424" y="261594"/>
                  </a:lnTo>
                  <a:lnTo>
                    <a:pt x="945042" y="264239"/>
                  </a:lnTo>
                  <a:lnTo>
                    <a:pt x="942660" y="266620"/>
                  </a:lnTo>
                  <a:lnTo>
                    <a:pt x="940278" y="269265"/>
                  </a:lnTo>
                  <a:lnTo>
                    <a:pt x="938161" y="272174"/>
                  </a:lnTo>
                  <a:lnTo>
                    <a:pt x="936044" y="275084"/>
                  </a:lnTo>
                  <a:lnTo>
                    <a:pt x="934192" y="277993"/>
                  </a:lnTo>
                  <a:lnTo>
                    <a:pt x="932604" y="280903"/>
                  </a:lnTo>
                  <a:lnTo>
                    <a:pt x="931016" y="284077"/>
                  </a:lnTo>
                  <a:lnTo>
                    <a:pt x="929428" y="287251"/>
                  </a:lnTo>
                  <a:lnTo>
                    <a:pt x="927840" y="290425"/>
                  </a:lnTo>
                  <a:lnTo>
                    <a:pt x="926782" y="294128"/>
                  </a:lnTo>
                  <a:lnTo>
                    <a:pt x="925723" y="297567"/>
                  </a:lnTo>
                  <a:lnTo>
                    <a:pt x="924929" y="301005"/>
                  </a:lnTo>
                  <a:lnTo>
                    <a:pt x="924400" y="304444"/>
                  </a:lnTo>
                  <a:lnTo>
                    <a:pt x="923870" y="308147"/>
                  </a:lnTo>
                  <a:lnTo>
                    <a:pt x="923606" y="312114"/>
                  </a:lnTo>
                  <a:lnTo>
                    <a:pt x="923606" y="315817"/>
                  </a:lnTo>
                  <a:lnTo>
                    <a:pt x="923606" y="319520"/>
                  </a:lnTo>
                  <a:lnTo>
                    <a:pt x="923870" y="323223"/>
                  </a:lnTo>
                  <a:lnTo>
                    <a:pt x="924400" y="326662"/>
                  </a:lnTo>
                  <a:lnTo>
                    <a:pt x="924929" y="330630"/>
                  </a:lnTo>
                  <a:lnTo>
                    <a:pt x="925723" y="334068"/>
                  </a:lnTo>
                  <a:lnTo>
                    <a:pt x="926782" y="337242"/>
                  </a:lnTo>
                  <a:lnTo>
                    <a:pt x="927840" y="340681"/>
                  </a:lnTo>
                  <a:lnTo>
                    <a:pt x="929428" y="343855"/>
                  </a:lnTo>
                  <a:lnTo>
                    <a:pt x="931016" y="347293"/>
                  </a:lnTo>
                  <a:lnTo>
                    <a:pt x="932604" y="350467"/>
                  </a:lnTo>
                  <a:lnTo>
                    <a:pt x="934192" y="353377"/>
                  </a:lnTo>
                  <a:lnTo>
                    <a:pt x="936044" y="356286"/>
                  </a:lnTo>
                  <a:lnTo>
                    <a:pt x="938161" y="359196"/>
                  </a:lnTo>
                  <a:lnTo>
                    <a:pt x="940278" y="361841"/>
                  </a:lnTo>
                  <a:lnTo>
                    <a:pt x="942660" y="364486"/>
                  </a:lnTo>
                  <a:lnTo>
                    <a:pt x="945042" y="367131"/>
                  </a:lnTo>
                  <a:lnTo>
                    <a:pt x="947424" y="369512"/>
                  </a:lnTo>
                  <a:lnTo>
                    <a:pt x="950335" y="371892"/>
                  </a:lnTo>
                  <a:lnTo>
                    <a:pt x="952981" y="374008"/>
                  </a:lnTo>
                  <a:lnTo>
                    <a:pt x="955892" y="375860"/>
                  </a:lnTo>
                  <a:lnTo>
                    <a:pt x="958803" y="377711"/>
                  </a:lnTo>
                  <a:lnTo>
                    <a:pt x="961714" y="379563"/>
                  </a:lnTo>
                  <a:lnTo>
                    <a:pt x="964890" y="381150"/>
                  </a:lnTo>
                  <a:lnTo>
                    <a:pt x="968331" y="382472"/>
                  </a:lnTo>
                  <a:lnTo>
                    <a:pt x="971506" y="383795"/>
                  </a:lnTo>
                  <a:lnTo>
                    <a:pt x="974947" y="385117"/>
                  </a:lnTo>
                  <a:lnTo>
                    <a:pt x="978387" y="386175"/>
                  </a:lnTo>
                  <a:lnTo>
                    <a:pt x="981827" y="386969"/>
                  </a:lnTo>
                  <a:lnTo>
                    <a:pt x="985797" y="387498"/>
                  </a:lnTo>
                  <a:lnTo>
                    <a:pt x="989237" y="388027"/>
                  </a:lnTo>
                  <a:lnTo>
                    <a:pt x="992942" y="388291"/>
                  </a:lnTo>
                  <a:lnTo>
                    <a:pt x="996647" y="388291"/>
                  </a:lnTo>
                  <a:lnTo>
                    <a:pt x="1000352" y="388291"/>
                  </a:lnTo>
                  <a:lnTo>
                    <a:pt x="1004057" y="388027"/>
                  </a:lnTo>
                  <a:lnTo>
                    <a:pt x="1007762" y="387498"/>
                  </a:lnTo>
                  <a:lnTo>
                    <a:pt x="1011467" y="386969"/>
                  </a:lnTo>
                  <a:lnTo>
                    <a:pt x="1014908" y="386175"/>
                  </a:lnTo>
                  <a:lnTo>
                    <a:pt x="1018348" y="385117"/>
                  </a:lnTo>
                  <a:lnTo>
                    <a:pt x="1021524" y="383795"/>
                  </a:lnTo>
                  <a:lnTo>
                    <a:pt x="1025229" y="382472"/>
                  </a:lnTo>
                  <a:lnTo>
                    <a:pt x="1028405" y="381150"/>
                  </a:lnTo>
                  <a:lnTo>
                    <a:pt x="1031580" y="379563"/>
                  </a:lnTo>
                  <a:lnTo>
                    <a:pt x="1034491" y="377711"/>
                  </a:lnTo>
                  <a:lnTo>
                    <a:pt x="1037403" y="375860"/>
                  </a:lnTo>
                  <a:lnTo>
                    <a:pt x="1040314" y="374008"/>
                  </a:lnTo>
                  <a:lnTo>
                    <a:pt x="1043225" y="371892"/>
                  </a:lnTo>
                  <a:lnTo>
                    <a:pt x="1045871" y="369512"/>
                  </a:lnTo>
                  <a:lnTo>
                    <a:pt x="1048253" y="367131"/>
                  </a:lnTo>
                  <a:lnTo>
                    <a:pt x="1050635" y="364486"/>
                  </a:lnTo>
                  <a:lnTo>
                    <a:pt x="1053017" y="361841"/>
                  </a:lnTo>
                  <a:lnTo>
                    <a:pt x="1055134" y="359196"/>
                  </a:lnTo>
                  <a:lnTo>
                    <a:pt x="1057251" y="356286"/>
                  </a:lnTo>
                  <a:lnTo>
                    <a:pt x="1059103" y="353377"/>
                  </a:lnTo>
                  <a:lnTo>
                    <a:pt x="1060956" y="350467"/>
                  </a:lnTo>
                  <a:lnTo>
                    <a:pt x="1062544" y="347293"/>
                  </a:lnTo>
                  <a:lnTo>
                    <a:pt x="1064132" y="343855"/>
                  </a:lnTo>
                  <a:lnTo>
                    <a:pt x="1065455" y="340681"/>
                  </a:lnTo>
                  <a:lnTo>
                    <a:pt x="1066513" y="337242"/>
                  </a:lnTo>
                  <a:lnTo>
                    <a:pt x="1067572" y="334068"/>
                  </a:lnTo>
                  <a:lnTo>
                    <a:pt x="1068366" y="330630"/>
                  </a:lnTo>
                  <a:lnTo>
                    <a:pt x="1068895" y="326662"/>
                  </a:lnTo>
                  <a:lnTo>
                    <a:pt x="1069424" y="323223"/>
                  </a:lnTo>
                  <a:lnTo>
                    <a:pt x="1069689" y="319520"/>
                  </a:lnTo>
                  <a:lnTo>
                    <a:pt x="1069689" y="315817"/>
                  </a:lnTo>
                  <a:lnTo>
                    <a:pt x="1069689" y="312114"/>
                  </a:lnTo>
                  <a:lnTo>
                    <a:pt x="1069424" y="308147"/>
                  </a:lnTo>
                  <a:lnTo>
                    <a:pt x="1068895" y="304444"/>
                  </a:lnTo>
                  <a:lnTo>
                    <a:pt x="1068366" y="301005"/>
                  </a:lnTo>
                  <a:lnTo>
                    <a:pt x="1067572" y="297567"/>
                  </a:lnTo>
                  <a:lnTo>
                    <a:pt x="1066513" y="294128"/>
                  </a:lnTo>
                  <a:lnTo>
                    <a:pt x="1065455" y="290425"/>
                  </a:lnTo>
                  <a:lnTo>
                    <a:pt x="1064132" y="287251"/>
                  </a:lnTo>
                  <a:lnTo>
                    <a:pt x="1062544" y="284077"/>
                  </a:lnTo>
                  <a:lnTo>
                    <a:pt x="1060956" y="280903"/>
                  </a:lnTo>
                  <a:lnTo>
                    <a:pt x="1059103" y="277993"/>
                  </a:lnTo>
                  <a:lnTo>
                    <a:pt x="1057251" y="275084"/>
                  </a:lnTo>
                  <a:lnTo>
                    <a:pt x="1055134" y="272174"/>
                  </a:lnTo>
                  <a:lnTo>
                    <a:pt x="1053017" y="269265"/>
                  </a:lnTo>
                  <a:lnTo>
                    <a:pt x="1050635" y="266620"/>
                  </a:lnTo>
                  <a:lnTo>
                    <a:pt x="1048253" y="264239"/>
                  </a:lnTo>
                  <a:lnTo>
                    <a:pt x="1045871" y="261594"/>
                  </a:lnTo>
                  <a:lnTo>
                    <a:pt x="1043225" y="259478"/>
                  </a:lnTo>
                  <a:lnTo>
                    <a:pt x="1040314" y="257362"/>
                  </a:lnTo>
                  <a:lnTo>
                    <a:pt x="1037403" y="255246"/>
                  </a:lnTo>
                  <a:lnTo>
                    <a:pt x="1034491" y="253395"/>
                  </a:lnTo>
                  <a:lnTo>
                    <a:pt x="1031580" y="251543"/>
                  </a:lnTo>
                  <a:lnTo>
                    <a:pt x="1028405" y="249956"/>
                  </a:lnTo>
                  <a:lnTo>
                    <a:pt x="1025229" y="248369"/>
                  </a:lnTo>
                  <a:lnTo>
                    <a:pt x="1021524" y="247046"/>
                  </a:lnTo>
                  <a:lnTo>
                    <a:pt x="1018348" y="245988"/>
                  </a:lnTo>
                  <a:lnTo>
                    <a:pt x="1014908" y="244930"/>
                  </a:lnTo>
                  <a:lnTo>
                    <a:pt x="1011467" y="244137"/>
                  </a:lnTo>
                  <a:lnTo>
                    <a:pt x="1007762" y="243608"/>
                  </a:lnTo>
                  <a:lnTo>
                    <a:pt x="1004057" y="243079"/>
                  </a:lnTo>
                  <a:lnTo>
                    <a:pt x="1000352" y="242814"/>
                  </a:lnTo>
                  <a:lnTo>
                    <a:pt x="996647" y="242814"/>
                  </a:lnTo>
                  <a:lnTo>
                    <a:pt x="992942" y="242814"/>
                  </a:lnTo>
                  <a:close/>
                  <a:moveTo>
                    <a:pt x="632233" y="242814"/>
                  </a:moveTo>
                  <a:lnTo>
                    <a:pt x="619795" y="243079"/>
                  </a:lnTo>
                  <a:lnTo>
                    <a:pt x="607357" y="243872"/>
                  </a:lnTo>
                  <a:lnTo>
                    <a:pt x="595183" y="245459"/>
                  </a:lnTo>
                  <a:lnTo>
                    <a:pt x="583274" y="247575"/>
                  </a:lnTo>
                  <a:lnTo>
                    <a:pt x="571365" y="250221"/>
                  </a:lnTo>
                  <a:lnTo>
                    <a:pt x="559986" y="253659"/>
                  </a:lnTo>
                  <a:lnTo>
                    <a:pt x="548606" y="257627"/>
                  </a:lnTo>
                  <a:lnTo>
                    <a:pt x="537756" y="261859"/>
                  </a:lnTo>
                  <a:lnTo>
                    <a:pt x="526905" y="266620"/>
                  </a:lnTo>
                  <a:lnTo>
                    <a:pt x="516055" y="272174"/>
                  </a:lnTo>
                  <a:lnTo>
                    <a:pt x="505998" y="277993"/>
                  </a:lnTo>
                  <a:lnTo>
                    <a:pt x="496207" y="284077"/>
                  </a:lnTo>
                  <a:lnTo>
                    <a:pt x="486679" y="291219"/>
                  </a:lnTo>
                  <a:lnTo>
                    <a:pt x="477417" y="298360"/>
                  </a:lnTo>
                  <a:lnTo>
                    <a:pt x="468684" y="305766"/>
                  </a:lnTo>
                  <a:lnTo>
                    <a:pt x="460480" y="313966"/>
                  </a:lnTo>
                  <a:lnTo>
                    <a:pt x="452276" y="322165"/>
                  </a:lnTo>
                  <a:lnTo>
                    <a:pt x="444601" y="331159"/>
                  </a:lnTo>
                  <a:lnTo>
                    <a:pt x="437191" y="340152"/>
                  </a:lnTo>
                  <a:lnTo>
                    <a:pt x="430575" y="349938"/>
                  </a:lnTo>
                  <a:lnTo>
                    <a:pt x="424224" y="359725"/>
                  </a:lnTo>
                  <a:lnTo>
                    <a:pt x="418401" y="369776"/>
                  </a:lnTo>
                  <a:lnTo>
                    <a:pt x="413109" y="380092"/>
                  </a:lnTo>
                  <a:lnTo>
                    <a:pt x="408080" y="390936"/>
                  </a:lnTo>
                  <a:lnTo>
                    <a:pt x="403846" y="402046"/>
                  </a:lnTo>
                  <a:lnTo>
                    <a:pt x="399876" y="413419"/>
                  </a:lnTo>
                  <a:lnTo>
                    <a:pt x="396701" y="424793"/>
                  </a:lnTo>
                  <a:lnTo>
                    <a:pt x="394054" y="436431"/>
                  </a:lnTo>
                  <a:lnTo>
                    <a:pt x="391937" y="448598"/>
                  </a:lnTo>
                  <a:lnTo>
                    <a:pt x="390349" y="460765"/>
                  </a:lnTo>
                  <a:lnTo>
                    <a:pt x="389291" y="472932"/>
                  </a:lnTo>
                  <a:lnTo>
                    <a:pt x="389026" y="485364"/>
                  </a:lnTo>
                  <a:lnTo>
                    <a:pt x="389291" y="498060"/>
                  </a:lnTo>
                  <a:lnTo>
                    <a:pt x="390349" y="510227"/>
                  </a:lnTo>
                  <a:lnTo>
                    <a:pt x="391937" y="522395"/>
                  </a:lnTo>
                  <a:lnTo>
                    <a:pt x="394054" y="534562"/>
                  </a:lnTo>
                  <a:lnTo>
                    <a:pt x="396701" y="546200"/>
                  </a:lnTo>
                  <a:lnTo>
                    <a:pt x="399876" y="557838"/>
                  </a:lnTo>
                  <a:lnTo>
                    <a:pt x="403846" y="568947"/>
                  </a:lnTo>
                  <a:lnTo>
                    <a:pt x="408080" y="580056"/>
                  </a:lnTo>
                  <a:lnTo>
                    <a:pt x="413109" y="590901"/>
                  </a:lnTo>
                  <a:lnTo>
                    <a:pt x="418401" y="601217"/>
                  </a:lnTo>
                  <a:lnTo>
                    <a:pt x="424224" y="611532"/>
                  </a:lnTo>
                  <a:lnTo>
                    <a:pt x="430575" y="621319"/>
                  </a:lnTo>
                  <a:lnTo>
                    <a:pt x="437191" y="630841"/>
                  </a:lnTo>
                  <a:lnTo>
                    <a:pt x="444601" y="640099"/>
                  </a:lnTo>
                  <a:lnTo>
                    <a:pt x="452276" y="648827"/>
                  </a:lnTo>
                  <a:lnTo>
                    <a:pt x="460480" y="657291"/>
                  </a:lnTo>
                  <a:lnTo>
                    <a:pt x="468684" y="665491"/>
                  </a:lnTo>
                  <a:lnTo>
                    <a:pt x="477417" y="672897"/>
                  </a:lnTo>
                  <a:lnTo>
                    <a:pt x="486679" y="680039"/>
                  </a:lnTo>
                  <a:lnTo>
                    <a:pt x="496207" y="687180"/>
                  </a:lnTo>
                  <a:lnTo>
                    <a:pt x="505998" y="693264"/>
                  </a:lnTo>
                  <a:lnTo>
                    <a:pt x="516055" y="699083"/>
                  </a:lnTo>
                  <a:lnTo>
                    <a:pt x="526905" y="704637"/>
                  </a:lnTo>
                  <a:lnTo>
                    <a:pt x="537756" y="709399"/>
                  </a:lnTo>
                  <a:lnTo>
                    <a:pt x="548606" y="713631"/>
                  </a:lnTo>
                  <a:lnTo>
                    <a:pt x="559986" y="717598"/>
                  </a:lnTo>
                  <a:lnTo>
                    <a:pt x="571365" y="721037"/>
                  </a:lnTo>
                  <a:lnTo>
                    <a:pt x="583274" y="723682"/>
                  </a:lnTo>
                  <a:lnTo>
                    <a:pt x="595183" y="725798"/>
                  </a:lnTo>
                  <a:lnTo>
                    <a:pt x="607357" y="727385"/>
                  </a:lnTo>
                  <a:lnTo>
                    <a:pt x="619795" y="728178"/>
                  </a:lnTo>
                  <a:lnTo>
                    <a:pt x="632233" y="728443"/>
                  </a:lnTo>
                  <a:lnTo>
                    <a:pt x="644672" y="728178"/>
                  </a:lnTo>
                  <a:lnTo>
                    <a:pt x="657110" y="727385"/>
                  </a:lnTo>
                  <a:lnTo>
                    <a:pt x="669283" y="725798"/>
                  </a:lnTo>
                  <a:lnTo>
                    <a:pt x="681192" y="723682"/>
                  </a:lnTo>
                  <a:lnTo>
                    <a:pt x="693101" y="721037"/>
                  </a:lnTo>
                  <a:lnTo>
                    <a:pt x="704746" y="717598"/>
                  </a:lnTo>
                  <a:lnTo>
                    <a:pt x="715861" y="713631"/>
                  </a:lnTo>
                  <a:lnTo>
                    <a:pt x="726976" y="709399"/>
                  </a:lnTo>
                  <a:lnTo>
                    <a:pt x="737561" y="704637"/>
                  </a:lnTo>
                  <a:lnTo>
                    <a:pt x="748147" y="699083"/>
                  </a:lnTo>
                  <a:lnTo>
                    <a:pt x="758204" y="693264"/>
                  </a:lnTo>
                  <a:lnTo>
                    <a:pt x="767995" y="687180"/>
                  </a:lnTo>
                  <a:lnTo>
                    <a:pt x="777523" y="680039"/>
                  </a:lnTo>
                  <a:lnTo>
                    <a:pt x="786785" y="672897"/>
                  </a:lnTo>
                  <a:lnTo>
                    <a:pt x="795518" y="665491"/>
                  </a:lnTo>
                  <a:lnTo>
                    <a:pt x="803987" y="657291"/>
                  </a:lnTo>
                  <a:lnTo>
                    <a:pt x="811926" y="648827"/>
                  </a:lnTo>
                  <a:lnTo>
                    <a:pt x="819866" y="640099"/>
                  </a:lnTo>
                  <a:lnTo>
                    <a:pt x="826746" y="630841"/>
                  </a:lnTo>
                  <a:lnTo>
                    <a:pt x="833627" y="621319"/>
                  </a:lnTo>
                  <a:lnTo>
                    <a:pt x="839978" y="611532"/>
                  </a:lnTo>
                  <a:lnTo>
                    <a:pt x="845801" y="601217"/>
                  </a:lnTo>
                  <a:lnTo>
                    <a:pt x="851094" y="590901"/>
                  </a:lnTo>
                  <a:lnTo>
                    <a:pt x="856122" y="580056"/>
                  </a:lnTo>
                  <a:lnTo>
                    <a:pt x="860356" y="568947"/>
                  </a:lnTo>
                  <a:lnTo>
                    <a:pt x="864061" y="557838"/>
                  </a:lnTo>
                  <a:lnTo>
                    <a:pt x="867501" y="546200"/>
                  </a:lnTo>
                  <a:lnTo>
                    <a:pt x="870148" y="534562"/>
                  </a:lnTo>
                  <a:lnTo>
                    <a:pt x="872265" y="522395"/>
                  </a:lnTo>
                  <a:lnTo>
                    <a:pt x="873853" y="510227"/>
                  </a:lnTo>
                  <a:lnTo>
                    <a:pt x="874911" y="498060"/>
                  </a:lnTo>
                  <a:lnTo>
                    <a:pt x="875176" y="485364"/>
                  </a:lnTo>
                  <a:lnTo>
                    <a:pt x="874911" y="472932"/>
                  </a:lnTo>
                  <a:lnTo>
                    <a:pt x="873853" y="460765"/>
                  </a:lnTo>
                  <a:lnTo>
                    <a:pt x="872265" y="448598"/>
                  </a:lnTo>
                  <a:lnTo>
                    <a:pt x="870148" y="436431"/>
                  </a:lnTo>
                  <a:lnTo>
                    <a:pt x="867501" y="424793"/>
                  </a:lnTo>
                  <a:lnTo>
                    <a:pt x="864061" y="413419"/>
                  </a:lnTo>
                  <a:lnTo>
                    <a:pt x="860356" y="402046"/>
                  </a:lnTo>
                  <a:lnTo>
                    <a:pt x="856122" y="390936"/>
                  </a:lnTo>
                  <a:lnTo>
                    <a:pt x="851094" y="380092"/>
                  </a:lnTo>
                  <a:lnTo>
                    <a:pt x="845801" y="369776"/>
                  </a:lnTo>
                  <a:lnTo>
                    <a:pt x="839978" y="359725"/>
                  </a:lnTo>
                  <a:lnTo>
                    <a:pt x="833627" y="349938"/>
                  </a:lnTo>
                  <a:lnTo>
                    <a:pt x="826746" y="340152"/>
                  </a:lnTo>
                  <a:lnTo>
                    <a:pt x="819866" y="331159"/>
                  </a:lnTo>
                  <a:lnTo>
                    <a:pt x="811926" y="322165"/>
                  </a:lnTo>
                  <a:lnTo>
                    <a:pt x="803987" y="313966"/>
                  </a:lnTo>
                  <a:lnTo>
                    <a:pt x="795518" y="305766"/>
                  </a:lnTo>
                  <a:lnTo>
                    <a:pt x="786785" y="298360"/>
                  </a:lnTo>
                  <a:lnTo>
                    <a:pt x="777523" y="291219"/>
                  </a:lnTo>
                  <a:lnTo>
                    <a:pt x="767995" y="284077"/>
                  </a:lnTo>
                  <a:lnTo>
                    <a:pt x="758204" y="277993"/>
                  </a:lnTo>
                  <a:lnTo>
                    <a:pt x="748147" y="272174"/>
                  </a:lnTo>
                  <a:lnTo>
                    <a:pt x="737561" y="266620"/>
                  </a:lnTo>
                  <a:lnTo>
                    <a:pt x="726976" y="261859"/>
                  </a:lnTo>
                  <a:lnTo>
                    <a:pt x="715861" y="257627"/>
                  </a:lnTo>
                  <a:lnTo>
                    <a:pt x="704746" y="253659"/>
                  </a:lnTo>
                  <a:lnTo>
                    <a:pt x="693101" y="250221"/>
                  </a:lnTo>
                  <a:lnTo>
                    <a:pt x="681192" y="247575"/>
                  </a:lnTo>
                  <a:lnTo>
                    <a:pt x="669283" y="245459"/>
                  </a:lnTo>
                  <a:lnTo>
                    <a:pt x="657110" y="243872"/>
                  </a:lnTo>
                  <a:lnTo>
                    <a:pt x="644672" y="243079"/>
                  </a:lnTo>
                  <a:lnTo>
                    <a:pt x="632233" y="242814"/>
                  </a:lnTo>
                  <a:close/>
                  <a:moveTo>
                    <a:pt x="291902" y="0"/>
                  </a:moveTo>
                  <a:lnTo>
                    <a:pt x="389026" y="0"/>
                  </a:lnTo>
                  <a:lnTo>
                    <a:pt x="394054" y="265"/>
                  </a:lnTo>
                  <a:lnTo>
                    <a:pt x="398818" y="529"/>
                  </a:lnTo>
                  <a:lnTo>
                    <a:pt x="403846" y="1058"/>
                  </a:lnTo>
                  <a:lnTo>
                    <a:pt x="408610" y="1852"/>
                  </a:lnTo>
                  <a:lnTo>
                    <a:pt x="413373" y="2910"/>
                  </a:lnTo>
                  <a:lnTo>
                    <a:pt x="417872" y="4232"/>
                  </a:lnTo>
                  <a:lnTo>
                    <a:pt x="422636" y="5819"/>
                  </a:lnTo>
                  <a:lnTo>
                    <a:pt x="426870" y="7406"/>
                  </a:lnTo>
                  <a:lnTo>
                    <a:pt x="431104" y="9522"/>
                  </a:lnTo>
                  <a:lnTo>
                    <a:pt x="435339" y="11903"/>
                  </a:lnTo>
                  <a:lnTo>
                    <a:pt x="439308" y="14019"/>
                  </a:lnTo>
                  <a:lnTo>
                    <a:pt x="443543" y="16664"/>
                  </a:lnTo>
                  <a:lnTo>
                    <a:pt x="447248" y="19309"/>
                  </a:lnTo>
                  <a:lnTo>
                    <a:pt x="450953" y="21954"/>
                  </a:lnTo>
                  <a:lnTo>
                    <a:pt x="454393" y="25128"/>
                  </a:lnTo>
                  <a:lnTo>
                    <a:pt x="457569" y="28302"/>
                  </a:lnTo>
                  <a:lnTo>
                    <a:pt x="461009" y="31741"/>
                  </a:lnTo>
                  <a:lnTo>
                    <a:pt x="464185" y="35179"/>
                  </a:lnTo>
                  <a:lnTo>
                    <a:pt x="466831" y="38882"/>
                  </a:lnTo>
                  <a:lnTo>
                    <a:pt x="469478" y="42585"/>
                  </a:lnTo>
                  <a:lnTo>
                    <a:pt x="472124" y="46553"/>
                  </a:lnTo>
                  <a:lnTo>
                    <a:pt x="474241" y="50785"/>
                  </a:lnTo>
                  <a:lnTo>
                    <a:pt x="476358" y="55017"/>
                  </a:lnTo>
                  <a:lnTo>
                    <a:pt x="478476" y="59249"/>
                  </a:lnTo>
                  <a:lnTo>
                    <a:pt x="480328" y="63481"/>
                  </a:lnTo>
                  <a:lnTo>
                    <a:pt x="481916" y="68242"/>
                  </a:lnTo>
                  <a:lnTo>
                    <a:pt x="483239" y="72739"/>
                  </a:lnTo>
                  <a:lnTo>
                    <a:pt x="484298" y="77500"/>
                  </a:lnTo>
                  <a:lnTo>
                    <a:pt x="485092" y="82261"/>
                  </a:lnTo>
                  <a:lnTo>
                    <a:pt x="485621" y="87286"/>
                  </a:lnTo>
                  <a:lnTo>
                    <a:pt x="486150" y="92047"/>
                  </a:lnTo>
                  <a:lnTo>
                    <a:pt x="486150" y="97073"/>
                  </a:lnTo>
                  <a:lnTo>
                    <a:pt x="1069689" y="97073"/>
                  </a:lnTo>
                  <a:lnTo>
                    <a:pt x="1074717" y="97073"/>
                  </a:lnTo>
                  <a:lnTo>
                    <a:pt x="1079745" y="97602"/>
                  </a:lnTo>
                  <a:lnTo>
                    <a:pt x="1084509" y="98131"/>
                  </a:lnTo>
                  <a:lnTo>
                    <a:pt x="1089273" y="98925"/>
                  </a:lnTo>
                  <a:lnTo>
                    <a:pt x="1093772" y="99983"/>
                  </a:lnTo>
                  <a:lnTo>
                    <a:pt x="1098535" y="101305"/>
                  </a:lnTo>
                  <a:lnTo>
                    <a:pt x="1103034" y="102892"/>
                  </a:lnTo>
                  <a:lnTo>
                    <a:pt x="1107533" y="104744"/>
                  </a:lnTo>
                  <a:lnTo>
                    <a:pt x="1111767" y="106595"/>
                  </a:lnTo>
                  <a:lnTo>
                    <a:pt x="1115737" y="108711"/>
                  </a:lnTo>
                  <a:lnTo>
                    <a:pt x="1119971" y="111092"/>
                  </a:lnTo>
                  <a:lnTo>
                    <a:pt x="1123941" y="113737"/>
                  </a:lnTo>
                  <a:lnTo>
                    <a:pt x="1127646" y="116382"/>
                  </a:lnTo>
                  <a:lnTo>
                    <a:pt x="1131351" y="119027"/>
                  </a:lnTo>
                  <a:lnTo>
                    <a:pt x="1134791" y="122201"/>
                  </a:lnTo>
                  <a:lnTo>
                    <a:pt x="1138496" y="125639"/>
                  </a:lnTo>
                  <a:lnTo>
                    <a:pt x="1141672" y="128813"/>
                  </a:lnTo>
                  <a:lnTo>
                    <a:pt x="1144583" y="132252"/>
                  </a:lnTo>
                  <a:lnTo>
                    <a:pt x="1147494" y="135955"/>
                  </a:lnTo>
                  <a:lnTo>
                    <a:pt x="1150141" y="139658"/>
                  </a:lnTo>
                  <a:lnTo>
                    <a:pt x="1152522" y="143890"/>
                  </a:lnTo>
                  <a:lnTo>
                    <a:pt x="1155169" y="147858"/>
                  </a:lnTo>
                  <a:lnTo>
                    <a:pt x="1157286" y="152090"/>
                  </a:lnTo>
                  <a:lnTo>
                    <a:pt x="1159139" y="156322"/>
                  </a:lnTo>
                  <a:lnTo>
                    <a:pt x="1160991" y="160818"/>
                  </a:lnTo>
                  <a:lnTo>
                    <a:pt x="1162579" y="165315"/>
                  </a:lnTo>
                  <a:lnTo>
                    <a:pt x="1163902" y="169811"/>
                  </a:lnTo>
                  <a:lnTo>
                    <a:pt x="1164961" y="174573"/>
                  </a:lnTo>
                  <a:lnTo>
                    <a:pt x="1165755" y="179334"/>
                  </a:lnTo>
                  <a:lnTo>
                    <a:pt x="1166284" y="184359"/>
                  </a:lnTo>
                  <a:lnTo>
                    <a:pt x="1166813" y="189120"/>
                  </a:lnTo>
                  <a:lnTo>
                    <a:pt x="1166813" y="194146"/>
                  </a:lnTo>
                  <a:lnTo>
                    <a:pt x="1166813" y="777111"/>
                  </a:lnTo>
                  <a:lnTo>
                    <a:pt x="1166813" y="782137"/>
                  </a:lnTo>
                  <a:lnTo>
                    <a:pt x="1166284" y="786898"/>
                  </a:lnTo>
                  <a:lnTo>
                    <a:pt x="1165755" y="791924"/>
                  </a:lnTo>
                  <a:lnTo>
                    <a:pt x="1164961" y="796949"/>
                  </a:lnTo>
                  <a:lnTo>
                    <a:pt x="1163902" y="801446"/>
                  </a:lnTo>
                  <a:lnTo>
                    <a:pt x="1162579" y="805942"/>
                  </a:lnTo>
                  <a:lnTo>
                    <a:pt x="1160991" y="810439"/>
                  </a:lnTo>
                  <a:lnTo>
                    <a:pt x="1159139" y="815200"/>
                  </a:lnTo>
                  <a:lnTo>
                    <a:pt x="1157286" y="819432"/>
                  </a:lnTo>
                  <a:lnTo>
                    <a:pt x="1155169" y="823400"/>
                  </a:lnTo>
                  <a:lnTo>
                    <a:pt x="1152522" y="827632"/>
                  </a:lnTo>
                  <a:lnTo>
                    <a:pt x="1150141" y="831335"/>
                  </a:lnTo>
                  <a:lnTo>
                    <a:pt x="1147494" y="835567"/>
                  </a:lnTo>
                  <a:lnTo>
                    <a:pt x="1144583" y="839005"/>
                  </a:lnTo>
                  <a:lnTo>
                    <a:pt x="1141672" y="842708"/>
                  </a:lnTo>
                  <a:lnTo>
                    <a:pt x="1138496" y="845882"/>
                  </a:lnTo>
                  <a:lnTo>
                    <a:pt x="1134791" y="849056"/>
                  </a:lnTo>
                  <a:lnTo>
                    <a:pt x="1131351" y="852495"/>
                  </a:lnTo>
                  <a:lnTo>
                    <a:pt x="1127646" y="855140"/>
                  </a:lnTo>
                  <a:lnTo>
                    <a:pt x="1123941" y="858049"/>
                  </a:lnTo>
                  <a:lnTo>
                    <a:pt x="1119971" y="860430"/>
                  </a:lnTo>
                  <a:lnTo>
                    <a:pt x="1115737" y="862811"/>
                  </a:lnTo>
                  <a:lnTo>
                    <a:pt x="1111767" y="864927"/>
                  </a:lnTo>
                  <a:lnTo>
                    <a:pt x="1107533" y="866778"/>
                  </a:lnTo>
                  <a:lnTo>
                    <a:pt x="1103034" y="868630"/>
                  </a:lnTo>
                  <a:lnTo>
                    <a:pt x="1098535" y="870217"/>
                  </a:lnTo>
                  <a:lnTo>
                    <a:pt x="1093772" y="871539"/>
                  </a:lnTo>
                  <a:lnTo>
                    <a:pt x="1089273" y="872597"/>
                  </a:lnTo>
                  <a:lnTo>
                    <a:pt x="1084509" y="873655"/>
                  </a:lnTo>
                  <a:lnTo>
                    <a:pt x="1079745" y="874184"/>
                  </a:lnTo>
                  <a:lnTo>
                    <a:pt x="1074717" y="874449"/>
                  </a:lnTo>
                  <a:lnTo>
                    <a:pt x="1069689" y="874713"/>
                  </a:lnTo>
                  <a:lnTo>
                    <a:pt x="97124" y="874713"/>
                  </a:lnTo>
                  <a:lnTo>
                    <a:pt x="92361" y="874449"/>
                  </a:lnTo>
                  <a:lnTo>
                    <a:pt x="87332" y="874184"/>
                  </a:lnTo>
                  <a:lnTo>
                    <a:pt x="82304" y="873655"/>
                  </a:lnTo>
                  <a:lnTo>
                    <a:pt x="77541" y="872597"/>
                  </a:lnTo>
                  <a:lnTo>
                    <a:pt x="73042" y="871539"/>
                  </a:lnTo>
                  <a:lnTo>
                    <a:pt x="68543" y="870217"/>
                  </a:lnTo>
                  <a:lnTo>
                    <a:pt x="63779" y="868630"/>
                  </a:lnTo>
                  <a:lnTo>
                    <a:pt x="59545" y="866778"/>
                  </a:lnTo>
                  <a:lnTo>
                    <a:pt x="55311" y="864927"/>
                  </a:lnTo>
                  <a:lnTo>
                    <a:pt x="51076" y="862811"/>
                  </a:lnTo>
                  <a:lnTo>
                    <a:pt x="47107" y="860430"/>
                  </a:lnTo>
                  <a:lnTo>
                    <a:pt x="42872" y="858049"/>
                  </a:lnTo>
                  <a:lnTo>
                    <a:pt x="39167" y="855140"/>
                  </a:lnTo>
                  <a:lnTo>
                    <a:pt x="35462" y="852495"/>
                  </a:lnTo>
                  <a:lnTo>
                    <a:pt x="32022" y="849056"/>
                  </a:lnTo>
                  <a:lnTo>
                    <a:pt x="28846" y="845882"/>
                  </a:lnTo>
                  <a:lnTo>
                    <a:pt x="25406" y="842708"/>
                  </a:lnTo>
                  <a:lnTo>
                    <a:pt x="22230" y="839005"/>
                  </a:lnTo>
                  <a:lnTo>
                    <a:pt x="19319" y="835567"/>
                  </a:lnTo>
                  <a:lnTo>
                    <a:pt x="16673" y="831335"/>
                  </a:lnTo>
                  <a:lnTo>
                    <a:pt x="14291" y="827632"/>
                  </a:lnTo>
                  <a:lnTo>
                    <a:pt x="11909" y="823400"/>
                  </a:lnTo>
                  <a:lnTo>
                    <a:pt x="9792" y="819432"/>
                  </a:lnTo>
                  <a:lnTo>
                    <a:pt x="7675" y="815200"/>
                  </a:lnTo>
                  <a:lnTo>
                    <a:pt x="5822" y="810439"/>
                  </a:lnTo>
                  <a:lnTo>
                    <a:pt x="4499" y="805942"/>
                  </a:lnTo>
                  <a:lnTo>
                    <a:pt x="3176" y="801446"/>
                  </a:lnTo>
                  <a:lnTo>
                    <a:pt x="2117" y="796949"/>
                  </a:lnTo>
                  <a:lnTo>
                    <a:pt x="1059" y="791924"/>
                  </a:lnTo>
                  <a:lnTo>
                    <a:pt x="529" y="786898"/>
                  </a:lnTo>
                  <a:lnTo>
                    <a:pt x="265" y="782137"/>
                  </a:lnTo>
                  <a:lnTo>
                    <a:pt x="40" y="777875"/>
                  </a:lnTo>
                  <a:lnTo>
                    <a:pt x="0" y="777875"/>
                  </a:lnTo>
                  <a:lnTo>
                    <a:pt x="0" y="777111"/>
                  </a:lnTo>
                  <a:lnTo>
                    <a:pt x="0" y="194146"/>
                  </a:lnTo>
                  <a:lnTo>
                    <a:pt x="0" y="193675"/>
                  </a:lnTo>
                  <a:lnTo>
                    <a:pt x="25" y="193675"/>
                  </a:lnTo>
                  <a:lnTo>
                    <a:pt x="265" y="189120"/>
                  </a:lnTo>
                  <a:lnTo>
                    <a:pt x="529" y="184359"/>
                  </a:lnTo>
                  <a:lnTo>
                    <a:pt x="1059" y="179334"/>
                  </a:lnTo>
                  <a:lnTo>
                    <a:pt x="2117" y="174573"/>
                  </a:lnTo>
                  <a:lnTo>
                    <a:pt x="3176" y="169811"/>
                  </a:lnTo>
                  <a:lnTo>
                    <a:pt x="4499" y="165315"/>
                  </a:lnTo>
                  <a:lnTo>
                    <a:pt x="5822" y="160818"/>
                  </a:lnTo>
                  <a:lnTo>
                    <a:pt x="7675" y="156322"/>
                  </a:lnTo>
                  <a:lnTo>
                    <a:pt x="9792" y="152090"/>
                  </a:lnTo>
                  <a:lnTo>
                    <a:pt x="11909" y="147858"/>
                  </a:lnTo>
                  <a:lnTo>
                    <a:pt x="14291" y="143890"/>
                  </a:lnTo>
                  <a:lnTo>
                    <a:pt x="16673" y="139658"/>
                  </a:lnTo>
                  <a:lnTo>
                    <a:pt x="19319" y="135955"/>
                  </a:lnTo>
                  <a:lnTo>
                    <a:pt x="22230" y="132252"/>
                  </a:lnTo>
                  <a:lnTo>
                    <a:pt x="25406" y="128813"/>
                  </a:lnTo>
                  <a:lnTo>
                    <a:pt x="28846" y="125639"/>
                  </a:lnTo>
                  <a:lnTo>
                    <a:pt x="32022" y="122201"/>
                  </a:lnTo>
                  <a:lnTo>
                    <a:pt x="35462" y="119027"/>
                  </a:lnTo>
                  <a:lnTo>
                    <a:pt x="39167" y="116382"/>
                  </a:lnTo>
                  <a:lnTo>
                    <a:pt x="42872" y="113737"/>
                  </a:lnTo>
                  <a:lnTo>
                    <a:pt x="47107" y="111092"/>
                  </a:lnTo>
                  <a:lnTo>
                    <a:pt x="51076" y="108711"/>
                  </a:lnTo>
                  <a:lnTo>
                    <a:pt x="55311" y="106595"/>
                  </a:lnTo>
                  <a:lnTo>
                    <a:pt x="59545" y="104744"/>
                  </a:lnTo>
                  <a:lnTo>
                    <a:pt x="63779" y="102892"/>
                  </a:lnTo>
                  <a:lnTo>
                    <a:pt x="68543" y="101305"/>
                  </a:lnTo>
                  <a:lnTo>
                    <a:pt x="73042" y="99983"/>
                  </a:lnTo>
                  <a:lnTo>
                    <a:pt x="77541" y="98925"/>
                  </a:lnTo>
                  <a:lnTo>
                    <a:pt x="82304" y="98131"/>
                  </a:lnTo>
                  <a:lnTo>
                    <a:pt x="87332" y="97602"/>
                  </a:lnTo>
                  <a:lnTo>
                    <a:pt x="92361" y="97073"/>
                  </a:lnTo>
                  <a:lnTo>
                    <a:pt x="97124" y="97073"/>
                  </a:lnTo>
                  <a:lnTo>
                    <a:pt x="194513" y="97073"/>
                  </a:lnTo>
                  <a:lnTo>
                    <a:pt x="194778" y="92047"/>
                  </a:lnTo>
                  <a:lnTo>
                    <a:pt x="195042" y="87286"/>
                  </a:lnTo>
                  <a:lnTo>
                    <a:pt x="195836" y="82261"/>
                  </a:lnTo>
                  <a:lnTo>
                    <a:pt x="196630" y="77500"/>
                  </a:lnTo>
                  <a:lnTo>
                    <a:pt x="197953" y="72739"/>
                  </a:lnTo>
                  <a:lnTo>
                    <a:pt x="199277" y="68242"/>
                  </a:lnTo>
                  <a:lnTo>
                    <a:pt x="200600" y="63481"/>
                  </a:lnTo>
                  <a:lnTo>
                    <a:pt x="202452" y="59249"/>
                  </a:lnTo>
                  <a:lnTo>
                    <a:pt x="204305" y="55017"/>
                  </a:lnTo>
                  <a:lnTo>
                    <a:pt x="206422" y="50785"/>
                  </a:lnTo>
                  <a:lnTo>
                    <a:pt x="208804" y="46553"/>
                  </a:lnTo>
                  <a:lnTo>
                    <a:pt x="211186" y="42585"/>
                  </a:lnTo>
                  <a:lnTo>
                    <a:pt x="213832" y="38882"/>
                  </a:lnTo>
                  <a:lnTo>
                    <a:pt x="217008" y="35179"/>
                  </a:lnTo>
                  <a:lnTo>
                    <a:pt x="219919" y="31741"/>
                  </a:lnTo>
                  <a:lnTo>
                    <a:pt x="223095" y="28302"/>
                  </a:lnTo>
                  <a:lnTo>
                    <a:pt x="226535" y="25128"/>
                  </a:lnTo>
                  <a:lnTo>
                    <a:pt x="229975" y="21954"/>
                  </a:lnTo>
                  <a:lnTo>
                    <a:pt x="233680" y="19309"/>
                  </a:lnTo>
                  <a:lnTo>
                    <a:pt x="237650" y="16664"/>
                  </a:lnTo>
                  <a:lnTo>
                    <a:pt x="241355" y="14019"/>
                  </a:lnTo>
                  <a:lnTo>
                    <a:pt x="245589" y="11903"/>
                  </a:lnTo>
                  <a:lnTo>
                    <a:pt x="249559" y="9522"/>
                  </a:lnTo>
                  <a:lnTo>
                    <a:pt x="254058" y="7406"/>
                  </a:lnTo>
                  <a:lnTo>
                    <a:pt x="258557" y="5819"/>
                  </a:lnTo>
                  <a:lnTo>
                    <a:pt x="262791" y="4232"/>
                  </a:lnTo>
                  <a:lnTo>
                    <a:pt x="267555" y="2910"/>
                  </a:lnTo>
                  <a:lnTo>
                    <a:pt x="272054" y="1852"/>
                  </a:lnTo>
                  <a:lnTo>
                    <a:pt x="277082" y="1058"/>
                  </a:lnTo>
                  <a:lnTo>
                    <a:pt x="281845" y="529"/>
                  </a:lnTo>
                  <a:lnTo>
                    <a:pt x="286874" y="265"/>
                  </a:lnTo>
                  <a:lnTo>
                    <a:pt x="291902" y="0"/>
                  </a:lnTo>
                  <a:close/>
                </a:path>
              </a:pathLst>
            </a:custGeom>
            <a:solidFill>
              <a:schemeClr val="accent2"/>
            </a:solidFill>
            <a:ln>
              <a:noFill/>
            </a:ln>
          </p:spPr>
          <p:txBody>
            <a:bodyPr anchor="ctr">
              <a:scene3d>
                <a:camera prst="orthographicFront"/>
                <a:lightRig rig="threePt" dir="t"/>
              </a:scene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sz="1200">
                <a:solidFill>
                  <a:schemeClr val="bg1">
                    <a:lumMod val="50000"/>
                  </a:schemeClr>
                </a:solidFill>
                <a:latin typeface="Calibri Light" panose="020f0302020204030204" charset="0"/>
              </a:endParaRPr>
            </a:p>
          </p:txBody>
        </p:sp>
        <p:sp>
          <p:nvSpPr>
            <p:cNvPr id="23" name="文本框 22"/>
            <p:cNvSpPr txBox="1"/>
            <p:nvPr/>
          </p:nvSpPr>
          <p:spPr>
            <a:xfrm>
              <a:off x="6806335" y="2671032"/>
              <a:ext cx="3626848" cy="492443"/>
            </a:xfrm>
            <a:prstGeom prst="rect">
              <a:avLst/>
            </a:prstGeom>
            <a:noFill/>
          </p:spPr>
          <p:txBody>
            <a:bodyPr wrap="square" rtlCol="0">
              <a:spAutoFit/>
            </a:bodyPr>
            <a:lstStyle/>
            <a:p>
              <a:pPr algn="l"/>
              <a:r>
                <a:rPr lang="en-US" altLang="zh-CN">
                  <a:solidFill>
                    <a:schemeClr val="bg1">
                      <a:lumMod val="50000"/>
                    </a:schemeClr>
                  </a:solidFill>
                  <a:latin typeface="黑体" panose="02010609060101010101" charset="-122"/>
                  <a:ea typeface="黑体" panose="02010609060101010101" charset="-122"/>
                </a:rPr>
                <a:t>此处添加标题</a:t>
              </a:r>
              <a:endParaRPr lang="en-US" altLang="zh-CN">
                <a:solidFill>
                  <a:schemeClr val="bg1">
                    <a:lumMod val="50000"/>
                  </a:schemeClr>
                </a:solidFill>
                <a:latin typeface="黑体" panose="02010609060101010101" charset="-122"/>
                <a:ea typeface="黑体" panose="02010609060101010101" charset="-122"/>
              </a:endParaRPr>
            </a:p>
          </p:txBody>
        </p:sp>
        <p:sp>
          <p:nvSpPr>
            <p:cNvPr id="24" name="文本框 23"/>
            <p:cNvSpPr txBox="1"/>
            <p:nvPr/>
          </p:nvSpPr>
          <p:spPr>
            <a:xfrm>
              <a:off x="6806335" y="4215715"/>
              <a:ext cx="3626848" cy="430887"/>
            </a:xfrm>
            <a:prstGeom prst="rect">
              <a:avLst/>
            </a:prstGeom>
            <a:noFill/>
          </p:spPr>
          <p:txBody>
            <a:bodyPr wrap="square" rtlCol="0">
              <a:spAutoFit/>
            </a:bodyPr>
            <a:lstStyle/>
            <a:p>
              <a:pPr algn="l"/>
              <a:r>
                <a:rPr lang="en-US" altLang="zh-CN" sz="1500">
                  <a:solidFill>
                    <a:schemeClr val="bg1">
                      <a:lumMod val="50000"/>
                    </a:schemeClr>
                  </a:solidFill>
                  <a:latin typeface="Calibri Light" panose="020f0302020204030204" charset="0"/>
                </a:rPr>
                <a:t>单击此处添加标题</a:t>
              </a:r>
              <a:endParaRPr lang="en-US" altLang="zh-CN" sz="1500">
                <a:solidFill>
                  <a:schemeClr val="bg1">
                    <a:lumMod val="50000"/>
                  </a:schemeClr>
                </a:solidFill>
                <a:latin typeface="Calibri Light" panose="020f0302020204030204" charset="0"/>
              </a:endParaRPr>
            </a:p>
          </p:txBody>
        </p:sp>
        <p:sp>
          <p:nvSpPr>
            <p:cNvPr id="25" name="文本框 24"/>
            <p:cNvSpPr txBox="1"/>
            <p:nvPr/>
          </p:nvSpPr>
          <p:spPr>
            <a:xfrm>
              <a:off x="6806335" y="4808374"/>
              <a:ext cx="4168660" cy="618717"/>
            </a:xfrm>
            <a:prstGeom prst="rect">
              <a:avLst/>
            </a:prstGeom>
            <a:noFill/>
          </p:spPr>
          <p:txBody>
            <a:bodyPr wrap="square" rtlCol="0">
              <a:spAutoFit/>
            </a:bodyPr>
            <a:lstStyle/>
            <a:p>
              <a:pPr>
                <a:lnSpc>
                  <a:spcPct val="130000"/>
                </a:lnSpc>
              </a:pPr>
              <a:r>
                <a:rPr lang="en-US" altLang="zh-CN" sz="1000">
                  <a:solidFill>
                    <a:schemeClr val="bg1">
                      <a:lumMod val="50000"/>
                    </a:schemeClr>
                  </a:solidFill>
                  <a:latin typeface="黑体" panose="02010609060101010101" charset="-122"/>
                  <a:ea typeface="黑体" panose="02010609060101010101" charset="-122"/>
                </a:rPr>
                <a:t>请在此粘贴或者输入您的文字内容请在此粘贴或者输入您的文字内容请在此粘贴或者输入您的文字内容</a:t>
              </a:r>
              <a:endParaRPr lang="en-US" altLang="zh-CN" sz="1000">
                <a:solidFill>
                  <a:schemeClr val="bg1">
                    <a:lumMod val="50000"/>
                  </a:schemeClr>
                </a:solidFill>
                <a:latin typeface="黑体" panose="02010609060101010101" charset="-122"/>
                <a:ea typeface="黑体" panose="02010609060101010101" charset="-122"/>
              </a:endParaRPr>
            </a:p>
          </p:txBody>
        </p:sp>
        <p:sp>
          <p:nvSpPr>
            <p:cNvPr id="26" name="文本框 25"/>
            <p:cNvSpPr txBox="1"/>
            <p:nvPr/>
          </p:nvSpPr>
          <p:spPr>
            <a:xfrm>
              <a:off x="6806335" y="4496871"/>
              <a:ext cx="3626848" cy="492443"/>
            </a:xfrm>
            <a:prstGeom prst="rect">
              <a:avLst/>
            </a:prstGeom>
            <a:noFill/>
          </p:spPr>
          <p:txBody>
            <a:bodyPr wrap="square" rtlCol="0">
              <a:spAutoFit/>
            </a:bodyPr>
            <a:lstStyle/>
            <a:p>
              <a:pPr algn="l"/>
              <a:r>
                <a:rPr lang="en-US" altLang="zh-CN">
                  <a:solidFill>
                    <a:schemeClr val="bg1">
                      <a:lumMod val="50000"/>
                    </a:schemeClr>
                  </a:solidFill>
                  <a:latin typeface="黑体" panose="02010609060101010101" charset="-122"/>
                  <a:ea typeface="黑体" panose="02010609060101010101" charset="-122"/>
                </a:rPr>
                <a:t>此处添加标题</a:t>
              </a:r>
              <a:endParaRPr lang="en-US" altLang="zh-CN">
                <a:solidFill>
                  <a:schemeClr val="bg1">
                    <a:lumMod val="50000"/>
                  </a:schemeClr>
                </a:solidFill>
                <a:latin typeface="黑体" panose="02010609060101010101" charset="-122"/>
                <a:ea typeface="黑体" panose="02010609060101010101" charset="-122"/>
              </a:endParaRPr>
            </a:p>
          </p:txBody>
        </p:sp>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46" name="Rectangle 45"/>
          <p:cNvSpPr/>
          <p:nvPr/>
        </p:nvSpPr>
        <p:spPr>
          <a:xfrm>
            <a:off x="5382734" y="1161222"/>
            <a:ext cx="1525106" cy="32361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lnSpc>
                <a:spcPct val="150000"/>
              </a:lnSpc>
            </a:pPr>
            <a:endParaRPr lang="id-ID" sz="1100">
              <a:latin typeface="Arial" panose="020b0604020202020204" pitchFamily="34" charset="0"/>
              <a:ea typeface="微软雅黑" panose="020b0503020204020204" pitchFamily="34" charset="-122"/>
              <a:sym typeface="Arial" panose="020b0604020202020204" pitchFamily="34" charset="0"/>
            </a:endParaRPr>
          </a:p>
        </p:txBody>
      </p:sp>
      <p:sp>
        <p:nvSpPr>
          <p:cNvPr id="34" name="Rectangle 33"/>
          <p:cNvSpPr/>
          <p:nvPr/>
        </p:nvSpPr>
        <p:spPr>
          <a:xfrm>
            <a:off x="662877" y="1161222"/>
            <a:ext cx="1525106" cy="159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r>
              <a:rPr lang="en-US" sz="3100">
                <a:latin typeface="Arial" panose="020b0604020202020204" pitchFamily="34" charset="0"/>
                <a:ea typeface="微软雅黑" panose="020b0503020204020204" pitchFamily="34" charset="-122"/>
                <a:sym typeface="Arial" panose="020b0604020202020204" pitchFamily="34" charset="0"/>
              </a:rPr>
              <a:t>2016</a:t>
            </a:r>
            <a:endParaRPr lang="id-ID" sz="3100">
              <a:latin typeface="Arial" panose="020b0604020202020204" pitchFamily="34" charset="0"/>
              <a:ea typeface="微软雅黑" panose="020b0503020204020204" pitchFamily="34" charset="-122"/>
              <a:sym typeface="Arial" panose="020b0604020202020204" pitchFamily="34" charset="0"/>
            </a:endParaRPr>
          </a:p>
        </p:txBody>
      </p:sp>
      <p:sp>
        <p:nvSpPr>
          <p:cNvPr id="35" name="Rectangle 34"/>
          <p:cNvSpPr/>
          <p:nvPr/>
        </p:nvSpPr>
        <p:spPr>
          <a:xfrm>
            <a:off x="2236163" y="1161222"/>
            <a:ext cx="1525106" cy="1595840"/>
          </a:xfrm>
          <a:prstGeom prst="rect">
            <a:avLst/>
          </a:prstGeom>
          <a:blipFill dpi="0" rotWithShape="1">
            <a:blip r:embed="rId3">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lnSpc>
                <a:spcPct val="150000"/>
              </a:lnSpc>
            </a:pPr>
            <a:endParaRPr lang="en-US" sz="40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6" name="Rectangle 35"/>
          <p:cNvSpPr/>
          <p:nvPr/>
        </p:nvSpPr>
        <p:spPr>
          <a:xfrm>
            <a:off x="3809450" y="1161222"/>
            <a:ext cx="1525106" cy="15958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lnSpc>
                <a:spcPct val="150000"/>
              </a:lnSpc>
            </a:pPr>
            <a:endParaRPr lang="id-ID" sz="1100">
              <a:latin typeface="Arial" panose="020b0604020202020204" pitchFamily="34" charset="0"/>
              <a:ea typeface="微软雅黑" panose="020b0503020204020204" pitchFamily="34" charset="-122"/>
              <a:sym typeface="Arial" panose="020b0604020202020204" pitchFamily="34" charset="0"/>
            </a:endParaRPr>
          </a:p>
        </p:txBody>
      </p:sp>
      <p:sp>
        <p:nvSpPr>
          <p:cNvPr id="39" name="Rectangle 38"/>
          <p:cNvSpPr/>
          <p:nvPr/>
        </p:nvSpPr>
        <p:spPr>
          <a:xfrm>
            <a:off x="6956021" y="1161222"/>
            <a:ext cx="1525106" cy="1595840"/>
          </a:xfrm>
          <a:prstGeom prst="rect">
            <a:avLst/>
          </a:prstGeom>
          <a:blipFill dpi="0" rotWithShape="1">
            <a:blip r:embed="rId4">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lnSpc>
                <a:spcPct val="150000"/>
              </a:lnSpc>
            </a:pPr>
            <a:endParaRPr lang="id-ID" sz="1100">
              <a:latin typeface="Arial" panose="020b0604020202020204" pitchFamily="34" charset="0"/>
              <a:ea typeface="微软雅黑" panose="020b0503020204020204" pitchFamily="34" charset="-122"/>
              <a:sym typeface="Arial" panose="020b0604020202020204" pitchFamily="34" charset="0"/>
            </a:endParaRPr>
          </a:p>
        </p:txBody>
      </p:sp>
      <p:sp>
        <p:nvSpPr>
          <p:cNvPr id="42" name="Rectangle 41"/>
          <p:cNvSpPr/>
          <p:nvPr/>
        </p:nvSpPr>
        <p:spPr>
          <a:xfrm>
            <a:off x="662878" y="2801500"/>
            <a:ext cx="3098391" cy="1595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lnSpc>
                <a:spcPct val="150000"/>
              </a:lnSpc>
            </a:pPr>
            <a:endParaRPr lang="en-US" sz="40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Rectangle 43"/>
          <p:cNvSpPr/>
          <p:nvPr/>
        </p:nvSpPr>
        <p:spPr>
          <a:xfrm>
            <a:off x="3809450" y="2801499"/>
            <a:ext cx="1525106" cy="1595840"/>
          </a:xfrm>
          <a:prstGeom prst="rect">
            <a:avLst/>
          </a:prstGeom>
          <a:blipFill dpi="0" rotWithShape="1">
            <a:blip r:embed="rId5">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lnSpc>
                <a:spcPct val="150000"/>
              </a:lnSpc>
            </a:pPr>
            <a:endParaRPr lang="en-US" sz="40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Rectangle 47"/>
          <p:cNvSpPr/>
          <p:nvPr/>
        </p:nvSpPr>
        <p:spPr>
          <a:xfrm>
            <a:off x="6956021" y="2801499"/>
            <a:ext cx="1525106" cy="159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5023" tIns="32511" rIns="65023" bIns="32511" rtlCol="0" anchor="ctr"/>
          <a:lstStyle/>
          <a:p>
            <a:pPr algn="ctr"/>
            <a:r>
              <a:rPr lang="en-AU" sz="3100">
                <a:solidFill>
                  <a:schemeClr val="bg1"/>
                </a:solidFill>
                <a:latin typeface="Arial" panose="020b0604020202020204" pitchFamily="34" charset="0"/>
                <a:ea typeface="微软雅黑" panose="020b0503020204020204" pitchFamily="34" charset="-122"/>
                <a:sym typeface="Arial" panose="020b0604020202020204" pitchFamily="34" charset="0"/>
              </a:rPr>
              <a:t>2017</a:t>
            </a:r>
            <a:endParaRPr lang="en-AU" sz="3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1" name="TextBox 50"/>
          <p:cNvSpPr txBox="1"/>
          <p:nvPr/>
        </p:nvSpPr>
        <p:spPr>
          <a:xfrm>
            <a:off x="4006368" y="1592294"/>
            <a:ext cx="1131268" cy="153888"/>
          </a:xfrm>
          <a:prstGeom prst="rect">
            <a:avLst/>
          </a:prstGeom>
          <a:noFill/>
        </p:spPr>
        <p:txBody>
          <a:bodyPr wrap="square" lIns="0" tIns="0" rIns="0" bIns="0" rtlCol="0" anchor="ctr">
            <a:spAutoFit/>
          </a:bodyPr>
          <a:lstStyle/>
          <a:p>
            <a:pPr algn="ctr"/>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AU" sz="10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Text Placeholder 32"/>
          <p:cNvSpPr txBox="1"/>
          <p:nvPr/>
        </p:nvSpPr>
        <p:spPr>
          <a:xfrm>
            <a:off x="4006368" y="1822420"/>
            <a:ext cx="1131268" cy="553998"/>
          </a:xfrm>
          <a:prstGeom prst="rect">
            <a:avLst/>
          </a:prstGeom>
        </p:spPr>
        <p:txBody>
          <a:bodyPr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50000"/>
              </a:lnSpc>
              <a:spcBef>
                <a:spcPct val="0"/>
              </a:spcBef>
              <a:buNone/>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修改文字内容，也可以直接复制你的内容到此。请替换文字内容，修改文字内容，也可以直接复制你的内容到此。</a:t>
            </a:r>
            <a:endParaRPr lang="en-US" sz="6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0" name="Text Placeholder 32"/>
          <p:cNvSpPr txBox="1"/>
          <p:nvPr/>
        </p:nvSpPr>
        <p:spPr>
          <a:xfrm>
            <a:off x="1030496" y="3132484"/>
            <a:ext cx="2329096" cy="1451679"/>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buFont typeface="Wingdings" panose="05000000000000000000" pitchFamily="2" charset="2"/>
              <a:buChar char="ü"/>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修改文字内容，也可以直接复制你的内容到此。请替换文字内容，修改文字内容，也可以直接复制你的内容到此。</a:t>
            </a:r>
            <a:endParaRPr lang="en-US" altLang="zh-CN" sz="60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buFont typeface="Wingdings" panose="05000000000000000000" pitchFamily="2" charset="2"/>
              <a:buChar char="ü"/>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修改文字内容，也可以直接复制你的内容到此。请替换文字内容，修改文字内容，也可以直接复制你的内容到此。</a:t>
            </a:r>
            <a:endParaRPr lang="en-US" altLang="zh-CN" sz="600">
              <a:solidFill>
                <a:schemeClr val="bg1"/>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buFont typeface="Wingdings" panose="05000000000000000000" pitchFamily="2" charset="2"/>
              <a:buChar char="ü"/>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修改文字内容，也可以直接复制你的内容到此。请替换文字内容，修改文字内容，也可以直接复制你的内容到此。</a:t>
            </a:r>
            <a:endPar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Text Placeholder 32"/>
          <p:cNvSpPr txBox="1"/>
          <p:nvPr/>
        </p:nvSpPr>
        <p:spPr>
          <a:xfrm>
            <a:off x="5551653" y="1959141"/>
            <a:ext cx="1207450" cy="2262158"/>
          </a:xfrm>
          <a:prstGeom prst="rect">
            <a:avLst/>
          </a:prstGeom>
        </p:spPr>
        <p:txBody>
          <a:bodyPr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50000"/>
              </a:lnSpc>
              <a:buNone/>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a:t>
            </a:r>
            <a:endParaRPr lang="en-US" altLang="zh-CN" sz="6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childTnLst>
                          </p:cTn>
                        </p:par>
                      </p:childTnLst>
                    </p:cTn>
                  </p:par>
                  <p:par>
                    <p:cTn id="13" fill="hold" nodeType="clickPar">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childTnLst>
                          </p:cTn>
                        </p:par>
                      </p:childTnLst>
                    </p:cTn>
                  </p:par>
                  <p:par>
                    <p:cTn id="18" fill="hold" nodeType="clickPar">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childTnLst>
                    </p:cTn>
                  </p:par>
                  <p:par>
                    <p:cTn id="23" fill="hold" nodeType="clickPar">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500"/>
                                        <p:tgtEl>
                                          <p:spTgt spid="39"/>
                                        </p:tgtEl>
                                      </p:cBhvr>
                                    </p:animEffect>
                                  </p:childTnLst>
                                </p:cTn>
                              </p:par>
                            </p:childTnLst>
                          </p:cTn>
                        </p:par>
                      </p:childTnLst>
                    </p:cTn>
                  </p:par>
                  <p:par>
                    <p:cTn id="28" fill="hold" nodeType="clickPar">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childTnLst>
                          </p:cTn>
                        </p:par>
                      </p:childTnLst>
                    </p:cTn>
                  </p:par>
                  <p:par>
                    <p:cTn id="33" fill="hold" nodeType="clickPar">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childTnLst>
                          </p:cTn>
                        </p:par>
                      </p:childTnLst>
                    </p:cTn>
                  </p:par>
                  <p:par>
                    <p:cTn id="38" fill="hold" nodeType="clickPar">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34" grpId="0" animBg="1"/>
      <p:bldP spid="35" grpId="0" animBg="1"/>
      <p:bldP spid="36" grpId="0" animBg="1"/>
      <p:bldP spid="39" grpId="0" animBg="1"/>
      <p:bldP spid="42" grpId="0" animBg="1"/>
      <p:bldP spid="44" grpId="0" animBg="1"/>
      <p:bldP spid="48" grpId="0" animBg="1"/>
    </p:bldLst>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pSp>
        <p:nvGrpSpPr>
          <p:cNvPr id="25" name="组合 24"/>
          <p:cNvGrpSpPr/>
          <p:nvPr/>
        </p:nvGrpSpPr>
        <p:grpSpPr>
          <a:xfrm>
            <a:off x="0" y="0"/>
            <a:ext cx="9144000" cy="5144783"/>
            <a:chExt cx="12192000" cy="6859710"/>
          </a:xfrm>
        </p:grpSpPr>
        <p:sp>
          <p:nvSpPr>
            <p:cNvPr id="26" name="矩形 25"/>
            <p:cNvSpPr/>
            <p:nvPr/>
          </p:nvSpPr>
          <p:spPr>
            <a:xfrm>
              <a:off x="0" y="0"/>
              <a:ext cx="12192000" cy="4361431"/>
            </a:xfrm>
            <a:prstGeom prst="rect">
              <a:avLst/>
            </a:prstGeom>
            <a:solidFill>
              <a:srgbClr val="66C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7" name="矩形 26"/>
            <p:cNvSpPr/>
            <p:nvPr/>
          </p:nvSpPr>
          <p:spPr>
            <a:xfrm>
              <a:off x="0" y="4348627"/>
              <a:ext cx="12192000" cy="2511083"/>
            </a:xfrm>
            <a:prstGeom prst="rect">
              <a:avLst/>
            </a:prstGeom>
            <a:solidFill>
              <a:srgbClr val="EE7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28" name="图片 27"/>
            <p:cNvPicPr>
              <a:picLocks noChangeAspect="1"/>
            </p:cNvPicPr>
            <p:nvPr/>
          </p:nvPicPr>
          <p:blipFill>
            <a:blip r:embed="rId3"/>
            <a:stretch>
              <a:fillRect/>
            </a:stretch>
          </p:blipFill>
          <p:spPr>
            <a:xfrm>
              <a:off x="5485668" y="223013"/>
              <a:ext cx="6457539" cy="6484862"/>
            </a:xfrm>
            <a:prstGeom prst="rect">
              <a:avLst/>
            </a:prstGeom>
          </p:spPr>
        </p:pic>
      </p:grpSp>
      <p:sp>
        <p:nvSpPr>
          <p:cNvPr id="31" name="KSO_FN"/>
          <p:cNvSpPr>
            <a:spLocks noGrp="1"/>
          </p:cNvSpPr>
          <p:nvPr>
            <p:ph type="sldNum" sz="quarter" idx="12"/>
          </p:nvPr>
        </p:nvSpPr>
        <p:spPr/>
        <p:txBody>
          <a:bodyPr/>
          <a:lstStyle>
            <a:lvl1pPr>
              <a:defRPr>
                <a:solidFill>
                  <a:schemeClr val="bg1"/>
                </a:solidFill>
              </a:defRPr>
            </a:lvl1pPr>
          </a:lstStyle>
          <a:p>
            <a:fld id="{2EEFC946-6D13-4F8C-9740-992A906A613E}" type="slidenum">
              <a:rPr lang="zh-CN" altLang="en-US" smtClean="0"/>
              <a:t>24</a:t>
            </a:fld>
            <a:endParaRPr lang="zh-CN" altLang="en-US"/>
          </a:p>
        </p:txBody>
      </p:sp>
      <p:sp>
        <p:nvSpPr>
          <p:cNvPr id="32" name="KSO_CT2"/>
          <p:cNvSpPr txBox="1"/>
          <p:nvPr/>
        </p:nvSpPr>
        <p:spPr>
          <a:xfrm>
            <a:off x="335743" y="3394792"/>
            <a:ext cx="3678998" cy="443474"/>
          </a:xfrm>
          <a:prstGeom prst="rect">
            <a:avLst/>
          </a:prstGeom>
          <a:noFill/>
        </p:spPr>
        <p:txBody>
          <a:bodyPr>
            <a:noAutofit/>
          </a:bodyPr>
          <a:lstStyle>
            <a:lvl1pPr marL="0" indent="0" algn="l" defTabSz="514350" rtl="0" eaLnBrk="1" latinLnBrk="0" hangingPunct="1">
              <a:lnSpc>
                <a:spcPct val="110000"/>
              </a:lnSpc>
              <a:spcBef>
                <a:spcPts val="900"/>
              </a:spcBef>
              <a:spcAft>
                <a:spcPct val="0"/>
              </a:spcAft>
              <a:buClr>
                <a:schemeClr val="accent1"/>
              </a:buClr>
              <a:buSzPct val="60000"/>
              <a:buFont typeface="Wingdings 2" panose="05020102010507070707" pitchFamily="18" charset="2"/>
              <a:buNone/>
              <a:defRPr lang="zh-CN" altLang="en-US" sz="1800" b="0" kern="1200" baseline="0">
                <a:solidFill>
                  <a:schemeClr val="bg1"/>
                </a:solidFill>
                <a:effectLst/>
                <a:latin typeface="+mn-ea"/>
                <a:ea typeface="+mn-ea"/>
                <a:cs typeface="+mn-cs"/>
              </a:defRPr>
            </a:lvl1pPr>
            <a:lvl2pPr marL="257175" indent="0" algn="ctr" defTabSz="514350" rtl="0" eaLnBrk="1" latinLnBrk="0" hangingPunct="1">
              <a:lnSpc>
                <a:spcPct val="120000"/>
              </a:lnSpc>
              <a:spcBef>
                <a:spcPct val="0"/>
              </a:spcBef>
              <a:spcAft>
                <a:spcPts val="900"/>
              </a:spcAft>
              <a:buClr>
                <a:schemeClr val="accent2">
                  <a:lumMod val="60000"/>
                  <a:lumOff val="40000"/>
                </a:schemeClr>
              </a:buClr>
              <a:buFont typeface="幼圆" panose="02010509060101010101" pitchFamily="49" charset="-122"/>
              <a:buNone/>
              <a:defRPr sz="1125" kern="1200" baseline="0">
                <a:solidFill>
                  <a:schemeClr val="tx1"/>
                </a:solidFill>
                <a:latin typeface="+mn-ea"/>
                <a:ea typeface="+mn-ea"/>
                <a:cs typeface="+mn-cs"/>
              </a:defRPr>
            </a:lvl2pPr>
            <a:lvl3pPr marL="514350" indent="0" algn="ctr" defTabSz="514350" rtl="0" eaLnBrk="1" latinLnBrk="0" hangingPunct="1">
              <a:lnSpc>
                <a:spcPct val="90000"/>
              </a:lnSpc>
              <a:spcBef>
                <a:spcPts val="280"/>
              </a:spcBef>
              <a:buFont typeface="Arial" panose="020b0604020202020204" pitchFamily="34" charset="0"/>
              <a:buNone/>
              <a:defRPr sz="1015" kern="1200">
                <a:solidFill>
                  <a:schemeClr val="tx1"/>
                </a:solidFill>
                <a:latin typeface="+mn-lt"/>
                <a:ea typeface="+mn-ea"/>
                <a:cs typeface="+mn-cs"/>
              </a:defRPr>
            </a:lvl3pPr>
            <a:lvl4pPr marL="771525"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4pPr>
            <a:lvl5pPr marL="1028700"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5pPr>
            <a:lvl6pPr marL="1285875"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6pPr>
            <a:lvl7pPr marL="1543050"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7pPr>
            <a:lvl8pPr marL="1800225"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8pPr>
            <a:lvl9pPr marL="2057400" indent="0" algn="ctr" defTabSz="514350" rtl="0" eaLnBrk="1" latinLnBrk="0" hangingPunct="1">
              <a:lnSpc>
                <a:spcPct val="90000"/>
              </a:lnSpc>
              <a:spcBef>
                <a:spcPts val="280"/>
              </a:spcBef>
              <a:buFont typeface="Arial" panose="020b0604020202020204" pitchFamily="34" charset="0"/>
              <a:buNone/>
              <a:defRPr sz="900" kern="1200">
                <a:solidFill>
                  <a:schemeClr val="tx1"/>
                </a:solidFill>
                <a:latin typeface="+mn-lt"/>
                <a:ea typeface="+mn-ea"/>
                <a:cs typeface="+mn-cs"/>
              </a:defRPr>
            </a:lvl9pPr>
          </a:lstStyle>
          <a:p>
            <a:r>
              <a:rPr lang="zh-CN" altLang="en-US"/>
              <a:t>适用于工作总结</a:t>
            </a:r>
            <a:r>
              <a:rPr lang="en-US" altLang="zh-CN"/>
              <a:t>/</a:t>
            </a:r>
            <a:r>
              <a:rPr lang="zh-CN" altLang="en-US"/>
              <a:t>业绩统计</a:t>
            </a:r>
            <a:endParaRPr lang="zh-CN" altLang="en-US"/>
          </a:p>
        </p:txBody>
      </p:sp>
      <p:sp>
        <p:nvSpPr>
          <p:cNvPr id="33" name="KSO_CT1"/>
          <p:cNvSpPr txBox="1"/>
          <p:nvPr/>
        </p:nvSpPr>
        <p:spPr>
          <a:xfrm>
            <a:off x="326572" y="2152914"/>
            <a:ext cx="4752958" cy="1001194"/>
          </a:xfrm>
          <a:prstGeom prst="rect">
            <a:avLst/>
          </a:prstGeom>
        </p:spPr>
        <p:txBody>
          <a:bodyPr anchor="b">
            <a:noAutofit/>
          </a:bodyPr>
          <a:lstStyle>
            <a:lvl1pPr algn="l" defTabSz="514350" rtl="0" eaLnBrk="1" latinLnBrk="0" hangingPunct="1">
              <a:lnSpc>
                <a:spcPct val="100000"/>
              </a:lnSpc>
              <a:spcBef>
                <a:spcPct val="0"/>
              </a:spcBef>
              <a:buNone/>
              <a:defRPr sz="2700" b="1" i="0" kern="1000" baseline="0">
                <a:solidFill>
                  <a:schemeClr val="bg1"/>
                </a:solidFill>
                <a:effectLst/>
                <a:latin typeface="+mj-ea"/>
                <a:ea typeface="+mj-ea"/>
                <a:cs typeface="+mj-cs"/>
              </a:defRPr>
            </a:lvl1pPr>
          </a:lstStyle>
          <a:p>
            <a:r>
              <a:rPr lang="zh-CN" altLang="en-US" sz="3200"/>
              <a:t>非常感谢您的观看</a:t>
            </a:r>
            <a:endParaRPr lang="zh-CN" altLang="en-US" sz="3200"/>
          </a:p>
        </p:txBody>
      </p:sp>
      <p:pic>
        <p:nvPicPr>
          <p:cNvPr id="34" name="图片 33"/>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432197" y="324190"/>
            <a:ext cx="1773827" cy="666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PA_文本框 454"/>
          <p:cNvSpPr txBox="1"/>
          <p:nvPr>
            <p:custDataLst>
              <p:tags r:id="rId5"/>
            </p:custDataLst>
          </p:nvPr>
        </p:nvSpPr>
        <p:spPr>
          <a:xfrm>
            <a:off x="304068" y="1711749"/>
            <a:ext cx="2225843" cy="1014730"/>
          </a:xfrm>
          <a:prstGeom prst="rect">
            <a:avLst/>
          </a:prstGeom>
          <a:noFill/>
        </p:spPr>
        <p:txBody>
          <a:bodyPr wrap="square" rtlCol="0">
            <a:spAutoFit/>
          </a:bodyPr>
          <a:lstStyle/>
          <a:p>
            <a:pPr algn="ctr" defTabSz="685800">
              <a:defRPr/>
            </a:pPr>
            <a:r>
              <a:rPr lang="en-US" altLang="zh-CN" sz="6000" b="1">
                <a:solidFill>
                  <a:schemeClr val="bg1"/>
                </a:solidFill>
                <a:latin typeface="造字工房悦黑演示版常规体" pitchFamily="50" charset="-122"/>
                <a:ea typeface="造字工房悦黑演示版常规体" pitchFamily="50" charset="-122"/>
                <a:cs typeface="+mn-ea"/>
                <a:sym typeface="+mn-lt"/>
              </a:rPr>
              <a:t>202X</a:t>
            </a:r>
            <a:endParaRPr lang="zh-CN" altLang="en-US" sz="5400" b="1">
              <a:solidFill>
                <a:schemeClr val="bg1"/>
              </a:solidFill>
              <a:latin typeface="造字工房悦黑演示版常规体" pitchFamily="50" charset="-122"/>
              <a:ea typeface="造字工房悦黑演示版常规体" pitchFamily="50" charset="-122"/>
              <a:cs typeface="+mn-ea"/>
              <a:sym typeface="+mn-lt"/>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randombar(horizontal)">
                                      <p:cBhvr>
                                        <p:cTn id="7" dur="500"/>
                                        <p:tgtEl>
                                          <p:spTgt spid="25"/>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2" presetClass="entr" presetSubtype="8"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500" fill="hold"/>
                                        <p:tgtEl>
                                          <p:spTgt spid="34"/>
                                        </p:tgtEl>
                                        <p:attrNameLst>
                                          <p:attrName>ppt_x</p:attrName>
                                        </p:attrNameLst>
                                      </p:cBhvr>
                                      <p:tavLst>
                                        <p:tav tm="0">
                                          <p:val>
                                            <p:strVal val="0-#ppt_w/2"/>
                                          </p:val>
                                        </p:tav>
                                        <p:tav tm="100000">
                                          <p:val>
                                            <p:strVal val="#ppt_x"/>
                                          </p:val>
                                        </p:tav>
                                      </p:tavLst>
                                    </p:anim>
                                    <p:anim calcmode="lin" valueType="num">
                                      <p:cBhvr additive="base">
                                        <p:cTn id="13" dur="500" fill="hold"/>
                                        <p:tgtEl>
                                          <p:spTgt spid="34"/>
                                        </p:tgtEl>
                                        <p:attrNameLst>
                                          <p:attrName>ppt_y</p:attrName>
                                        </p:attrNameLst>
                                      </p:cBhvr>
                                      <p:tavLst>
                                        <p:tav tm="0">
                                          <p:val>
                                            <p:strVal val="#ppt_y"/>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fade">
                                      <p:cBhvr>
                                        <p:cTn id="16" dur="1000"/>
                                        <p:tgtEl>
                                          <p:spTgt spid="35"/>
                                        </p:tgtEl>
                                      </p:cBhvr>
                                    </p:animEffect>
                                    <p:anim calcmode="lin" valueType="num">
                                      <p:cBhvr>
                                        <p:cTn id="17" dur="1000" fill="hold"/>
                                        <p:tgtEl>
                                          <p:spTgt spid="35"/>
                                        </p:tgtEl>
                                        <p:attrNameLst>
                                          <p:attrName>ppt_x</p:attrName>
                                        </p:attrNameLst>
                                      </p:cBhvr>
                                      <p:tavLst>
                                        <p:tav tm="0">
                                          <p:val>
                                            <p:strVal val="#ppt_x"/>
                                          </p:val>
                                        </p:tav>
                                        <p:tav tm="100000">
                                          <p:val>
                                            <p:strVal val="#ppt_x"/>
                                          </p:val>
                                        </p:tav>
                                      </p:tavLst>
                                    </p:anim>
                                    <p:anim calcmode="lin" valueType="num">
                                      <p:cBhvr>
                                        <p:cTn id="18"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19" fill="hold" nodeType="clickPar">
                      <p:stCondLst>
                        <p:cond delay="indefinite"/>
                      </p:stCondLst>
                      <p:childTnLst>
                        <p:par>
                          <p:cTn id="20" fill="hold">
                            <p:stCondLst>
                              <p:cond delay="0"/>
                            </p:stCondLst>
                            <p:childTnLst>
                              <p:par>
                                <p:cTn id="21" presetID="55"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anim calcmode="lin" valueType="num">
                                      <p:cBhvr>
                                        <p:cTn id="23" dur="1000" fill="hold"/>
                                        <p:tgtEl>
                                          <p:spTgt spid="33"/>
                                        </p:tgtEl>
                                        <p:attrNameLst>
                                          <p:attrName>ppt_w</p:attrName>
                                        </p:attrNameLst>
                                      </p:cBhvr>
                                      <p:tavLst>
                                        <p:tav tm="0">
                                          <p:val>
                                            <p:strVal val="#ppt_w*0.70"/>
                                          </p:val>
                                        </p:tav>
                                        <p:tav tm="100000">
                                          <p:val>
                                            <p:strVal val="#ppt_w"/>
                                          </p:val>
                                        </p:tav>
                                      </p:tavLst>
                                    </p:anim>
                                    <p:anim calcmode="lin" valueType="num">
                                      <p:cBhvr>
                                        <p:cTn id="24" dur="1000" fill="hold"/>
                                        <p:tgtEl>
                                          <p:spTgt spid="33"/>
                                        </p:tgtEl>
                                        <p:attrNameLst>
                                          <p:attrName>ppt_h</p:attrName>
                                        </p:attrNameLst>
                                      </p:cBhvr>
                                      <p:tavLst>
                                        <p:tav tm="0">
                                          <p:val>
                                            <p:strVal val="#ppt_h"/>
                                          </p:val>
                                        </p:tav>
                                        <p:tav tm="100000">
                                          <p:val>
                                            <p:strVal val="#ppt_h"/>
                                          </p:val>
                                        </p:tav>
                                      </p:tavLst>
                                    </p:anim>
                                    <p:animEffect transition="in" filter="fade">
                                      <p:cBhvr>
                                        <p:cTn id="25" dur="1000"/>
                                        <p:tgtEl>
                                          <p:spTgt spid="33"/>
                                        </p:tgtEl>
                                      </p:cBhvr>
                                    </p:animEffect>
                                  </p:childTnLst>
                                </p:cTn>
                              </p:par>
                            </p:childTnLst>
                          </p:cTn>
                        </p:par>
                      </p:childTnLst>
                    </p:cTn>
                  </p:par>
                  <p:par>
                    <p:cTn id="26" fill="hold" nodeType="clickPar">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wipe(left)">
                                      <p:cBhvr>
                                        <p:cTn id="3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5" grpId="0"/>
    </p:bldLst>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任意多边形 2"/>
          <p:cNvSpPr/>
          <p:nvPr/>
        </p:nvSpPr>
        <p:spPr>
          <a:xfrm>
            <a:off x="2405000" y="2300317"/>
            <a:ext cx="335720" cy="369650"/>
          </a:xfrm>
          <a:custGeom>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1" fmla="*/ 0 w 576263"/>
              <a:gd name="connsiteY0-2" fmla="*/ 0 h 547688"/>
              <a:gd name="connsiteX1-3" fmla="*/ 566738 w 576263"/>
              <a:gd name="connsiteY1-4" fmla="*/ 547688 h 547688"/>
              <a:gd name="connsiteX2-5" fmla="*/ 576263 w 576263"/>
              <a:gd name="connsiteY2-6" fmla="*/ 0 h 547688"/>
              <a:gd name="connsiteX3-7" fmla="*/ 0 w 576263"/>
              <a:gd name="connsiteY3-8" fmla="*/ 0 h 547688"/>
              <a:gd name="connsiteX0-9" fmla="*/ 0 w 576263"/>
              <a:gd name="connsiteY0-10" fmla="*/ 0 h 571500"/>
              <a:gd name="connsiteX1-11" fmla="*/ 566738 w 576263"/>
              <a:gd name="connsiteY1-12" fmla="*/ 571500 h 571500"/>
              <a:gd name="connsiteX2-13" fmla="*/ 576263 w 576263"/>
              <a:gd name="connsiteY2-14" fmla="*/ 0 h 571500"/>
              <a:gd name="connsiteX3-15" fmla="*/ 0 w 576263"/>
              <a:gd name="connsiteY3-16" fmla="*/ 0 h 571500"/>
              <a:gd name="connsiteX0-17" fmla="*/ 0 w 576263"/>
              <a:gd name="connsiteY0-18" fmla="*/ 0 h 576263"/>
              <a:gd name="connsiteX1-19" fmla="*/ 571335 w 576263"/>
              <a:gd name="connsiteY1-20" fmla="*/ 576263 h 576263"/>
              <a:gd name="connsiteX2-21" fmla="*/ 576263 w 576263"/>
              <a:gd name="connsiteY2-22" fmla="*/ 0 h 576263"/>
              <a:gd name="connsiteX3-23" fmla="*/ 0 w 576263"/>
              <a:gd name="connsiteY3-24" fmla="*/ 0 h 576263"/>
              <a:gd name="connsiteX0-25" fmla="*/ 0 w 576448"/>
              <a:gd name="connsiteY0-26" fmla="*/ 0 h 576263"/>
              <a:gd name="connsiteX1-27" fmla="*/ 575933 w 576448"/>
              <a:gd name="connsiteY1-28" fmla="*/ 576263 h 576263"/>
              <a:gd name="connsiteX2-29" fmla="*/ 576263 w 576448"/>
              <a:gd name="connsiteY2-30" fmla="*/ 0 h 576263"/>
              <a:gd name="connsiteX3-31" fmla="*/ 0 w 576448"/>
              <a:gd name="connsiteY3-32" fmla="*/ 0 h 576263"/>
            </a:gdLst>
            <a:cxnLst>
              <a:cxn ang="0">
                <a:pos x="connsiteX0-1" y="connsiteY0-2"/>
              </a:cxn>
              <a:cxn ang="0">
                <a:pos x="connsiteX1-3" y="connsiteY1-4"/>
              </a:cxn>
              <a:cxn ang="0">
                <a:pos x="connsiteX2-5" y="connsiteY2-6"/>
              </a:cxn>
              <a:cxn ang="0">
                <a:pos x="connsiteX3-7" y="connsiteY3-8"/>
              </a:cxn>
            </a:cxnLst>
            <a:rect l="l" t="t" r="r" b="b"/>
            <a:pathLst>
              <a:path w="576448" h="576263">
                <a:moveTo>
                  <a:pt x="0" y="0"/>
                </a:moveTo>
                <a:lnTo>
                  <a:pt x="575933" y="576263"/>
                </a:lnTo>
                <a:cubicBezTo>
                  <a:pt x="577576" y="384175"/>
                  <a:pt x="574620" y="192088"/>
                  <a:pt x="576263" y="0"/>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4" rIns="68569" bIns="34284" anchor="ctr"/>
          <a:lstStyle/>
          <a:p>
            <a:pPr algn="ctr" fontAlgn="base">
              <a:defRPr/>
            </a:pPr>
            <a:endParaRPr lang="zh-CN" altLang="en-US" sz="100" strike="noStrike" noProof="1">
              <a:solidFill>
                <a:prstClr val="white"/>
              </a:solidFill>
            </a:endParaRPr>
          </a:p>
        </p:txBody>
      </p:sp>
      <p:sp>
        <p:nvSpPr>
          <p:cNvPr id="4" name="矩形 3"/>
          <p:cNvSpPr/>
          <p:nvPr/>
        </p:nvSpPr>
        <p:spPr>
          <a:xfrm>
            <a:off x="2736254" y="2302103"/>
            <a:ext cx="5264375" cy="36965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1235" tIns="0" rIns="101235"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en-US" altLang="zh-CN" sz="2080"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PPT</a:t>
            </a:r>
            <a:r>
              <a:rPr kumimoji="0" lang="zh-CN" altLang="en-US" sz="2080"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汇    </a:t>
            </a:r>
            <a:r>
              <a:rPr kumimoji="0" lang="en-US" altLang="zh-CN" sz="2080"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ppthui.com</a:t>
            </a:r>
            <a:endParaRPr kumimoji="0" lang="zh-CN" altLang="en-US" sz="2080"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1143371" y="1870846"/>
            <a:ext cx="5237589" cy="43572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080"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上万精品</a:t>
            </a:r>
            <a:r>
              <a:rPr kumimoji="0" lang="en-US" altLang="zh-CN" sz="2080"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PPT</a:t>
            </a:r>
            <a:r>
              <a:rPr kumimoji="0" lang="zh-CN" altLang="en-US" sz="2080"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模板</a:t>
            </a:r>
            <a:r>
              <a:rPr kumimoji="0" lang="zh-CN" altLang="en-US" sz="2420" b="1" i="0" u="none" strike="noStrike" kern="1200" cap="none" spc="200" normalizeH="0" baseline="0" noProof="1">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全部免费</a:t>
            </a:r>
            <a:r>
              <a:rPr kumimoji="0" lang="zh-CN" altLang="en-US" sz="2080"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下载</a:t>
            </a:r>
            <a:endParaRPr kumimoji="0" lang="zh-CN" altLang="en-US" sz="2080"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endParaRPr>
          </a:p>
        </p:txBody>
      </p:sp>
      <p:sp>
        <p:nvSpPr>
          <p:cNvPr id="6" name="直角三角形 5"/>
          <p:cNvSpPr/>
          <p:nvPr/>
        </p:nvSpPr>
        <p:spPr>
          <a:xfrm>
            <a:off x="6380959" y="1868167"/>
            <a:ext cx="480365" cy="438401"/>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4" rIns="68569" bIns="34284" anchor="ctr"/>
          <a:lstStyle/>
          <a:p>
            <a:pPr algn="ctr" fontAlgn="base">
              <a:defRPr/>
            </a:pPr>
            <a:endParaRPr lang="zh-CN" altLang="en-US" sz="100" strike="noStrike" noProof="1">
              <a:solidFill>
                <a:prstClr val="white"/>
              </a:solidFill>
            </a:endParaRPr>
          </a:p>
        </p:txBody>
      </p:sp>
      <p:sp>
        <p:nvSpPr>
          <p:cNvPr id="38917" name="矩形 11"/>
          <p:cNvSpPr/>
          <p:nvPr/>
        </p:nvSpPr>
        <p:spPr>
          <a:xfrm>
            <a:off x="2186246" y="2848541"/>
            <a:ext cx="4702759" cy="951803"/>
          </a:xfrm>
          <a:prstGeom prst="rect">
            <a:avLst/>
          </a:prstGeom>
          <a:noFill/>
          <a:ln w="25400">
            <a:noFill/>
          </a:ln>
        </p:spPr>
        <p:txBody>
          <a:bodyPr lIns="68569" tIns="34284" rIns="68569" bIns="34284" anchor="ctr"/>
          <a:lstStyle/>
          <a:p>
            <a:pPr eaLnBrk="0" hangingPunct="0">
              <a:lnSpc>
                <a:spcPts val="2400"/>
              </a:lnSpc>
            </a:pPr>
            <a:r>
              <a:rPr lang="en-US" altLang="zh-CN" sz="790" b="1">
                <a:solidFill>
                  <a:srgbClr val="4A452A"/>
                </a:solidFill>
                <a:latin typeface="微软雅黑" panose="020b0503020204020204" pitchFamily="34" charset="-122"/>
                <a:ea typeface="微软雅黑" panose="020b0503020204020204" pitchFamily="34" charset="-122"/>
              </a:rPr>
              <a:t>PPT</a:t>
            </a:r>
            <a:r>
              <a:rPr lang="zh-CN" altLang="en-US" sz="790" b="1">
                <a:solidFill>
                  <a:srgbClr val="4A452A"/>
                </a:solidFill>
                <a:latin typeface="微软雅黑" panose="020b0503020204020204" pitchFamily="34" charset="-122"/>
                <a:ea typeface="微软雅黑" panose="020b0503020204020204" pitchFamily="34" charset="-122"/>
              </a:rPr>
              <a:t>模板下载：</a:t>
            </a:r>
            <a:r>
              <a:rPr lang="en-US" altLang="zh-CN" sz="790" b="1">
                <a:solidFill>
                  <a:srgbClr val="FFC000"/>
                </a:solidFill>
                <a:latin typeface="微软雅黑" panose="020b0503020204020204" pitchFamily="34" charset="-122"/>
                <a:ea typeface="微软雅黑" panose="020b0503020204020204" pitchFamily="34" charset="-122"/>
                <a:hlinkClick r:id="rId3"/>
              </a:rPr>
              <a:t>www.ppthui.com/muban/</a:t>
            </a:r>
            <a:r>
              <a:rPr lang="en-US" altLang="zh-CN" sz="790" b="1">
                <a:solidFill>
                  <a:srgbClr val="FFC000"/>
                </a:solidFill>
                <a:latin typeface="微软雅黑" panose="020b0503020204020204" pitchFamily="34" charset="-122"/>
                <a:ea typeface="微软雅黑" panose="020b0503020204020204" pitchFamily="34" charset="-122"/>
              </a:rPr>
              <a:t>            </a:t>
            </a:r>
            <a:r>
              <a:rPr lang="zh-CN" altLang="en-US" sz="790" b="1">
                <a:solidFill>
                  <a:srgbClr val="4A452A"/>
                </a:solidFill>
                <a:latin typeface="微软雅黑" panose="020b0503020204020204" pitchFamily="34" charset="-122"/>
                <a:ea typeface="微软雅黑" panose="020b0503020204020204" pitchFamily="34" charset="-122"/>
              </a:rPr>
              <a:t>行业</a:t>
            </a:r>
            <a:r>
              <a:rPr lang="en-US" altLang="zh-CN" sz="790" b="1">
                <a:solidFill>
                  <a:srgbClr val="4A452A"/>
                </a:solidFill>
                <a:latin typeface="微软雅黑" panose="020b0503020204020204" pitchFamily="34" charset="-122"/>
                <a:ea typeface="微软雅黑" panose="020b0503020204020204" pitchFamily="34" charset="-122"/>
              </a:rPr>
              <a:t>PPT</a:t>
            </a:r>
            <a:r>
              <a:rPr lang="zh-CN" altLang="en-US" sz="790" b="1">
                <a:solidFill>
                  <a:srgbClr val="4A452A"/>
                </a:solidFill>
                <a:latin typeface="微软雅黑" panose="020b0503020204020204" pitchFamily="34" charset="-122"/>
                <a:ea typeface="微软雅黑" panose="020b0503020204020204" pitchFamily="34" charset="-122"/>
              </a:rPr>
              <a:t>模板：</a:t>
            </a:r>
            <a:r>
              <a:rPr lang="en-US" altLang="zh-CN" sz="790" b="1">
                <a:solidFill>
                  <a:srgbClr val="4A452A"/>
                </a:solidFill>
                <a:latin typeface="微软雅黑" panose="020b0503020204020204" pitchFamily="34" charset="-122"/>
                <a:ea typeface="微软雅黑" panose="020b0503020204020204" pitchFamily="34" charset="-122"/>
                <a:hlinkClick r:id="rId4"/>
              </a:rPr>
              <a:t>www.ppthui.com/hangye/</a:t>
            </a:r>
            <a:endParaRPr lang="en-US" altLang="zh-CN" sz="790" b="1">
              <a:solidFill>
                <a:srgbClr val="4A452A"/>
              </a:solidFill>
              <a:latin typeface="微软雅黑" panose="020b0503020204020204" pitchFamily="34" charset="-122"/>
              <a:ea typeface="微软雅黑" panose="020b0503020204020204" pitchFamily="34" charset="-122"/>
            </a:endParaRPr>
          </a:p>
          <a:p>
            <a:pPr eaLnBrk="0" hangingPunct="0">
              <a:lnSpc>
                <a:spcPts val="2400"/>
              </a:lnSpc>
            </a:pPr>
            <a:r>
              <a:rPr lang="zh-CN" altLang="en-US" sz="790" b="1">
                <a:solidFill>
                  <a:srgbClr val="4A452A"/>
                </a:solidFill>
                <a:latin typeface="微软雅黑" panose="020b0503020204020204" pitchFamily="34" charset="-122"/>
                <a:ea typeface="微软雅黑" panose="020b0503020204020204" pitchFamily="34" charset="-122"/>
              </a:rPr>
              <a:t>工作</a:t>
            </a:r>
            <a:r>
              <a:rPr lang="en-US" altLang="zh-CN" sz="790" b="1">
                <a:solidFill>
                  <a:srgbClr val="4A452A"/>
                </a:solidFill>
                <a:latin typeface="微软雅黑" panose="020b0503020204020204" pitchFamily="34" charset="-122"/>
                <a:ea typeface="微软雅黑" panose="020b0503020204020204" pitchFamily="34" charset="-122"/>
              </a:rPr>
              <a:t>PPT</a:t>
            </a:r>
            <a:r>
              <a:rPr lang="zh-CN" altLang="en-US" sz="790" b="1">
                <a:solidFill>
                  <a:srgbClr val="4A452A"/>
                </a:solidFill>
                <a:latin typeface="微软雅黑" panose="020b0503020204020204" pitchFamily="34" charset="-122"/>
                <a:ea typeface="微软雅黑" panose="020b0503020204020204" pitchFamily="34" charset="-122"/>
              </a:rPr>
              <a:t>模板：</a:t>
            </a:r>
            <a:r>
              <a:rPr lang="en-US" altLang="zh-CN" sz="790" b="1">
                <a:solidFill>
                  <a:srgbClr val="4A452A"/>
                </a:solidFill>
                <a:latin typeface="微软雅黑" panose="020b0503020204020204" pitchFamily="34" charset="-122"/>
                <a:ea typeface="微软雅黑" panose="020b0503020204020204" pitchFamily="34" charset="-122"/>
                <a:hlinkClick r:id="rId5"/>
              </a:rPr>
              <a:t>www.ppthui.com/gongzuo/</a:t>
            </a:r>
            <a:r>
              <a:rPr lang="en-US" altLang="zh-CN" sz="790" b="1">
                <a:solidFill>
                  <a:srgbClr val="4A452A"/>
                </a:solidFill>
                <a:latin typeface="微软雅黑" panose="020b0503020204020204" pitchFamily="34" charset="-122"/>
                <a:ea typeface="微软雅黑" panose="020b0503020204020204" pitchFamily="34" charset="-122"/>
              </a:rPr>
              <a:t>         </a:t>
            </a:r>
            <a:r>
              <a:rPr lang="zh-CN" altLang="en-US" sz="790" b="1">
                <a:solidFill>
                  <a:srgbClr val="4A452A"/>
                </a:solidFill>
                <a:latin typeface="微软雅黑" panose="020b0503020204020204" pitchFamily="34" charset="-122"/>
                <a:ea typeface="微软雅黑" panose="020b0503020204020204" pitchFamily="34" charset="-122"/>
              </a:rPr>
              <a:t>节日</a:t>
            </a:r>
            <a:r>
              <a:rPr lang="en-US" altLang="zh-CN" sz="790" b="1">
                <a:solidFill>
                  <a:srgbClr val="4A452A"/>
                </a:solidFill>
                <a:latin typeface="微软雅黑" panose="020b0503020204020204" pitchFamily="34" charset="-122"/>
                <a:ea typeface="微软雅黑" panose="020b0503020204020204" pitchFamily="34" charset="-122"/>
              </a:rPr>
              <a:t>PPT</a:t>
            </a:r>
            <a:r>
              <a:rPr lang="zh-CN" altLang="en-US" sz="790" b="1">
                <a:solidFill>
                  <a:srgbClr val="4A452A"/>
                </a:solidFill>
                <a:latin typeface="微软雅黑" panose="020b0503020204020204" pitchFamily="34" charset="-122"/>
                <a:ea typeface="微软雅黑" panose="020b0503020204020204" pitchFamily="34" charset="-122"/>
              </a:rPr>
              <a:t>模板：</a:t>
            </a:r>
            <a:r>
              <a:rPr lang="en-US" altLang="zh-CN" sz="790" b="1">
                <a:solidFill>
                  <a:srgbClr val="4A452A"/>
                </a:solidFill>
                <a:latin typeface="微软雅黑" panose="020b0503020204020204" pitchFamily="34" charset="-122"/>
                <a:ea typeface="微软雅黑" panose="020b0503020204020204" pitchFamily="34" charset="-122"/>
                <a:hlinkClick r:id="rId6"/>
              </a:rPr>
              <a:t>www.ppthui.com/jieri/</a:t>
            </a:r>
            <a:endParaRPr lang="en-US" altLang="zh-CN" sz="790" b="1">
              <a:solidFill>
                <a:srgbClr val="4A452A"/>
              </a:solidFill>
              <a:latin typeface="微软雅黑" panose="020b0503020204020204" pitchFamily="34" charset="-122"/>
              <a:ea typeface="微软雅黑" panose="020b0503020204020204" pitchFamily="34" charset="-122"/>
            </a:endParaRPr>
          </a:p>
          <a:p>
            <a:pPr eaLnBrk="0" hangingPunct="0">
              <a:lnSpc>
                <a:spcPts val="2400"/>
              </a:lnSpc>
            </a:pPr>
            <a:r>
              <a:rPr lang="en-US" altLang="zh-CN" sz="790" b="1">
                <a:solidFill>
                  <a:srgbClr val="4A452A"/>
                </a:solidFill>
                <a:latin typeface="微软雅黑" panose="020b0503020204020204" pitchFamily="34" charset="-122"/>
                <a:ea typeface="微软雅黑" panose="020b0503020204020204" pitchFamily="34" charset="-122"/>
              </a:rPr>
              <a:t>PPT</a:t>
            </a:r>
            <a:r>
              <a:rPr lang="zh-CN" altLang="en-US" sz="790" b="1">
                <a:solidFill>
                  <a:srgbClr val="4A452A"/>
                </a:solidFill>
                <a:latin typeface="微软雅黑" panose="020b0503020204020204" pitchFamily="34" charset="-122"/>
                <a:ea typeface="微软雅黑" panose="020b0503020204020204" pitchFamily="34" charset="-122"/>
              </a:rPr>
              <a:t>背景图片：</a:t>
            </a:r>
            <a:r>
              <a:rPr lang="en-US" altLang="zh-CN" sz="790" b="1">
                <a:solidFill>
                  <a:srgbClr val="4A452A"/>
                </a:solidFill>
                <a:latin typeface="微软雅黑" panose="020b0503020204020204" pitchFamily="34" charset="-122"/>
                <a:ea typeface="微软雅黑" panose="020b0503020204020204" pitchFamily="34" charset="-122"/>
              </a:rPr>
              <a:t> </a:t>
            </a:r>
            <a:r>
              <a:rPr lang="en-US" altLang="zh-CN" sz="790" b="1">
                <a:solidFill>
                  <a:srgbClr val="4A452A"/>
                </a:solidFill>
                <a:latin typeface="微软雅黑" panose="020b0503020204020204" pitchFamily="34" charset="-122"/>
                <a:ea typeface="微软雅黑" panose="020b0503020204020204" pitchFamily="34" charset="-122"/>
                <a:hlinkClick r:id="rId7"/>
              </a:rPr>
              <a:t>www.ppthui.com/beijing/</a:t>
            </a:r>
            <a:r>
              <a:rPr lang="en-US" altLang="zh-CN" sz="790" b="1">
                <a:solidFill>
                  <a:srgbClr val="4A452A"/>
                </a:solidFill>
                <a:latin typeface="微软雅黑" panose="020b0503020204020204" pitchFamily="34" charset="-122"/>
                <a:ea typeface="微软雅黑" panose="020b0503020204020204" pitchFamily="34" charset="-122"/>
              </a:rPr>
              <a:t>            PPT</a:t>
            </a:r>
            <a:r>
              <a:rPr lang="zh-CN" altLang="en-US" sz="790" b="1">
                <a:solidFill>
                  <a:srgbClr val="4A452A"/>
                </a:solidFill>
                <a:latin typeface="微软雅黑" panose="020b0503020204020204" pitchFamily="34" charset="-122"/>
                <a:ea typeface="微软雅黑" panose="020b0503020204020204" pitchFamily="34" charset="-122"/>
              </a:rPr>
              <a:t>课件模板：</a:t>
            </a:r>
            <a:r>
              <a:rPr lang="en-US" altLang="zh-CN" sz="790" b="1">
                <a:solidFill>
                  <a:srgbClr val="4A452A"/>
                </a:solidFill>
                <a:latin typeface="微软雅黑" panose="020b0503020204020204" pitchFamily="34" charset="-122"/>
                <a:ea typeface="微软雅黑" panose="020b0503020204020204" pitchFamily="34" charset="-122"/>
                <a:hlinkClick r:id="rId8"/>
              </a:rPr>
              <a:t>www.ppthui.com/kejian/</a:t>
            </a:r>
            <a:endParaRPr lang="en-US" altLang="zh-CN" sz="790" b="1">
              <a:solidFill>
                <a:srgbClr val="4A452A"/>
              </a:solidFill>
              <a:latin typeface="微软雅黑" panose="020b0503020204020204" pitchFamily="34" charset="-122"/>
              <a:ea typeface="微软雅黑" panose="020b0503020204020204" pitchFamily="34" charset="-122"/>
            </a:endParaRPr>
          </a:p>
        </p:txBody>
      </p:sp>
      <p:pic>
        <p:nvPicPr>
          <p:cNvPr id="38918" name="Picture 2" descr="C:\Users\20999\Desktop\PPT宣传页背景.png"/>
          <p:cNvPicPr>
            <a:picLocks noChangeAspect="1"/>
          </p:cNvPicPr>
          <p:nvPr/>
        </p:nvPicPr>
        <p:blipFill>
          <a:blip r:embed="rId9"/>
          <a:stretch>
            <a:fillRect/>
          </a:stretch>
        </p:blipFill>
        <p:spPr>
          <a:xfrm>
            <a:off x="3466625" y="730647"/>
            <a:ext cx="2142894" cy="1071447"/>
          </a:xfrm>
          <a:prstGeom prst="rect">
            <a:avLst/>
          </a:prstGeom>
          <a:noFill/>
          <a:ln w="9525">
            <a:noFill/>
          </a:ln>
        </p:spPr>
      </p:pic>
    </p:spTree>
  </p:cSld>
  <p:clrMapOvr>
    <a:masterClrMapping/>
  </p:clrMapOvr>
  <p:transition spd="med" advClick="0" advTm="0">
    <p:push dir="r"/>
  </p:transition>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矩形 2"/>
          <p:cNvSpPr/>
          <p:nvPr/>
        </p:nvSpPr>
        <p:spPr>
          <a:xfrm>
            <a:off x="6668" y="-10478"/>
            <a:ext cx="9136856" cy="517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rgbClr val="FFFFFF"/>
                </a:solidFill>
                <a:latin typeface="Arial"/>
                <a:ea typeface="+mn-ea"/>
                <a:cs typeface="+mn-cs"/>
              </a:defRPr>
            </a:lvl1pPr>
            <a:lvl2pPr marL="342900" algn="l" defTabSz="685800" rtl="0" eaLnBrk="1" latinLnBrk="0" hangingPunct="1">
              <a:defRPr sz="1350" kern="1200">
                <a:solidFill>
                  <a:srgbClr val="FFFFFF"/>
                </a:solidFill>
                <a:latin typeface="Arial"/>
                <a:ea typeface="+mn-ea"/>
                <a:cs typeface="+mn-cs"/>
              </a:defRPr>
            </a:lvl2pPr>
            <a:lvl3pPr marL="685800" algn="l" defTabSz="685800" rtl="0" eaLnBrk="1" latinLnBrk="0" hangingPunct="1">
              <a:defRPr sz="1350" kern="1200">
                <a:solidFill>
                  <a:srgbClr val="FFFFFF"/>
                </a:solidFill>
                <a:latin typeface="Arial"/>
                <a:ea typeface="+mn-ea"/>
                <a:cs typeface="+mn-cs"/>
              </a:defRPr>
            </a:lvl3pPr>
            <a:lvl4pPr marL="1028700" algn="l" defTabSz="685800" rtl="0" eaLnBrk="1" latinLnBrk="0" hangingPunct="1">
              <a:defRPr sz="1350" kern="1200">
                <a:solidFill>
                  <a:srgbClr val="FFFFFF"/>
                </a:solidFill>
                <a:latin typeface="Arial"/>
                <a:ea typeface="+mn-ea"/>
                <a:cs typeface="+mn-cs"/>
              </a:defRPr>
            </a:lvl4pPr>
            <a:lvl5pPr marL="1371600" algn="l" defTabSz="685800" rtl="0" eaLnBrk="1" latinLnBrk="0" hangingPunct="1">
              <a:defRPr sz="1350" kern="1200">
                <a:solidFill>
                  <a:srgbClr val="FFFFFF"/>
                </a:solidFill>
                <a:latin typeface="Arial"/>
                <a:ea typeface="+mn-ea"/>
                <a:cs typeface="+mn-cs"/>
              </a:defRPr>
            </a:lvl5pPr>
            <a:lvl6pPr marL="1714500" algn="l" defTabSz="685800" rtl="0" eaLnBrk="1" latinLnBrk="0" hangingPunct="1">
              <a:defRPr sz="1350" kern="1200">
                <a:solidFill>
                  <a:srgbClr val="FFFFFF"/>
                </a:solidFill>
                <a:latin typeface="Arial"/>
                <a:ea typeface="+mn-ea"/>
                <a:cs typeface="+mn-cs"/>
              </a:defRPr>
            </a:lvl6pPr>
            <a:lvl7pPr marL="2057400" algn="l" defTabSz="685800" rtl="0" eaLnBrk="1" latinLnBrk="0" hangingPunct="1">
              <a:defRPr sz="1350" kern="1200">
                <a:solidFill>
                  <a:srgbClr val="FFFFFF"/>
                </a:solidFill>
                <a:latin typeface="Arial"/>
                <a:ea typeface="+mn-ea"/>
                <a:cs typeface="+mn-cs"/>
              </a:defRPr>
            </a:lvl7pPr>
            <a:lvl8pPr marL="2400300" algn="l" defTabSz="685800" rtl="0" eaLnBrk="1" latinLnBrk="0" hangingPunct="1">
              <a:defRPr sz="1350" kern="1200">
                <a:solidFill>
                  <a:srgbClr val="FFFFFF"/>
                </a:solidFill>
                <a:latin typeface="Arial"/>
                <a:ea typeface="+mn-ea"/>
                <a:cs typeface="+mn-cs"/>
              </a:defRPr>
            </a:lvl8pPr>
            <a:lvl9pPr marL="2743200" algn="l" defTabSz="685800" rtl="0" eaLnBrk="1" latinLnBrk="0" hangingPunct="1">
              <a:defRPr sz="1350" kern="1200">
                <a:solidFill>
                  <a:srgbClr val="FFFFFF"/>
                </a:solidFill>
                <a:latin typeface="Arial"/>
                <a:ea typeface="+mn-ea"/>
                <a:cs typeface="+mn-cs"/>
              </a:defRPr>
            </a:lvl9pPr>
          </a:lstStyle>
          <a:p>
            <a:pPr algn="ctr"/>
            <a:endParaRPr lang="zh-CN" altLang="en-US"/>
          </a:p>
        </p:txBody>
      </p:sp>
      <p:sp>
        <p:nvSpPr>
          <p:cNvPr id="7" name="矩形 6"/>
          <p:cNvSpPr/>
          <p:nvPr/>
        </p:nvSpPr>
        <p:spPr>
          <a:xfrm>
            <a:off x="476" y="1211580"/>
            <a:ext cx="9143524" cy="92821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685800" rtl="0" eaLnBrk="1" latinLnBrk="0" hangingPunct="1">
              <a:defRPr sz="1350" kern="1200">
                <a:solidFill>
                  <a:srgbClr val="FFFFFF"/>
                </a:solidFill>
                <a:latin typeface="Arial"/>
                <a:ea typeface="+mn-ea"/>
                <a:cs typeface="+mn-cs"/>
              </a:defRPr>
            </a:lvl1pPr>
            <a:lvl2pPr marL="342900" algn="l" defTabSz="685800" rtl="0" eaLnBrk="1" latinLnBrk="0" hangingPunct="1">
              <a:defRPr sz="1350" kern="1200">
                <a:solidFill>
                  <a:srgbClr val="FFFFFF"/>
                </a:solidFill>
                <a:latin typeface="Arial"/>
                <a:ea typeface="+mn-ea"/>
                <a:cs typeface="+mn-cs"/>
              </a:defRPr>
            </a:lvl2pPr>
            <a:lvl3pPr marL="685800" algn="l" defTabSz="685800" rtl="0" eaLnBrk="1" latinLnBrk="0" hangingPunct="1">
              <a:defRPr sz="1350" kern="1200">
                <a:solidFill>
                  <a:srgbClr val="FFFFFF"/>
                </a:solidFill>
                <a:latin typeface="Arial"/>
                <a:ea typeface="+mn-ea"/>
                <a:cs typeface="+mn-cs"/>
              </a:defRPr>
            </a:lvl3pPr>
            <a:lvl4pPr marL="1028700" algn="l" defTabSz="685800" rtl="0" eaLnBrk="1" latinLnBrk="0" hangingPunct="1">
              <a:defRPr sz="1350" kern="1200">
                <a:solidFill>
                  <a:srgbClr val="FFFFFF"/>
                </a:solidFill>
                <a:latin typeface="Arial"/>
                <a:ea typeface="+mn-ea"/>
                <a:cs typeface="+mn-cs"/>
              </a:defRPr>
            </a:lvl4pPr>
            <a:lvl5pPr marL="1371600" algn="l" defTabSz="685800" rtl="0" eaLnBrk="1" latinLnBrk="0" hangingPunct="1">
              <a:defRPr sz="1350" kern="1200">
                <a:solidFill>
                  <a:srgbClr val="FFFFFF"/>
                </a:solidFill>
                <a:latin typeface="Arial"/>
                <a:ea typeface="+mn-ea"/>
                <a:cs typeface="+mn-cs"/>
              </a:defRPr>
            </a:lvl5pPr>
            <a:lvl6pPr marL="1714500" algn="l" defTabSz="685800" rtl="0" eaLnBrk="1" latinLnBrk="0" hangingPunct="1">
              <a:defRPr sz="1350" kern="1200">
                <a:solidFill>
                  <a:srgbClr val="FFFFFF"/>
                </a:solidFill>
                <a:latin typeface="Arial"/>
                <a:ea typeface="+mn-ea"/>
                <a:cs typeface="+mn-cs"/>
              </a:defRPr>
            </a:lvl6pPr>
            <a:lvl7pPr marL="2057400" algn="l" defTabSz="685800" rtl="0" eaLnBrk="1" latinLnBrk="0" hangingPunct="1">
              <a:defRPr sz="1350" kern="1200">
                <a:solidFill>
                  <a:srgbClr val="FFFFFF"/>
                </a:solidFill>
                <a:latin typeface="Arial"/>
                <a:ea typeface="+mn-ea"/>
                <a:cs typeface="+mn-cs"/>
              </a:defRPr>
            </a:lvl7pPr>
            <a:lvl8pPr marL="2400300" algn="l" defTabSz="685800" rtl="0" eaLnBrk="1" latinLnBrk="0" hangingPunct="1">
              <a:defRPr sz="1350" kern="1200">
                <a:solidFill>
                  <a:srgbClr val="FFFFFF"/>
                </a:solidFill>
                <a:latin typeface="Arial"/>
                <a:ea typeface="+mn-ea"/>
                <a:cs typeface="+mn-cs"/>
              </a:defRPr>
            </a:lvl8pPr>
            <a:lvl9pPr marL="2743200" algn="l" defTabSz="685800" rtl="0" eaLnBrk="1" latinLnBrk="0" hangingPunct="1">
              <a:defRPr sz="1350" kern="1200">
                <a:solidFill>
                  <a:srgbClr val="FFFFFF"/>
                </a:solidFill>
                <a:latin typeface="Arial"/>
                <a:ea typeface="+mn-ea"/>
                <a:cs typeface="+mn-cs"/>
              </a:defRPr>
            </a:lvl9pPr>
          </a:lstStyle>
          <a:p>
            <a:pPr marL="0" marR="0" indent="0" algn="ctr" defTabSz="6858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100"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10000+套</a:t>
            </a:r>
            <a:r>
              <a:rPr kumimoji="0" lang="zh-CN" altLang="en-US"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精品</a:t>
            </a:r>
            <a:r>
              <a:rPr kumimoji="0" lang="en-US" altLang="zh-CN"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PPT</a:t>
            </a:r>
            <a:r>
              <a:rPr kumimoji="0" lang="zh-CN" altLang="en-US"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模板</a:t>
            </a:r>
            <a:r>
              <a:rPr kumimoji="0" lang="zh-CN" altLang="en-US" sz="2085" b="1" i="0" u="none" strike="noStrike" kern="1200" cap="none" spc="150" normalizeH="0" baseline="0" noProof="1">
                <a:solidFill>
                  <a:srgbClr val="FFC000"/>
                </a:solidFill>
                <a:effectLst>
                  <a:outerShdw blurRad="38100" dist="38100" dir="2700000" algn="tl">
                    <a:srgbClr val="000000">
                      <a:alpha val="43137"/>
                    </a:srgbClr>
                  </a:outerShdw>
                </a:effectLst>
                <a:latin typeface="微软雅黑" panose="020b0503020204020204" charset="-122"/>
                <a:ea typeface="微软雅黑"/>
                <a:cs typeface="+mn-cs"/>
              </a:rPr>
              <a:t>全部免费</a:t>
            </a:r>
            <a:r>
              <a:rPr kumimoji="0" lang="zh-CN" altLang="en-US"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下载</a:t>
            </a:r>
            <a:endParaRPr kumimoji="0" lang="zh-CN" altLang="en-US"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endParaRPr>
          </a:p>
          <a:p>
            <a:pPr marL="0" marR="0" indent="0" algn="ctr" defTabSz="685800" rtl="0" eaLnBrk="0" fontAlgn="base" latinLnBrk="0" hangingPunct="0">
              <a:lnSpc>
                <a:spcPct val="100000"/>
              </a:lnSpc>
              <a:spcBef>
                <a:spcPct val="0"/>
              </a:spcBef>
              <a:spcAft>
                <a:spcPct val="0"/>
              </a:spcAft>
              <a:buClrTx/>
              <a:buSzTx/>
              <a:buFont typeface="Arial" panose="020b0604020202020204" pitchFamily="34" charset="0"/>
              <a:buNone/>
              <a:defRPr/>
            </a:pPr>
            <a:r>
              <a:rPr kumimoji="0" lang="en-US" altLang="zh-CN"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www.ppthui.com</a:t>
            </a:r>
            <a:endParaRPr kumimoji="0" lang="en-US" altLang="zh-CN"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endParaRPr>
          </a:p>
        </p:txBody>
      </p:sp>
      <p:sp>
        <p:nvSpPr>
          <p:cNvPr id="38917" name="矩形 11"/>
          <p:cNvSpPr/>
          <p:nvPr/>
        </p:nvSpPr>
        <p:spPr>
          <a:xfrm>
            <a:off x="2095500" y="2336006"/>
            <a:ext cx="4950619" cy="1473517"/>
          </a:xfrm>
          <a:prstGeom prst="rect">
            <a:avLst/>
          </a:prstGeom>
          <a:noFill/>
          <a:ln w="25400">
            <a:noFill/>
          </a:ln>
        </p:spPr>
        <p:txBody>
          <a:bodyPr wrap="none" lIns="68540" tIns="34268" rIns="68540" bIns="34268" anchor="ctr">
            <a:noAutofit/>
          </a:bodyP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lnSpc>
                <a:spcPts val="1800"/>
              </a:lnSpc>
            </a:pPr>
            <a:r>
              <a:rPr lang="en-US" altLang="zh-CN" sz="2100" b="1">
                <a:solidFill>
                  <a:schemeClr val="accent4">
                    <a:lumMod val="75000"/>
                  </a:schemeClr>
                </a:solidFill>
                <a:latin typeface="微软雅黑" panose="020b0503020204020204" charset="-122"/>
                <a:ea typeface="微软雅黑"/>
                <a:cs typeface="微软雅黑" panose="020b0503020204020204" charset="-122"/>
                <a:sym typeface="+mn-ea"/>
                <a:hlinkClick r:id="rId3" action="ppaction://hlinkfile"/>
              </a:rPr>
              <a:t>PPT汇</a:t>
            </a:r>
            <a:endParaRPr lang="zh-CN" altLang="en-US" sz="1800" b="1" spc="150">
              <a:solidFill>
                <a:schemeClr val="tx1"/>
              </a:solidFill>
              <a:effectLst>
                <a:outerShdw blurRad="38100" dist="38100" dir="2700000" algn="tl">
                  <a:srgbClr val="000000">
                    <a:alpha val="43137"/>
                  </a:srgbClr>
                </a:outerShdw>
              </a:effectLst>
              <a:latin typeface="微软雅黑" panose="020b0503020204020204" charset="-122"/>
              <a:ea typeface="微软雅黑"/>
              <a:cs typeface="微软雅黑" panose="020b0503020204020204" charset="-122"/>
              <a:sym typeface="+mn-ea"/>
            </a:endParaRPr>
          </a:p>
          <a:p>
            <a:pPr algn="ctr" eaLnBrk="0" hangingPunct="0">
              <a:lnSpc>
                <a:spcPts val="1800"/>
              </a:lnSpc>
            </a:pPr>
            <a:endParaRPr lang="en-US" altLang="zh-CN" sz="1800" b="1">
              <a:solidFill>
                <a:schemeClr val="tx1"/>
              </a:solidFill>
              <a:latin typeface="+mn-ea"/>
              <a:cs typeface="+mn-ea"/>
            </a:endParaRPr>
          </a:p>
          <a:p>
            <a:pPr algn="l" eaLnBrk="0" hangingPunct="0">
              <a:lnSpc>
                <a:spcPts val="1800"/>
              </a:lnSpc>
            </a:pPr>
            <a:r>
              <a:rPr lang="en-US" altLang="zh-CN" sz="900" b="1">
                <a:latin typeface="微软雅黑" panose="020b0503020204020204" charset="-122"/>
                <a:ea typeface="微软雅黑"/>
                <a:cs typeface="微软雅黑" panose="020b0503020204020204" charset="-122"/>
              </a:rPr>
              <a:t>PPT模板下载：</a:t>
            </a:r>
            <a:r>
              <a:rPr lang="en-US" altLang="zh-CN" sz="900">
                <a:latin typeface="微软雅黑" panose="020b0503020204020204" charset="-122"/>
                <a:ea typeface="微软雅黑"/>
                <a:cs typeface="微软雅黑" panose="020b0503020204020204" charset="-122"/>
                <a:hlinkClick r:id="rId4"/>
              </a:rPr>
              <a:t>www.ppthui.com/muban/</a:t>
            </a:r>
            <a:r>
              <a:rPr lang="en-US" altLang="zh-CN" sz="900" b="1">
                <a:solidFill>
                  <a:srgbClr val="FFC000"/>
                </a:solidFill>
                <a:latin typeface="微软雅黑" panose="020b0503020204020204" charset="-122"/>
                <a:ea typeface="微软雅黑"/>
                <a:cs typeface="微软雅黑" panose="020b0503020204020204" charset="-122"/>
              </a:rPr>
              <a:t>            </a:t>
            </a:r>
            <a:r>
              <a:rPr lang="en-US" altLang="zh-CN" sz="900" b="1">
                <a:latin typeface="微软雅黑" panose="020b0503020204020204" charset="-122"/>
                <a:ea typeface="微软雅黑"/>
                <a:cs typeface="微软雅黑" panose="020b0503020204020204" charset="-122"/>
              </a:rPr>
              <a:t>行业PPT模板：</a:t>
            </a:r>
            <a:r>
              <a:rPr lang="en-US" altLang="zh-CN" sz="900">
                <a:latin typeface="微软雅黑" panose="020b0503020204020204" charset="-122"/>
                <a:ea typeface="微软雅黑"/>
                <a:cs typeface="微软雅黑" panose="020b0503020204020204" charset="-122"/>
                <a:hlinkClick r:id="rId5"/>
              </a:rPr>
              <a:t>www.ppthui.com/hangye/</a:t>
            </a:r>
            <a:endParaRPr lang="en-US" altLang="zh-CN" sz="900" b="1">
              <a:solidFill>
                <a:srgbClr val="4A452A"/>
              </a:solidFill>
              <a:latin typeface="微软雅黑" panose="020b0503020204020204" charset="-122"/>
              <a:ea typeface="微软雅黑"/>
              <a:cs typeface="微软雅黑" panose="020b0503020204020204" charset="-122"/>
            </a:endParaRPr>
          </a:p>
          <a:p>
            <a:pPr algn="l" eaLnBrk="0" hangingPunct="0">
              <a:lnSpc>
                <a:spcPts val="1800"/>
              </a:lnSpc>
            </a:pPr>
            <a:r>
              <a:rPr lang="en-US" altLang="zh-CN" sz="900" b="1">
                <a:latin typeface="微软雅黑" panose="020b0503020204020204" charset="-122"/>
                <a:ea typeface="微软雅黑"/>
                <a:cs typeface="微软雅黑" panose="020b0503020204020204" charset="-122"/>
              </a:rPr>
              <a:t>工作PPT模板：</a:t>
            </a:r>
            <a:r>
              <a:rPr lang="en-US" altLang="zh-CN" sz="900">
                <a:latin typeface="微软雅黑" panose="020b0503020204020204" charset="-122"/>
                <a:ea typeface="微软雅黑"/>
                <a:cs typeface="微软雅黑" panose="020b0503020204020204" charset="-122"/>
                <a:hlinkClick r:id="rId6"/>
              </a:rPr>
              <a:t>www.ppthui.com/gongzuo/</a:t>
            </a:r>
            <a:r>
              <a:rPr lang="en-US" altLang="zh-CN" sz="900" b="1">
                <a:solidFill>
                  <a:srgbClr val="4A452A"/>
                </a:solidFill>
                <a:latin typeface="微软雅黑" panose="020b0503020204020204" charset="-122"/>
                <a:ea typeface="微软雅黑"/>
                <a:cs typeface="微软雅黑" panose="020b0503020204020204" charset="-122"/>
              </a:rPr>
              <a:t>         </a:t>
            </a:r>
            <a:r>
              <a:rPr lang="en-US" altLang="zh-CN" sz="900" b="1">
                <a:latin typeface="微软雅黑" panose="020b0503020204020204" charset="-122"/>
                <a:ea typeface="微软雅黑"/>
                <a:cs typeface="微软雅黑" panose="020b0503020204020204" charset="-122"/>
              </a:rPr>
              <a:t>节日PPT模板：</a:t>
            </a:r>
            <a:r>
              <a:rPr lang="en-US" altLang="zh-CN" sz="900">
                <a:latin typeface="微软雅黑" panose="020b0503020204020204" charset="-122"/>
                <a:ea typeface="微软雅黑"/>
                <a:cs typeface="微软雅黑" panose="020b0503020204020204" charset="-122"/>
                <a:hlinkClick r:id="rId7"/>
              </a:rPr>
              <a:t>www.ppthui.com/jieri/</a:t>
            </a:r>
            <a:endParaRPr lang="en-US" altLang="zh-CN" sz="900" b="1">
              <a:solidFill>
                <a:srgbClr val="4A452A"/>
              </a:solidFill>
              <a:latin typeface="微软雅黑" panose="020b0503020204020204" charset="-122"/>
              <a:ea typeface="微软雅黑"/>
              <a:cs typeface="微软雅黑" panose="020b0503020204020204" charset="-122"/>
              <a:hlinkClick r:id="rId7"/>
            </a:endParaRPr>
          </a:p>
          <a:p>
            <a:pPr algn="l" eaLnBrk="0" hangingPunct="0">
              <a:lnSpc>
                <a:spcPts val="1800"/>
              </a:lnSpc>
            </a:pPr>
            <a:r>
              <a:rPr lang="en-US" altLang="zh-CN" sz="900" b="1">
                <a:latin typeface="微软雅黑" panose="020b0503020204020204" charset="-122"/>
                <a:ea typeface="微软雅黑"/>
                <a:cs typeface="微软雅黑" panose="020b0503020204020204" charset="-122"/>
              </a:rPr>
              <a:t>党政军事PPT：</a:t>
            </a:r>
            <a:r>
              <a:rPr lang="en-US" altLang="zh-CN" sz="900">
                <a:latin typeface="微软雅黑" panose="020b0503020204020204" charset="-122"/>
                <a:ea typeface="微软雅黑"/>
                <a:cs typeface="微软雅黑" panose="020b0503020204020204" charset="-122"/>
                <a:hlinkClick r:id="rId8"/>
              </a:rPr>
              <a:t>www.ppthui.com/dangzheng/</a:t>
            </a:r>
            <a:r>
              <a:rPr lang="en-US" altLang="zh-CN" sz="900">
                <a:solidFill>
                  <a:srgbClr val="4A452A"/>
                </a:solidFill>
                <a:latin typeface="微软雅黑" panose="020b0503020204020204" charset="-122"/>
                <a:ea typeface="微软雅黑"/>
                <a:cs typeface="微软雅黑" panose="020b0503020204020204" charset="-122"/>
              </a:rPr>
              <a:t> </a:t>
            </a:r>
            <a:r>
              <a:rPr lang="en-US" altLang="zh-CN" sz="900" b="1">
                <a:solidFill>
                  <a:srgbClr val="4A452A"/>
                </a:solidFill>
                <a:latin typeface="微软雅黑" panose="020b0503020204020204" charset="-122"/>
                <a:ea typeface="微软雅黑"/>
                <a:cs typeface="微软雅黑" panose="020b0503020204020204" charset="-122"/>
              </a:rPr>
              <a:t>    </a:t>
            </a:r>
            <a:r>
              <a:rPr lang="en-US" altLang="zh-CN" sz="900" b="1">
                <a:latin typeface="微软雅黑" panose="020b0503020204020204" charset="-122"/>
                <a:ea typeface="微软雅黑"/>
                <a:cs typeface="微软雅黑" panose="020b0503020204020204" charset="-122"/>
              </a:rPr>
              <a:t>教育说课课件：</a:t>
            </a:r>
            <a:r>
              <a:rPr lang="en-US" altLang="zh-CN" sz="900">
                <a:latin typeface="微软雅黑" panose="020b0503020204020204" charset="-122"/>
                <a:ea typeface="微软雅黑"/>
                <a:cs typeface="微软雅黑" panose="020b0503020204020204" charset="-122"/>
                <a:hlinkClick r:id="rId9"/>
              </a:rPr>
              <a:t>www.ppthui.com/jiaoyu/</a:t>
            </a:r>
            <a:endParaRPr lang="en-US" altLang="zh-CN" sz="900">
              <a:latin typeface="微软雅黑" panose="020b0503020204020204" charset="-122"/>
              <a:ea typeface="微软雅黑"/>
              <a:cs typeface="微软雅黑" panose="020b0503020204020204" charset="-122"/>
              <a:hlinkClick r:id="rId9"/>
            </a:endParaRPr>
          </a:p>
        </p:txBody>
      </p:sp>
      <p:pic>
        <p:nvPicPr>
          <p:cNvPr id="38918" name="Picture 2" descr="C:\Users\20999\Desktop\PPT宣传页背景.png"/>
          <p:cNvPicPr>
            <a:picLocks noChangeAspect="1"/>
          </p:cNvPicPr>
          <p:nvPr/>
        </p:nvPicPr>
        <p:blipFill>
          <a:blip r:embed="rId10"/>
          <a:stretch>
            <a:fillRect/>
          </a:stretch>
        </p:blipFill>
        <p:spPr>
          <a:xfrm>
            <a:off x="3499924" y="72723"/>
            <a:ext cx="2142045" cy="1071023"/>
          </a:xfrm>
          <a:prstGeom prst="rect">
            <a:avLst/>
          </a:prstGeom>
          <a:noFill/>
          <a:ln w="9525">
            <a:noFill/>
          </a:ln>
        </p:spPr>
      </p:pic>
      <p:sp>
        <p:nvSpPr>
          <p:cNvPr id="2" name="文本框 1"/>
          <p:cNvSpPr txBox="1"/>
          <p:nvPr/>
        </p:nvSpPr>
        <p:spPr>
          <a:xfrm>
            <a:off x="1414939" y="3809524"/>
            <a:ext cx="6315551" cy="1026319"/>
          </a:xfrm>
          <a:prstGeom prst="rect">
            <a:avLst/>
          </a:prstGeom>
          <a:noFill/>
        </p:spPr>
        <p:txBody>
          <a:bodyPr wrap="square" rtlCol="0">
            <a:spAutoFit/>
          </a:bodyP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altLang="zh-CN" sz="900" b="1">
                <a:latin typeface="微软雅黑" panose="020b0503020204020204" charset="-122"/>
                <a:ea typeface="微软雅黑"/>
                <a:cs typeface="微软雅黑" panose="020b0503020204020204" charset="-122"/>
              </a:rPr>
              <a:t>PPT</a:t>
            </a:r>
            <a:r>
              <a:rPr lang="zh-CN" altLang="en-US" sz="900" b="1">
                <a:latin typeface="微软雅黑" panose="020b0503020204020204" charset="-122"/>
                <a:ea typeface="微软雅黑"/>
                <a:cs typeface="微软雅黑" panose="020b0503020204020204" charset="-122"/>
              </a:rPr>
              <a:t>模板：</a:t>
            </a:r>
            <a:r>
              <a:rPr lang="zh-CN" altLang="en-US" sz="900">
                <a:latin typeface="微软雅黑" panose="020b0503020204020204" charset="-122"/>
                <a:ea typeface="微软雅黑"/>
                <a:cs typeface="微软雅黑" panose="020b0503020204020204" charset="-122"/>
                <a:hlinkClick r:id="rId11" action="ppaction://hlinkfile"/>
              </a:rPr>
              <a:t>简洁模板</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2" action="ppaction://hlinkfile"/>
              </a:rPr>
              <a:t>商务模板</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3" action="ppaction://hlinkfile"/>
              </a:rPr>
              <a:t>自然风景</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4" action="ppaction://hlinkfile"/>
              </a:rPr>
              <a:t>时尚模板</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5" action="ppaction://hlinkfile"/>
              </a:rPr>
              <a:t>古典模板</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6" action="ppaction://hlinkfile"/>
              </a:rPr>
              <a:t>浪漫爱情</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7" action="ppaction://hlinkfile"/>
              </a:rPr>
              <a:t>卡通动漫</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8" action="ppaction://hlinkfile"/>
              </a:rPr>
              <a:t>艺术设计</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9" action="ppaction://hlinkfile"/>
              </a:rPr>
              <a:t>主题班会</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0" action="ppaction://hlinkfile"/>
              </a:rPr>
              <a:t>背景图片</a:t>
            </a:r>
            <a:endParaRPr lang="zh-CN" altLang="en-US" sz="900">
              <a:latin typeface="微软雅黑" panose="020b0503020204020204" charset="-122"/>
              <a:ea typeface="微软雅黑"/>
              <a:cs typeface="微软雅黑" panose="020b0503020204020204" charset="-122"/>
            </a:endParaRPr>
          </a:p>
          <a:p>
            <a:endParaRPr lang="zh-CN" altLang="en-US" sz="900">
              <a:latin typeface="微软雅黑" panose="020b0503020204020204" charset="-122"/>
              <a:ea typeface="微软雅黑"/>
              <a:cs typeface="微软雅黑" panose="020b0503020204020204" charset="-122"/>
            </a:endParaRPr>
          </a:p>
          <a:p>
            <a:r>
              <a:rPr lang="zh-CN" altLang="en-US" sz="900" b="1">
                <a:latin typeface="微软雅黑" panose="020b0503020204020204" charset="-122"/>
                <a:ea typeface="微软雅黑"/>
                <a:cs typeface="微软雅黑" panose="020b0503020204020204" charset="-122"/>
              </a:rPr>
              <a:t>行业</a:t>
            </a:r>
            <a:r>
              <a:rPr lang="en-US" altLang="zh-CN" sz="900" b="1">
                <a:latin typeface="微软雅黑" panose="020b0503020204020204" charset="-122"/>
                <a:ea typeface="微软雅黑"/>
                <a:cs typeface="微软雅黑" panose="020b0503020204020204" charset="-122"/>
              </a:rPr>
              <a:t>PPT</a:t>
            </a:r>
            <a:r>
              <a:rPr lang="zh-CN" altLang="en-US" sz="900" b="1">
                <a:latin typeface="微软雅黑" panose="020b0503020204020204" charset="-122"/>
                <a:ea typeface="微软雅黑"/>
                <a:cs typeface="微软雅黑" panose="020b0503020204020204" charset="-122"/>
              </a:rPr>
              <a:t>：</a:t>
            </a:r>
            <a:r>
              <a:rPr lang="zh-CN" altLang="en-US" sz="900">
                <a:latin typeface="微软雅黑" panose="020b0503020204020204" charset="-122"/>
                <a:ea typeface="微软雅黑"/>
                <a:cs typeface="微软雅黑" panose="020b0503020204020204" charset="-122"/>
                <a:hlinkClick r:id="rId21" action="ppaction://hlinkfile"/>
              </a:rPr>
              <a:t>党政军事</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2" action="ppaction://hlinkfile"/>
              </a:rPr>
              <a:t>科技模板</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3" action="ppaction://hlinkfile"/>
              </a:rPr>
              <a:t>工业机械</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4" action="ppaction://hlinkfile"/>
              </a:rPr>
              <a:t>医学医疗</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5" action="ppaction://hlinkfile"/>
              </a:rPr>
              <a:t>旅游旅行</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6" action="ppaction://hlinkfile"/>
              </a:rPr>
              <a:t>金融理财</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7" action="ppaction://hlinkfile"/>
              </a:rPr>
              <a:t>餐饮美食</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8" action="ppaction://hlinkfile"/>
              </a:rPr>
              <a:t>教育培训</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9" action="ppaction://hlinkfile"/>
              </a:rPr>
              <a:t>教学说课</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0" action="ppaction://hlinkfile"/>
              </a:rPr>
              <a:t>营销销售</a:t>
            </a:r>
            <a:endParaRPr lang="zh-CN" altLang="en-US" sz="900">
              <a:latin typeface="微软雅黑" panose="020b0503020204020204" charset="-122"/>
              <a:ea typeface="微软雅黑"/>
              <a:cs typeface="微软雅黑" panose="020b0503020204020204" charset="-122"/>
            </a:endParaRPr>
          </a:p>
          <a:p>
            <a:endParaRPr lang="zh-CN" altLang="en-US" sz="900">
              <a:latin typeface="微软雅黑" panose="020b0503020204020204" charset="-122"/>
              <a:ea typeface="微软雅黑"/>
              <a:cs typeface="微软雅黑" panose="020b0503020204020204" charset="-122"/>
            </a:endParaRPr>
          </a:p>
          <a:p>
            <a:r>
              <a:rPr lang="zh-CN" altLang="en-US" sz="900" b="1">
                <a:latin typeface="微软雅黑" panose="020b0503020204020204" charset="-122"/>
                <a:ea typeface="微软雅黑"/>
                <a:cs typeface="微软雅黑" panose="020b0503020204020204" charset="-122"/>
              </a:rPr>
              <a:t>工作</a:t>
            </a:r>
            <a:r>
              <a:rPr lang="en-US" altLang="zh-CN" sz="900" b="1">
                <a:latin typeface="微软雅黑" panose="020b0503020204020204" charset="-122"/>
                <a:ea typeface="微软雅黑"/>
                <a:cs typeface="微软雅黑" panose="020b0503020204020204" charset="-122"/>
              </a:rPr>
              <a:t>PPT</a:t>
            </a:r>
            <a:r>
              <a:rPr lang="zh-CN" altLang="en-US" sz="900" b="1">
                <a:latin typeface="微软雅黑" panose="020b0503020204020204" charset="-122"/>
                <a:ea typeface="微软雅黑"/>
                <a:cs typeface="微软雅黑" panose="020b0503020204020204" charset="-122"/>
              </a:rPr>
              <a:t>：</a:t>
            </a:r>
            <a:r>
              <a:rPr lang="zh-CN" altLang="en-US" sz="900">
                <a:latin typeface="微软雅黑" panose="020b0503020204020204" charset="-122"/>
                <a:ea typeface="微软雅黑"/>
                <a:cs typeface="微软雅黑" panose="020b0503020204020204" charset="-122"/>
                <a:hlinkClick r:id="rId31" action="ppaction://hlinkfile"/>
              </a:rPr>
              <a:t>工作汇报</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2" action="ppaction://hlinkfile"/>
              </a:rPr>
              <a:t>毕业答辩</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3" action="ppaction://hlinkfile"/>
              </a:rPr>
              <a:t>工作培训</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4" action="ppaction://hlinkfile"/>
              </a:rPr>
              <a:t>述职报告</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5" action="ppaction://hlinkfile"/>
              </a:rPr>
              <a:t>分析报告</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6" action="ppaction://hlinkfile"/>
              </a:rPr>
              <a:t>个人简历</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7" action="ppaction://hlinkfile"/>
              </a:rPr>
              <a:t>公司简介</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6" action="ppaction://hlinkfile"/>
              </a:rPr>
              <a:t>商业金融</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8" action="ppaction://hlinkfile"/>
              </a:rPr>
              <a:t>工作总结</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9" action="ppaction://hlinkfile"/>
              </a:rPr>
              <a:t>团队管理</a:t>
            </a:r>
            <a:endParaRPr lang="zh-CN" altLang="en-US" sz="750">
              <a:latin typeface="微软雅黑" panose="020b0503020204020204" charset="-122"/>
              <a:ea typeface="微软雅黑"/>
              <a:cs typeface="微软雅黑" panose="020b0503020204020204" charset="-122"/>
            </a:endParaRPr>
          </a:p>
          <a:p>
            <a:endParaRPr lang="zh-CN" altLang="en-US" sz="675">
              <a:latin typeface="微软雅黑" panose="020b0503020204020204" charset="-122"/>
              <a:ea typeface="微软雅黑"/>
              <a:cs typeface="微软雅黑" panose="020b0503020204020204" charset="-122"/>
            </a:endParaRPr>
          </a:p>
          <a:p>
            <a:pPr algn="ctr"/>
            <a:r>
              <a:rPr lang="en-US" altLang="zh-CN" sz="1050" b="1">
                <a:solidFill>
                  <a:schemeClr val="tx1">
                    <a:lumMod val="75000"/>
                    <a:lumOff val="25000"/>
                  </a:schemeClr>
                </a:solidFill>
                <a:latin typeface="微软雅黑" panose="020b0503020204020204" charset="-122"/>
                <a:ea typeface="微软雅黑"/>
                <a:cs typeface="微软雅黑" panose="020b0503020204020204" charset="-122"/>
                <a:hlinkClick r:id="rId3" action="ppaction://hlinkfile"/>
              </a:rPr>
              <a:t>More+</a:t>
            </a:r>
            <a:endParaRPr lang="en-US" altLang="zh-CN" sz="1050" b="1">
              <a:solidFill>
                <a:schemeClr val="tx1">
                  <a:lumMod val="75000"/>
                  <a:lumOff val="25000"/>
                </a:schemeClr>
              </a:solidFill>
              <a:latin typeface="微软雅黑" panose="020b0503020204020204" charset="-122"/>
              <a:ea typeface="微软雅黑"/>
              <a:cs typeface="微软雅黑" panose="020b0503020204020204" charset="-122"/>
              <a:hlinkClick r:id="rId3" action="ppaction://hlinkfile"/>
            </a:endParaRPr>
          </a:p>
        </p:txBody>
      </p:sp>
    </p:spTree>
  </p:cSld>
  <p:clrMapOvr>
    <a:masterClrMapping/>
  </p:clrMapOvr>
  <p:transition spd="med" advClick="0" advTm="0">
    <p:push dir="r"/>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椭圆 7"/>
          <p:cNvSpPr/>
          <p:nvPr/>
        </p:nvSpPr>
        <p:spPr>
          <a:xfrm>
            <a:off x="395536" y="1545730"/>
            <a:ext cx="1012073" cy="1012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3100">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sz="3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9" name="MH_Entry_1"/>
          <p:cNvSpPr/>
          <p:nvPr>
            <p:custDataLst>
              <p:tags r:id="rId3"/>
            </p:custDataLst>
          </p:nvPr>
        </p:nvSpPr>
        <p:spPr>
          <a:xfrm>
            <a:off x="1668657" y="1419622"/>
            <a:ext cx="2939470" cy="615553"/>
          </a:xfrm>
          <a:custGeom>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3175" cap="sq">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spAutoFit/>
          </a:bodyPr>
          <a:lstStyle/>
          <a:p>
            <a:r>
              <a:rPr lang="zh-CN" altLang="en-US" sz="2800" b="1">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rPr>
              <a:t>单击输入标题</a:t>
            </a:r>
            <a:endParaRPr lang="en-US" altLang="zh-CN" sz="2800" b="1">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a:p>
            <a:r>
              <a:rPr lang="en-US" altLang="zh-CN" sz="12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rPr>
              <a:t>ANNUAL WORK SUMMARY</a:t>
            </a:r>
            <a:endParaRPr lang="zh-CN" altLang="en-US" sz="12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11"/>
          <p:cNvSpPr txBox="1"/>
          <p:nvPr/>
        </p:nvSpPr>
        <p:spPr>
          <a:xfrm>
            <a:off x="3131840" y="215968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TextBox 11"/>
          <p:cNvSpPr txBox="1"/>
          <p:nvPr/>
        </p:nvSpPr>
        <p:spPr>
          <a:xfrm>
            <a:off x="1668657" y="215968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TextBox 11"/>
          <p:cNvSpPr txBox="1"/>
          <p:nvPr/>
        </p:nvSpPr>
        <p:spPr>
          <a:xfrm>
            <a:off x="3131840" y="236582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TextBox 12"/>
          <p:cNvSpPr txBox="1"/>
          <p:nvPr/>
        </p:nvSpPr>
        <p:spPr>
          <a:xfrm>
            <a:off x="1668657" y="236582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Freeform 6"/>
          <p:cNvSpPr/>
          <p:nvPr/>
        </p:nvSpPr>
        <p:spPr bwMode="auto">
          <a:xfrm>
            <a:off x="252" y="3838725"/>
            <a:ext cx="9143498" cy="1304775"/>
          </a:xfrm>
          <a:custGeom>
            <a:gdLst>
              <a:gd name="T0" fmla="*/ 1115 w 5702"/>
              <a:gd name="T1" fmla="*/ 0 h 1219"/>
              <a:gd name="T2" fmla="*/ 1277 w 5702"/>
              <a:gd name="T3" fmla="*/ 0 h 1219"/>
              <a:gd name="T4" fmla="*/ 1428 w 5702"/>
              <a:gd name="T5" fmla="*/ 2 h 1219"/>
              <a:gd name="T6" fmla="*/ 1569 w 5702"/>
              <a:gd name="T7" fmla="*/ 2 h 1219"/>
              <a:gd name="T8" fmla="*/ 1698 w 5702"/>
              <a:gd name="T9" fmla="*/ 4 h 1219"/>
              <a:gd name="T10" fmla="*/ 1816 w 5702"/>
              <a:gd name="T11" fmla="*/ 6 h 1219"/>
              <a:gd name="T12" fmla="*/ 1922 w 5702"/>
              <a:gd name="T13" fmla="*/ 7 h 1219"/>
              <a:gd name="T14" fmla="*/ 2018 w 5702"/>
              <a:gd name="T15" fmla="*/ 11 h 1219"/>
              <a:gd name="T16" fmla="*/ 2102 w 5702"/>
              <a:gd name="T17" fmla="*/ 14 h 1219"/>
              <a:gd name="T18" fmla="*/ 2201 w 5702"/>
              <a:gd name="T19" fmla="*/ 20 h 1219"/>
              <a:gd name="T20" fmla="*/ 2293 w 5702"/>
              <a:gd name="T21" fmla="*/ 32 h 1219"/>
              <a:gd name="T22" fmla="*/ 2375 w 5702"/>
              <a:gd name="T23" fmla="*/ 46 h 1219"/>
              <a:gd name="T24" fmla="*/ 2452 w 5702"/>
              <a:gd name="T25" fmla="*/ 63 h 1219"/>
              <a:gd name="T26" fmla="*/ 2518 w 5702"/>
              <a:gd name="T27" fmla="*/ 84 h 1219"/>
              <a:gd name="T28" fmla="*/ 2579 w 5702"/>
              <a:gd name="T29" fmla="*/ 107 h 1219"/>
              <a:gd name="T30" fmla="*/ 2633 w 5702"/>
              <a:gd name="T31" fmla="*/ 131 h 1219"/>
              <a:gd name="T32" fmla="*/ 2680 w 5702"/>
              <a:gd name="T33" fmla="*/ 157 h 1219"/>
              <a:gd name="T34" fmla="*/ 2722 w 5702"/>
              <a:gd name="T35" fmla="*/ 185 h 1219"/>
              <a:gd name="T36" fmla="*/ 2756 w 5702"/>
              <a:gd name="T37" fmla="*/ 213 h 1219"/>
              <a:gd name="T38" fmla="*/ 2788 w 5702"/>
              <a:gd name="T39" fmla="*/ 241 h 1219"/>
              <a:gd name="T40" fmla="*/ 2812 w 5702"/>
              <a:gd name="T41" fmla="*/ 269 h 1219"/>
              <a:gd name="T42" fmla="*/ 2835 w 5702"/>
              <a:gd name="T43" fmla="*/ 295 h 1219"/>
              <a:gd name="T44" fmla="*/ 2852 w 5702"/>
              <a:gd name="T45" fmla="*/ 319 h 1219"/>
              <a:gd name="T46" fmla="*/ 2868 w 5702"/>
              <a:gd name="T47" fmla="*/ 295 h 1219"/>
              <a:gd name="T48" fmla="*/ 2891 w 5702"/>
              <a:gd name="T49" fmla="*/ 269 h 1219"/>
              <a:gd name="T50" fmla="*/ 2915 w 5702"/>
              <a:gd name="T51" fmla="*/ 241 h 1219"/>
              <a:gd name="T52" fmla="*/ 2946 w 5702"/>
              <a:gd name="T53" fmla="*/ 213 h 1219"/>
              <a:gd name="T54" fmla="*/ 2981 w 5702"/>
              <a:gd name="T55" fmla="*/ 185 h 1219"/>
              <a:gd name="T56" fmla="*/ 3023 w 5702"/>
              <a:gd name="T57" fmla="*/ 157 h 1219"/>
              <a:gd name="T58" fmla="*/ 3070 w 5702"/>
              <a:gd name="T59" fmla="*/ 131 h 1219"/>
              <a:gd name="T60" fmla="*/ 3124 w 5702"/>
              <a:gd name="T61" fmla="*/ 107 h 1219"/>
              <a:gd name="T62" fmla="*/ 3185 w 5702"/>
              <a:gd name="T63" fmla="*/ 84 h 1219"/>
              <a:gd name="T64" fmla="*/ 3253 w 5702"/>
              <a:gd name="T65" fmla="*/ 63 h 1219"/>
              <a:gd name="T66" fmla="*/ 3328 w 5702"/>
              <a:gd name="T67" fmla="*/ 46 h 1219"/>
              <a:gd name="T68" fmla="*/ 3409 w 5702"/>
              <a:gd name="T69" fmla="*/ 32 h 1219"/>
              <a:gd name="T70" fmla="*/ 3502 w 5702"/>
              <a:gd name="T71" fmla="*/ 20 h 1219"/>
              <a:gd name="T72" fmla="*/ 3601 w 5702"/>
              <a:gd name="T73" fmla="*/ 14 h 1219"/>
              <a:gd name="T74" fmla="*/ 3684 w 5702"/>
              <a:gd name="T75" fmla="*/ 11 h 1219"/>
              <a:gd name="T76" fmla="*/ 3780 w 5702"/>
              <a:gd name="T77" fmla="*/ 7 h 1219"/>
              <a:gd name="T78" fmla="*/ 3886 w 5702"/>
              <a:gd name="T79" fmla="*/ 6 h 1219"/>
              <a:gd name="T80" fmla="*/ 4005 w 5702"/>
              <a:gd name="T81" fmla="*/ 4 h 1219"/>
              <a:gd name="T82" fmla="*/ 4134 w 5702"/>
              <a:gd name="T83" fmla="*/ 2 h 1219"/>
              <a:gd name="T84" fmla="*/ 4275 w 5702"/>
              <a:gd name="T85" fmla="*/ 2 h 1219"/>
              <a:gd name="T86" fmla="*/ 4426 w 5702"/>
              <a:gd name="T87" fmla="*/ 0 h 1219"/>
              <a:gd name="T88" fmla="*/ 4588 w 5702"/>
              <a:gd name="T89" fmla="*/ 0 h 1219"/>
              <a:gd name="T90" fmla="*/ 4799 w 5702"/>
              <a:gd name="T91" fmla="*/ 0 h 1219"/>
              <a:gd name="T92" fmla="*/ 4999 w 5702"/>
              <a:gd name="T93" fmla="*/ 2 h 1219"/>
              <a:gd name="T94" fmla="*/ 5189 w 5702"/>
              <a:gd name="T95" fmla="*/ 4 h 1219"/>
              <a:gd name="T96" fmla="*/ 5368 w 5702"/>
              <a:gd name="T97" fmla="*/ 6 h 1219"/>
              <a:gd name="T98" fmla="*/ 5541 w 5702"/>
              <a:gd name="T99" fmla="*/ 7 h 1219"/>
              <a:gd name="T100" fmla="*/ 5702 w 5702"/>
              <a:gd name="T101" fmla="*/ 9 h 1219"/>
              <a:gd name="T102" fmla="*/ 5702 w 5702"/>
              <a:gd name="T103" fmla="*/ 1219 h 1219"/>
              <a:gd name="T104" fmla="*/ 0 w 5702"/>
              <a:gd name="T105" fmla="*/ 1219 h 1219"/>
              <a:gd name="T106" fmla="*/ 0 w 5702"/>
              <a:gd name="T107" fmla="*/ 9 h 1219"/>
              <a:gd name="T108" fmla="*/ 164 w 5702"/>
              <a:gd name="T109" fmla="*/ 7 h 1219"/>
              <a:gd name="T110" fmla="*/ 335 w 5702"/>
              <a:gd name="T111" fmla="*/ 6 h 1219"/>
              <a:gd name="T112" fmla="*/ 514 w 5702"/>
              <a:gd name="T113" fmla="*/ 4 h 1219"/>
              <a:gd name="T114" fmla="*/ 704 w 5702"/>
              <a:gd name="T115" fmla="*/ 2 h 1219"/>
              <a:gd name="T116" fmla="*/ 904 w 5702"/>
              <a:gd name="T117" fmla="*/ 0 h 1219"/>
              <a:gd name="T118" fmla="*/ 1115 w 5702"/>
              <a:gd name="T119" fmla="*/ 0 h 12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2" h="1219">
                <a:moveTo>
                  <a:pt x="1115" y="0"/>
                </a:moveTo>
                <a:lnTo>
                  <a:pt x="1277" y="0"/>
                </a:lnTo>
                <a:lnTo>
                  <a:pt x="1428" y="2"/>
                </a:lnTo>
                <a:lnTo>
                  <a:pt x="1569" y="2"/>
                </a:lnTo>
                <a:lnTo>
                  <a:pt x="1698" y="4"/>
                </a:lnTo>
                <a:lnTo>
                  <a:pt x="1816" y="6"/>
                </a:lnTo>
                <a:lnTo>
                  <a:pt x="1922" y="7"/>
                </a:lnTo>
                <a:lnTo>
                  <a:pt x="2018" y="11"/>
                </a:lnTo>
                <a:lnTo>
                  <a:pt x="2102" y="14"/>
                </a:lnTo>
                <a:lnTo>
                  <a:pt x="2201" y="20"/>
                </a:lnTo>
                <a:lnTo>
                  <a:pt x="2293" y="32"/>
                </a:lnTo>
                <a:lnTo>
                  <a:pt x="2375" y="46"/>
                </a:lnTo>
                <a:lnTo>
                  <a:pt x="2452" y="63"/>
                </a:lnTo>
                <a:lnTo>
                  <a:pt x="2518" y="84"/>
                </a:lnTo>
                <a:lnTo>
                  <a:pt x="2579" y="107"/>
                </a:lnTo>
                <a:lnTo>
                  <a:pt x="2633" y="131"/>
                </a:lnTo>
                <a:lnTo>
                  <a:pt x="2680" y="157"/>
                </a:lnTo>
                <a:lnTo>
                  <a:pt x="2722" y="185"/>
                </a:lnTo>
                <a:lnTo>
                  <a:pt x="2756" y="213"/>
                </a:lnTo>
                <a:lnTo>
                  <a:pt x="2788" y="241"/>
                </a:lnTo>
                <a:lnTo>
                  <a:pt x="2812" y="269"/>
                </a:lnTo>
                <a:lnTo>
                  <a:pt x="2835" y="295"/>
                </a:lnTo>
                <a:lnTo>
                  <a:pt x="2852" y="319"/>
                </a:lnTo>
                <a:lnTo>
                  <a:pt x="2868" y="295"/>
                </a:lnTo>
                <a:lnTo>
                  <a:pt x="2891" y="269"/>
                </a:lnTo>
                <a:lnTo>
                  <a:pt x="2915" y="241"/>
                </a:lnTo>
                <a:lnTo>
                  <a:pt x="2946" y="213"/>
                </a:lnTo>
                <a:lnTo>
                  <a:pt x="2981" y="185"/>
                </a:lnTo>
                <a:lnTo>
                  <a:pt x="3023" y="157"/>
                </a:lnTo>
                <a:lnTo>
                  <a:pt x="3070" y="131"/>
                </a:lnTo>
                <a:lnTo>
                  <a:pt x="3124" y="107"/>
                </a:lnTo>
                <a:lnTo>
                  <a:pt x="3185" y="84"/>
                </a:lnTo>
                <a:lnTo>
                  <a:pt x="3253" y="63"/>
                </a:lnTo>
                <a:lnTo>
                  <a:pt x="3328" y="46"/>
                </a:lnTo>
                <a:lnTo>
                  <a:pt x="3409" y="32"/>
                </a:lnTo>
                <a:lnTo>
                  <a:pt x="3502" y="20"/>
                </a:lnTo>
                <a:lnTo>
                  <a:pt x="3601" y="14"/>
                </a:lnTo>
                <a:lnTo>
                  <a:pt x="3684" y="11"/>
                </a:lnTo>
                <a:lnTo>
                  <a:pt x="3780" y="7"/>
                </a:lnTo>
                <a:lnTo>
                  <a:pt x="3886" y="6"/>
                </a:lnTo>
                <a:lnTo>
                  <a:pt x="4005" y="4"/>
                </a:lnTo>
                <a:lnTo>
                  <a:pt x="4134" y="2"/>
                </a:lnTo>
                <a:lnTo>
                  <a:pt x="4275" y="2"/>
                </a:lnTo>
                <a:lnTo>
                  <a:pt x="4426" y="0"/>
                </a:lnTo>
                <a:lnTo>
                  <a:pt x="4588" y="0"/>
                </a:lnTo>
                <a:lnTo>
                  <a:pt x="4799" y="0"/>
                </a:lnTo>
                <a:lnTo>
                  <a:pt x="4999" y="2"/>
                </a:lnTo>
                <a:lnTo>
                  <a:pt x="5189" y="4"/>
                </a:lnTo>
                <a:lnTo>
                  <a:pt x="5368" y="6"/>
                </a:lnTo>
                <a:lnTo>
                  <a:pt x="5541" y="7"/>
                </a:lnTo>
                <a:lnTo>
                  <a:pt x="5702" y="9"/>
                </a:lnTo>
                <a:lnTo>
                  <a:pt x="5702" y="1219"/>
                </a:lnTo>
                <a:lnTo>
                  <a:pt x="0" y="1219"/>
                </a:lnTo>
                <a:lnTo>
                  <a:pt x="0" y="9"/>
                </a:lnTo>
                <a:lnTo>
                  <a:pt x="164" y="7"/>
                </a:lnTo>
                <a:lnTo>
                  <a:pt x="335" y="6"/>
                </a:lnTo>
                <a:lnTo>
                  <a:pt x="514" y="4"/>
                </a:lnTo>
                <a:lnTo>
                  <a:pt x="704" y="2"/>
                </a:lnTo>
                <a:lnTo>
                  <a:pt x="904" y="0"/>
                </a:lnTo>
                <a:lnTo>
                  <a:pt x="1115" y="0"/>
                </a:lnTo>
                <a:close/>
              </a:path>
            </a:pathLst>
          </a:custGeom>
          <a:solidFill>
            <a:schemeClr val="accent2"/>
          </a:solidFill>
          <a:ln w="0">
            <a:noFill/>
            <a:prstDash val="solid"/>
            <a:round/>
          </a:ln>
        </p:spPr>
        <p:txBody>
          <a:bodyPr vert="horz" wrap="square" lIns="91433" tIns="45717" rIns="91433" bIns="45717" numCol="1" anchor="t" anchorCtr="0" compatLnSpc="1"/>
          <a:lstStyle/>
          <a:p>
            <a:endParaRPr lang="zh-CN" altLang="en-US"/>
          </a:p>
        </p:txBody>
      </p:sp>
      <p:sp>
        <p:nvSpPr>
          <p:cNvPr id="18" name="Freeform 7"/>
          <p:cNvSpPr/>
          <p:nvPr/>
        </p:nvSpPr>
        <p:spPr bwMode="auto">
          <a:xfrm>
            <a:off x="252" y="3647129"/>
            <a:ext cx="9143498" cy="421724"/>
          </a:xfrm>
          <a:custGeom>
            <a:gdLst>
              <a:gd name="T0" fmla="*/ 1184 w 5702"/>
              <a:gd name="T1" fmla="*/ 0 h 394"/>
              <a:gd name="T2" fmla="*/ 1492 w 5702"/>
              <a:gd name="T3" fmla="*/ 2 h 394"/>
              <a:gd name="T4" fmla="*/ 1754 w 5702"/>
              <a:gd name="T5" fmla="*/ 5 h 394"/>
              <a:gd name="T6" fmla="*/ 1968 w 5702"/>
              <a:gd name="T7" fmla="*/ 11 h 394"/>
              <a:gd name="T8" fmla="*/ 2156 w 5702"/>
              <a:gd name="T9" fmla="*/ 19 h 394"/>
              <a:gd name="T10" fmla="*/ 2333 w 5702"/>
              <a:gd name="T11" fmla="*/ 42 h 394"/>
              <a:gd name="T12" fmla="*/ 2480 w 5702"/>
              <a:gd name="T13" fmla="*/ 78 h 394"/>
              <a:gd name="T14" fmla="*/ 2598 w 5702"/>
              <a:gd name="T15" fmla="*/ 122 h 394"/>
              <a:gd name="T16" fmla="*/ 2690 w 5702"/>
              <a:gd name="T17" fmla="*/ 172 h 394"/>
              <a:gd name="T18" fmla="*/ 2763 w 5702"/>
              <a:gd name="T19" fmla="*/ 225 h 394"/>
              <a:gd name="T20" fmla="*/ 2816 w 5702"/>
              <a:gd name="T21" fmla="*/ 277 h 394"/>
              <a:gd name="T22" fmla="*/ 2852 w 5702"/>
              <a:gd name="T23" fmla="*/ 326 h 394"/>
              <a:gd name="T24" fmla="*/ 2887 w 5702"/>
              <a:gd name="T25" fmla="*/ 277 h 394"/>
              <a:gd name="T26" fmla="*/ 2939 w 5702"/>
              <a:gd name="T27" fmla="*/ 225 h 394"/>
              <a:gd name="T28" fmla="*/ 3012 w 5702"/>
              <a:gd name="T29" fmla="*/ 172 h 394"/>
              <a:gd name="T30" fmla="*/ 3105 w 5702"/>
              <a:gd name="T31" fmla="*/ 122 h 394"/>
              <a:gd name="T32" fmla="*/ 3223 w 5702"/>
              <a:gd name="T33" fmla="*/ 78 h 394"/>
              <a:gd name="T34" fmla="*/ 3369 w 5702"/>
              <a:gd name="T35" fmla="*/ 42 h 394"/>
              <a:gd name="T36" fmla="*/ 3547 w 5702"/>
              <a:gd name="T37" fmla="*/ 19 h 394"/>
              <a:gd name="T38" fmla="*/ 3735 w 5702"/>
              <a:gd name="T39" fmla="*/ 11 h 394"/>
              <a:gd name="T40" fmla="*/ 3949 w 5702"/>
              <a:gd name="T41" fmla="*/ 5 h 394"/>
              <a:gd name="T42" fmla="*/ 4210 w 5702"/>
              <a:gd name="T43" fmla="*/ 2 h 394"/>
              <a:gd name="T44" fmla="*/ 4519 w 5702"/>
              <a:gd name="T45" fmla="*/ 0 h 394"/>
              <a:gd name="T46" fmla="*/ 4907 w 5702"/>
              <a:gd name="T47" fmla="*/ 0 h 394"/>
              <a:gd name="T48" fmla="*/ 5318 w 5702"/>
              <a:gd name="T49" fmla="*/ 2 h 394"/>
              <a:gd name="T50" fmla="*/ 5702 w 5702"/>
              <a:gd name="T51" fmla="*/ 5 h 394"/>
              <a:gd name="T52" fmla="*/ 5513 w 5702"/>
              <a:gd name="T53" fmla="*/ 72 h 394"/>
              <a:gd name="T54" fmla="*/ 5116 w 5702"/>
              <a:gd name="T55" fmla="*/ 70 h 394"/>
              <a:gd name="T56" fmla="*/ 4689 w 5702"/>
              <a:gd name="T57" fmla="*/ 68 h 394"/>
              <a:gd name="T58" fmla="*/ 4358 w 5702"/>
              <a:gd name="T59" fmla="*/ 70 h 394"/>
              <a:gd name="T60" fmla="*/ 4073 w 5702"/>
              <a:gd name="T61" fmla="*/ 72 h 394"/>
              <a:gd name="T62" fmla="*/ 3836 w 5702"/>
              <a:gd name="T63" fmla="*/ 75 h 394"/>
              <a:gd name="T64" fmla="*/ 3648 w 5702"/>
              <a:gd name="T65" fmla="*/ 80 h 394"/>
              <a:gd name="T66" fmla="*/ 3455 w 5702"/>
              <a:gd name="T67" fmla="*/ 98 h 394"/>
              <a:gd name="T68" fmla="*/ 3293 w 5702"/>
              <a:gd name="T69" fmla="*/ 127 h 394"/>
              <a:gd name="T70" fmla="*/ 3162 w 5702"/>
              <a:gd name="T71" fmla="*/ 167 h 394"/>
              <a:gd name="T72" fmla="*/ 3056 w 5702"/>
              <a:gd name="T73" fmla="*/ 214 h 394"/>
              <a:gd name="T74" fmla="*/ 2974 w 5702"/>
              <a:gd name="T75" fmla="*/ 266 h 394"/>
              <a:gd name="T76" fmla="*/ 2911 w 5702"/>
              <a:gd name="T77" fmla="*/ 320 h 394"/>
              <a:gd name="T78" fmla="*/ 2868 w 5702"/>
              <a:gd name="T79" fmla="*/ 371 h 394"/>
              <a:gd name="T80" fmla="*/ 2835 w 5702"/>
              <a:gd name="T81" fmla="*/ 371 h 394"/>
              <a:gd name="T82" fmla="*/ 2791 w 5702"/>
              <a:gd name="T83" fmla="*/ 320 h 394"/>
              <a:gd name="T84" fmla="*/ 2730 w 5702"/>
              <a:gd name="T85" fmla="*/ 266 h 394"/>
              <a:gd name="T86" fmla="*/ 2647 w 5702"/>
              <a:gd name="T87" fmla="*/ 214 h 394"/>
              <a:gd name="T88" fmla="*/ 2542 w 5702"/>
              <a:gd name="T89" fmla="*/ 167 h 394"/>
              <a:gd name="T90" fmla="*/ 2410 w 5702"/>
              <a:gd name="T91" fmla="*/ 127 h 394"/>
              <a:gd name="T92" fmla="*/ 2248 w 5702"/>
              <a:gd name="T93" fmla="*/ 98 h 394"/>
              <a:gd name="T94" fmla="*/ 2055 w 5702"/>
              <a:gd name="T95" fmla="*/ 80 h 394"/>
              <a:gd name="T96" fmla="*/ 1867 w 5702"/>
              <a:gd name="T97" fmla="*/ 75 h 394"/>
              <a:gd name="T98" fmla="*/ 1630 w 5702"/>
              <a:gd name="T99" fmla="*/ 72 h 394"/>
              <a:gd name="T100" fmla="*/ 1344 w 5702"/>
              <a:gd name="T101" fmla="*/ 70 h 394"/>
              <a:gd name="T102" fmla="*/ 1014 w 5702"/>
              <a:gd name="T103" fmla="*/ 68 h 394"/>
              <a:gd name="T104" fmla="*/ 587 w 5702"/>
              <a:gd name="T105" fmla="*/ 70 h 394"/>
              <a:gd name="T106" fmla="*/ 190 w 5702"/>
              <a:gd name="T107" fmla="*/ 72 h 394"/>
              <a:gd name="T108" fmla="*/ 0 w 5702"/>
              <a:gd name="T109" fmla="*/ 5 h 394"/>
              <a:gd name="T110" fmla="*/ 385 w 5702"/>
              <a:gd name="T111" fmla="*/ 2 h 394"/>
              <a:gd name="T112" fmla="*/ 796 w 5702"/>
              <a:gd name="T113" fmla="*/ 0 h 3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02" h="394">
                <a:moveTo>
                  <a:pt x="1014" y="0"/>
                </a:moveTo>
                <a:lnTo>
                  <a:pt x="1184" y="0"/>
                </a:lnTo>
                <a:lnTo>
                  <a:pt x="1344" y="0"/>
                </a:lnTo>
                <a:lnTo>
                  <a:pt x="1492" y="2"/>
                </a:lnTo>
                <a:lnTo>
                  <a:pt x="1630" y="4"/>
                </a:lnTo>
                <a:lnTo>
                  <a:pt x="1754" y="5"/>
                </a:lnTo>
                <a:lnTo>
                  <a:pt x="1867" y="7"/>
                </a:lnTo>
                <a:lnTo>
                  <a:pt x="1968" y="11"/>
                </a:lnTo>
                <a:lnTo>
                  <a:pt x="2055" y="12"/>
                </a:lnTo>
                <a:lnTo>
                  <a:pt x="2156" y="19"/>
                </a:lnTo>
                <a:lnTo>
                  <a:pt x="2248" y="30"/>
                </a:lnTo>
                <a:lnTo>
                  <a:pt x="2333" y="42"/>
                </a:lnTo>
                <a:lnTo>
                  <a:pt x="2410" y="59"/>
                </a:lnTo>
                <a:lnTo>
                  <a:pt x="2480" y="78"/>
                </a:lnTo>
                <a:lnTo>
                  <a:pt x="2542" y="99"/>
                </a:lnTo>
                <a:lnTo>
                  <a:pt x="2598" y="122"/>
                </a:lnTo>
                <a:lnTo>
                  <a:pt x="2647" y="146"/>
                </a:lnTo>
                <a:lnTo>
                  <a:pt x="2690" y="172"/>
                </a:lnTo>
                <a:lnTo>
                  <a:pt x="2730" y="199"/>
                </a:lnTo>
                <a:lnTo>
                  <a:pt x="2763" y="225"/>
                </a:lnTo>
                <a:lnTo>
                  <a:pt x="2791" y="253"/>
                </a:lnTo>
                <a:lnTo>
                  <a:pt x="2816" y="277"/>
                </a:lnTo>
                <a:lnTo>
                  <a:pt x="2835" y="303"/>
                </a:lnTo>
                <a:lnTo>
                  <a:pt x="2852" y="326"/>
                </a:lnTo>
                <a:lnTo>
                  <a:pt x="2868" y="303"/>
                </a:lnTo>
                <a:lnTo>
                  <a:pt x="2887" y="277"/>
                </a:lnTo>
                <a:lnTo>
                  <a:pt x="2911" y="253"/>
                </a:lnTo>
                <a:lnTo>
                  <a:pt x="2939" y="225"/>
                </a:lnTo>
                <a:lnTo>
                  <a:pt x="2974" y="199"/>
                </a:lnTo>
                <a:lnTo>
                  <a:pt x="3012" y="172"/>
                </a:lnTo>
                <a:lnTo>
                  <a:pt x="3056" y="146"/>
                </a:lnTo>
                <a:lnTo>
                  <a:pt x="3105" y="122"/>
                </a:lnTo>
                <a:lnTo>
                  <a:pt x="3162" y="99"/>
                </a:lnTo>
                <a:lnTo>
                  <a:pt x="3223" y="78"/>
                </a:lnTo>
                <a:lnTo>
                  <a:pt x="3293" y="59"/>
                </a:lnTo>
                <a:lnTo>
                  <a:pt x="3369" y="42"/>
                </a:lnTo>
                <a:lnTo>
                  <a:pt x="3455" y="30"/>
                </a:lnTo>
                <a:lnTo>
                  <a:pt x="3547" y="19"/>
                </a:lnTo>
                <a:lnTo>
                  <a:pt x="3648" y="12"/>
                </a:lnTo>
                <a:lnTo>
                  <a:pt x="3735" y="11"/>
                </a:lnTo>
                <a:lnTo>
                  <a:pt x="3836" y="7"/>
                </a:lnTo>
                <a:lnTo>
                  <a:pt x="3949" y="5"/>
                </a:lnTo>
                <a:lnTo>
                  <a:pt x="4073" y="4"/>
                </a:lnTo>
                <a:lnTo>
                  <a:pt x="4210" y="2"/>
                </a:lnTo>
                <a:lnTo>
                  <a:pt x="4358" y="0"/>
                </a:lnTo>
                <a:lnTo>
                  <a:pt x="4519" y="0"/>
                </a:lnTo>
                <a:lnTo>
                  <a:pt x="4689" y="0"/>
                </a:lnTo>
                <a:lnTo>
                  <a:pt x="4907" y="0"/>
                </a:lnTo>
                <a:lnTo>
                  <a:pt x="5116" y="2"/>
                </a:lnTo>
                <a:lnTo>
                  <a:pt x="5318" y="2"/>
                </a:lnTo>
                <a:lnTo>
                  <a:pt x="5513" y="4"/>
                </a:lnTo>
                <a:lnTo>
                  <a:pt x="5702" y="5"/>
                </a:lnTo>
                <a:lnTo>
                  <a:pt x="5702" y="73"/>
                </a:lnTo>
                <a:lnTo>
                  <a:pt x="5513" y="72"/>
                </a:lnTo>
                <a:lnTo>
                  <a:pt x="5318" y="70"/>
                </a:lnTo>
                <a:lnTo>
                  <a:pt x="5116" y="70"/>
                </a:lnTo>
                <a:lnTo>
                  <a:pt x="4907" y="68"/>
                </a:lnTo>
                <a:lnTo>
                  <a:pt x="4689" y="68"/>
                </a:lnTo>
                <a:lnTo>
                  <a:pt x="4519" y="68"/>
                </a:lnTo>
                <a:lnTo>
                  <a:pt x="4358" y="70"/>
                </a:lnTo>
                <a:lnTo>
                  <a:pt x="4210" y="70"/>
                </a:lnTo>
                <a:lnTo>
                  <a:pt x="4073" y="72"/>
                </a:lnTo>
                <a:lnTo>
                  <a:pt x="3949" y="73"/>
                </a:lnTo>
                <a:lnTo>
                  <a:pt x="3836" y="75"/>
                </a:lnTo>
                <a:lnTo>
                  <a:pt x="3735" y="78"/>
                </a:lnTo>
                <a:lnTo>
                  <a:pt x="3648" y="80"/>
                </a:lnTo>
                <a:lnTo>
                  <a:pt x="3547" y="87"/>
                </a:lnTo>
                <a:lnTo>
                  <a:pt x="3455" y="98"/>
                </a:lnTo>
                <a:lnTo>
                  <a:pt x="3369" y="110"/>
                </a:lnTo>
                <a:lnTo>
                  <a:pt x="3293" y="127"/>
                </a:lnTo>
                <a:lnTo>
                  <a:pt x="3223" y="146"/>
                </a:lnTo>
                <a:lnTo>
                  <a:pt x="3162" y="167"/>
                </a:lnTo>
                <a:lnTo>
                  <a:pt x="3105" y="190"/>
                </a:lnTo>
                <a:lnTo>
                  <a:pt x="3056" y="214"/>
                </a:lnTo>
                <a:lnTo>
                  <a:pt x="3012" y="240"/>
                </a:lnTo>
                <a:lnTo>
                  <a:pt x="2974" y="266"/>
                </a:lnTo>
                <a:lnTo>
                  <a:pt x="2939" y="293"/>
                </a:lnTo>
                <a:lnTo>
                  <a:pt x="2911" y="320"/>
                </a:lnTo>
                <a:lnTo>
                  <a:pt x="2887" y="345"/>
                </a:lnTo>
                <a:lnTo>
                  <a:pt x="2868" y="371"/>
                </a:lnTo>
                <a:lnTo>
                  <a:pt x="2852" y="394"/>
                </a:lnTo>
                <a:lnTo>
                  <a:pt x="2835" y="371"/>
                </a:lnTo>
                <a:lnTo>
                  <a:pt x="2816" y="345"/>
                </a:lnTo>
                <a:lnTo>
                  <a:pt x="2791" y="320"/>
                </a:lnTo>
                <a:lnTo>
                  <a:pt x="2763" y="293"/>
                </a:lnTo>
                <a:lnTo>
                  <a:pt x="2730" y="266"/>
                </a:lnTo>
                <a:lnTo>
                  <a:pt x="2690" y="240"/>
                </a:lnTo>
                <a:lnTo>
                  <a:pt x="2647" y="214"/>
                </a:lnTo>
                <a:lnTo>
                  <a:pt x="2598" y="190"/>
                </a:lnTo>
                <a:lnTo>
                  <a:pt x="2542" y="167"/>
                </a:lnTo>
                <a:lnTo>
                  <a:pt x="2480" y="146"/>
                </a:lnTo>
                <a:lnTo>
                  <a:pt x="2410" y="127"/>
                </a:lnTo>
                <a:lnTo>
                  <a:pt x="2333" y="110"/>
                </a:lnTo>
                <a:lnTo>
                  <a:pt x="2248" y="98"/>
                </a:lnTo>
                <a:lnTo>
                  <a:pt x="2156" y="87"/>
                </a:lnTo>
                <a:lnTo>
                  <a:pt x="2055" y="80"/>
                </a:lnTo>
                <a:lnTo>
                  <a:pt x="1968" y="78"/>
                </a:lnTo>
                <a:lnTo>
                  <a:pt x="1867" y="75"/>
                </a:lnTo>
                <a:lnTo>
                  <a:pt x="1754" y="73"/>
                </a:lnTo>
                <a:lnTo>
                  <a:pt x="1630" y="72"/>
                </a:lnTo>
                <a:lnTo>
                  <a:pt x="1492" y="70"/>
                </a:lnTo>
                <a:lnTo>
                  <a:pt x="1344" y="70"/>
                </a:lnTo>
                <a:lnTo>
                  <a:pt x="1184" y="68"/>
                </a:lnTo>
                <a:lnTo>
                  <a:pt x="1014" y="68"/>
                </a:lnTo>
                <a:lnTo>
                  <a:pt x="796" y="68"/>
                </a:lnTo>
                <a:lnTo>
                  <a:pt x="587" y="70"/>
                </a:lnTo>
                <a:lnTo>
                  <a:pt x="385" y="70"/>
                </a:lnTo>
                <a:lnTo>
                  <a:pt x="190" y="72"/>
                </a:lnTo>
                <a:lnTo>
                  <a:pt x="0" y="73"/>
                </a:lnTo>
                <a:lnTo>
                  <a:pt x="0" y="5"/>
                </a:lnTo>
                <a:lnTo>
                  <a:pt x="190" y="4"/>
                </a:lnTo>
                <a:lnTo>
                  <a:pt x="385" y="2"/>
                </a:lnTo>
                <a:lnTo>
                  <a:pt x="587" y="2"/>
                </a:lnTo>
                <a:lnTo>
                  <a:pt x="796" y="0"/>
                </a:lnTo>
                <a:lnTo>
                  <a:pt x="1014" y="0"/>
                </a:lnTo>
                <a:close/>
              </a:path>
            </a:pathLst>
          </a:custGeom>
          <a:solidFill>
            <a:schemeClr val="accent1"/>
          </a:solidFill>
          <a:ln w="0">
            <a:noFill/>
            <a:prstDash val="solid"/>
            <a:round/>
          </a:ln>
        </p:spPr>
        <p:txBody>
          <a:bodyPr vert="horz" wrap="square" lIns="91433" tIns="45717" rIns="91433" bIns="45717" numCol="1" anchor="t" anchorCtr="0" compatLnSpc="1"/>
          <a:lstStyle/>
          <a:p>
            <a:endParaRPr lang="zh-CN" altLang="en-US"/>
          </a:p>
        </p:txBody>
      </p:sp>
      <p:grpSp>
        <p:nvGrpSpPr>
          <p:cNvPr id="14" name="组合 13"/>
          <p:cNvGrpSpPr/>
          <p:nvPr/>
        </p:nvGrpSpPr>
        <p:grpSpPr>
          <a:xfrm>
            <a:off x="0" y="167260"/>
            <a:ext cx="9144000" cy="4977523"/>
            <a:chOff x="0" y="223013"/>
            <a:chExt cx="12192000" cy="6636697"/>
          </a:xfrm>
        </p:grpSpPr>
        <p:sp>
          <p:nvSpPr>
            <p:cNvPr id="16" name="矩形 15"/>
            <p:cNvSpPr/>
            <p:nvPr/>
          </p:nvSpPr>
          <p:spPr>
            <a:xfrm>
              <a:off x="0" y="4348627"/>
              <a:ext cx="12192000" cy="2511083"/>
            </a:xfrm>
            <a:prstGeom prst="rect">
              <a:avLst/>
            </a:prstGeom>
            <a:solidFill>
              <a:srgbClr val="EE7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19" name="图片 18"/>
            <p:cNvPicPr>
              <a:picLocks noChangeAspect="1"/>
            </p:cNvPicPr>
            <p:nvPr/>
          </p:nvPicPr>
          <p:blipFill>
            <a:blip r:embed="rId4"/>
            <a:stretch>
              <a:fillRect/>
            </a:stretch>
          </p:blipFill>
          <p:spPr>
            <a:xfrm>
              <a:off x="5485668" y="223013"/>
              <a:ext cx="6457539" cy="6484862"/>
            </a:xfrm>
            <a:prstGeom prst="rect">
              <a:avLst/>
            </a:prstGeom>
          </p:spPr>
        </p:pic>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randombar(horizontal)">
                                      <p:cBhvr>
                                        <p:cTn id="7" dur="500"/>
                                        <p:tgtEl>
                                          <p:spTgt spid="14"/>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16" presetClass="entr" presetSubtype="37"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barn(outVertical)">
                                      <p:cBhvr>
                                        <p:cTn id="12" dur="500"/>
                                        <p:tgtEl>
                                          <p:spTgt spid="18"/>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arn(outVertical)">
                                      <p:cBhvr>
                                        <p:cTn id="15" dur="500"/>
                                        <p:tgtEl>
                                          <p:spTgt spid="17"/>
                                        </p:tgtEl>
                                      </p:cBhvr>
                                    </p:animEffect>
                                  </p:childTnLst>
                                </p:cTn>
                              </p:par>
                            </p:childTnLst>
                          </p:cTn>
                        </p:par>
                      </p:childTnLst>
                    </p:cTn>
                  </p:par>
                  <p:par>
                    <p:cTn id="16" fill="hold" nodeType="clickPar">
                      <p:stCondLst>
                        <p:cond delay="indefinite"/>
                      </p:stCondLst>
                      <p:childTnLst>
                        <p:par>
                          <p:cTn id="17" fill="hold">
                            <p:stCondLst>
                              <p:cond delay="0"/>
                            </p:stCondLst>
                            <p:childTnLst>
                              <p:par>
                                <p:cTn id="18" presetID="2" presetClass="entr" presetSubtype="4" accel="4000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1500" fill="hold"/>
                                        <p:tgtEl>
                                          <p:spTgt spid="8"/>
                                        </p:tgtEl>
                                        <p:attrNameLst>
                                          <p:attrName>ppt_x</p:attrName>
                                        </p:attrNameLst>
                                      </p:cBhvr>
                                      <p:tavLst>
                                        <p:tav tm="0">
                                          <p:val>
                                            <p:strVal val="#ppt_x"/>
                                          </p:val>
                                        </p:tav>
                                        <p:tav tm="100000">
                                          <p:val>
                                            <p:strVal val="#ppt_x"/>
                                          </p:val>
                                        </p:tav>
                                      </p:tavLst>
                                    </p:anim>
                                    <p:anim calcmode="lin" valueType="num">
                                      <p:cBhvr additive="base">
                                        <p:cTn id="21" dur="1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2" fill="hold" nodeType="clickPar">
                      <p:stCondLst>
                        <p:cond delay="indefinite"/>
                      </p:stCondLst>
                      <p:childTnLst>
                        <p:par>
                          <p:cTn id="23" fill="hold">
                            <p:stCondLst>
                              <p:cond delay="0"/>
                            </p:stCondLst>
                            <p:childTnLst>
                              <p:par>
                                <p:cTn id="24" presetID="56" presetClass="entr" presetSubtype="0" fill="hold" grpId="0" nodeType="clickEffect">
                                  <p:stCondLst>
                                    <p:cond delay="0"/>
                                  </p:stCondLst>
                                  <p:iterate type="lt">
                                    <p:tmPct val="10000"/>
                                  </p:iterate>
                                  <p:childTnLst>
                                    <p:set>
                                      <p:cBhvr>
                                        <p:cTn id="25" dur="1" fill="hold">
                                          <p:stCondLst>
                                            <p:cond delay="0"/>
                                          </p:stCondLst>
                                        </p:cTn>
                                        <p:tgtEl>
                                          <p:spTgt spid="9"/>
                                        </p:tgtEl>
                                        <p:attrNameLst>
                                          <p:attrName>style.visibility</p:attrName>
                                        </p:attrNameLst>
                                      </p:cBhvr>
                                      <p:to>
                                        <p:strVal val="visible"/>
                                      </p:to>
                                    </p:set>
                                    <p:anim by="(-#ppt_w*2)" calcmode="lin" valueType="num">
                                      <p:cBhvr rctx="PPT">
                                        <p:cTn id="26" dur="500" autoRev="1" fill="hold">
                                          <p:stCondLst>
                                            <p:cond delay="0"/>
                                          </p:stCondLst>
                                        </p:cTn>
                                        <p:tgtEl>
                                          <p:spTgt spid="9"/>
                                        </p:tgtEl>
                                        <p:attrNameLst>
                                          <p:attrName>ppt_w</p:attrName>
                                        </p:attrNameLst>
                                      </p:cBhvr>
                                    </p:anim>
                                    <p:anim by="(#ppt_w*0.50)" calcmode="lin" valueType="num">
                                      <p:cBhvr>
                                        <p:cTn id="27" dur="500" decel="50000" autoRev="1" fill="hold">
                                          <p:stCondLst>
                                            <p:cond delay="0"/>
                                          </p:stCondLst>
                                        </p:cTn>
                                        <p:tgtEl>
                                          <p:spTgt spid="9"/>
                                        </p:tgtEl>
                                        <p:attrNameLst>
                                          <p:attrName>ppt_x</p:attrName>
                                        </p:attrNameLst>
                                      </p:cBhvr>
                                    </p:anim>
                                    <p:anim from="(-#ppt_h/2)" to="(#ppt_y)" calcmode="lin" valueType="num">
                                      <p:cBhvr>
                                        <p:cTn id="28" dur="1000" fill="hold">
                                          <p:stCondLst>
                                            <p:cond delay="0"/>
                                          </p:stCondLst>
                                        </p:cTn>
                                        <p:tgtEl>
                                          <p:spTgt spid="9"/>
                                        </p:tgtEl>
                                        <p:attrNameLst>
                                          <p:attrName>ppt_y</p:attrName>
                                        </p:attrNameLst>
                                      </p:cBhvr>
                                    </p:anim>
                                    <p:animRot by="21600000">
                                      <p:cBhvr>
                                        <p:cTn id="29" dur="1000" fill="hold">
                                          <p:stCondLst>
                                            <p:cond delay="0"/>
                                          </p:stCondLst>
                                        </p:cTn>
                                        <p:tgtEl>
                                          <p:spTgt spid="9"/>
                                        </p:tgtEl>
                                        <p:attrNameLst>
                                          <p:attrName>r</p:attrName>
                                        </p:attrNameLst>
                                      </p:cBhvr>
                                    </p:animRot>
                                  </p:childTnLst>
                                </p:cTn>
                              </p:par>
                            </p:childTnLst>
                          </p:cTn>
                        </p:par>
                      </p:childTnLst>
                    </p:cTn>
                  </p:par>
                  <p:par>
                    <p:cTn id="30" fill="hold" nodeType="clickPar">
                      <p:stCondLst>
                        <p:cond delay="indefinite"/>
                      </p:stCondLst>
                      <p:childTnLst>
                        <p:par>
                          <p:cTn id="31" fill="hold">
                            <p:stCondLst>
                              <p:cond delay="0"/>
                            </p:stCondLst>
                            <p:childTnLst>
                              <p:par>
                                <p:cTn id="32" presetID="2" presetClass="entr" presetSubtype="4" fill="hold" grpId="0" nodeType="click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additive="base">
                                        <p:cTn id="38" dur="500" fill="hold"/>
                                        <p:tgtEl>
                                          <p:spTgt spid="11"/>
                                        </p:tgtEl>
                                        <p:attrNameLst>
                                          <p:attrName>ppt_x</p:attrName>
                                        </p:attrNameLst>
                                      </p:cBhvr>
                                      <p:tavLst>
                                        <p:tav tm="0">
                                          <p:val>
                                            <p:strVal val="#ppt_x"/>
                                          </p:val>
                                        </p:tav>
                                        <p:tav tm="100000">
                                          <p:val>
                                            <p:strVal val="#ppt_x"/>
                                          </p:val>
                                        </p:tav>
                                      </p:tavLst>
                                    </p:anim>
                                    <p:anim calcmode="lin" valueType="num">
                                      <p:cBhvr additive="base">
                                        <p:cTn id="39" dur="500" fill="hold"/>
                                        <p:tgtEl>
                                          <p:spTgt spid="11"/>
                                        </p:tgtEl>
                                        <p:attrNameLst>
                                          <p:attrName>ppt_y</p:attrName>
                                        </p:attrNameLst>
                                      </p:cBhvr>
                                      <p:tavLst>
                                        <p:tav tm="0">
                                          <p:val>
                                            <p:strVal val="1+#ppt_h/2"/>
                                          </p:val>
                                        </p:tav>
                                        <p:tav tm="100000">
                                          <p:val>
                                            <p:strVal val="#ppt_y"/>
                                          </p:val>
                                        </p:tav>
                                      </p:tavLst>
                                    </p:anim>
                                  </p:childTnLst>
                                </p:cTn>
                              </p:par>
                              <p:par>
                                <p:cTn id="40" presetID="2" presetClass="entr" presetSubtype="4"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additive="base">
                                        <p:cTn id="42" dur="500" fill="hold"/>
                                        <p:tgtEl>
                                          <p:spTgt spid="12"/>
                                        </p:tgtEl>
                                        <p:attrNameLst>
                                          <p:attrName>ppt_x</p:attrName>
                                        </p:attrNameLst>
                                      </p:cBhvr>
                                      <p:tavLst>
                                        <p:tav tm="0">
                                          <p:val>
                                            <p:strVal val="#ppt_x"/>
                                          </p:val>
                                        </p:tav>
                                        <p:tav tm="100000">
                                          <p:val>
                                            <p:strVal val="#ppt_x"/>
                                          </p:val>
                                        </p:tav>
                                      </p:tavLst>
                                    </p:anim>
                                    <p:anim calcmode="lin" valueType="num">
                                      <p:cBhvr additive="base">
                                        <p:cTn id="43" dur="500" fill="hold"/>
                                        <p:tgtEl>
                                          <p:spTgt spid="12"/>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additive="base">
                                        <p:cTn id="46" dur="500" fill="hold"/>
                                        <p:tgtEl>
                                          <p:spTgt spid="13"/>
                                        </p:tgtEl>
                                        <p:attrNameLst>
                                          <p:attrName>ppt_x</p:attrName>
                                        </p:attrNameLst>
                                      </p:cBhvr>
                                      <p:tavLst>
                                        <p:tav tm="0">
                                          <p:val>
                                            <p:strVal val="#ppt_x"/>
                                          </p:val>
                                        </p:tav>
                                        <p:tav tm="100000">
                                          <p:val>
                                            <p:strVal val="#ppt_x"/>
                                          </p:val>
                                        </p:tav>
                                      </p:tavLst>
                                    </p:anim>
                                    <p:anim calcmode="lin" valueType="num">
                                      <p:cBhvr additive="base">
                                        <p:cTn id="47"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p:bldP spid="11" grpId="0"/>
      <p:bldP spid="12" grpId="0"/>
      <p:bldP spid="13" grpId="0"/>
      <p:bldP spid="17" grpId="0" animBg="1"/>
      <p:bldP spid="18" grpId="0" animBg="1"/>
    </p:bldLst>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pSp>
        <p:nvGrpSpPr>
          <p:cNvPr id="2" name="Group 6"/>
          <p:cNvGrpSpPr/>
          <p:nvPr/>
        </p:nvGrpSpPr>
        <p:grpSpPr>
          <a:xfrm>
            <a:off x="1457144" y="1616509"/>
            <a:ext cx="1094898" cy="1094898"/>
            <a:chOff x="1209015" y="2684670"/>
            <a:chExt cx="1460409" cy="1460409"/>
          </a:xfrm>
        </p:grpSpPr>
        <p:grpSp>
          <p:nvGrpSpPr>
            <p:cNvPr id="3" name="Group 11"/>
            <p:cNvGrpSpPr/>
            <p:nvPr/>
          </p:nvGrpSpPr>
          <p:grpSpPr>
            <a:xfrm>
              <a:off x="1209015" y="2684670"/>
              <a:ext cx="1460409" cy="1460409"/>
              <a:chOff x="1843428" y="2936308"/>
              <a:chExt cx="1460409" cy="1460409"/>
            </a:xfrm>
          </p:grpSpPr>
          <p:sp>
            <p:nvSpPr>
              <p:cNvPr id="38" name="Oval 54"/>
              <p:cNvSpPr/>
              <p:nvPr/>
            </p:nvSpPr>
            <p:spPr>
              <a:xfrm>
                <a:off x="1843428" y="2936308"/>
                <a:ext cx="1460409" cy="1460409"/>
              </a:xfrm>
              <a:prstGeom prst="ellipse">
                <a:avLst/>
              </a:prstGeom>
              <a:solidFill>
                <a:sysClr val="window" lastClr="FFFFFF"/>
              </a:solidFill>
              <a:ln w="19050" cap="flat" cmpd="sng" algn="ctr">
                <a:solidFill>
                  <a:schemeClr val="accent1"/>
                </a:solidFill>
                <a:prstDash val="solid"/>
                <a:miter lim="800000"/>
              </a:ln>
              <a:effectLst/>
            </p:spPr>
            <p:txBody>
              <a:bodyPr rtlCol="0" anchor="ctr"/>
              <a:lstStyle/>
              <a:p>
                <a:pPr algn="ctr" defTabSz="671830">
                  <a:defRPr/>
                </a:pPr>
                <a:endParaRPr lang="en-US" kern="0">
                  <a:solidFill>
                    <a:sysClr val="windowText" lastClr="000000"/>
                  </a:solidFill>
                  <a:latin typeface="Calibri"/>
                </a:endParaRPr>
              </a:p>
            </p:txBody>
          </p:sp>
          <p:sp>
            <p:nvSpPr>
              <p:cNvPr id="39" name="Oval 61"/>
              <p:cNvSpPr/>
              <p:nvPr/>
            </p:nvSpPr>
            <p:spPr>
              <a:xfrm>
                <a:off x="2001935" y="3094815"/>
                <a:ext cx="1143395" cy="1143395"/>
              </a:xfrm>
              <a:prstGeom prst="ellipse">
                <a:avLst/>
              </a:prstGeom>
              <a:solidFill>
                <a:schemeClr val="accent1"/>
              </a:solidFill>
            </p:spPr>
            <p:txBody>
              <a:bodyPr wrap="square" rtlCol="0" anchor="ctr">
                <a:noAutofit/>
              </a:bodyPr>
              <a:lstStyle/>
              <a:p>
                <a:pPr algn="ctr" defTabSz="671830">
                  <a:lnSpc>
                    <a:spcPct val="110000"/>
                  </a:lnSpc>
                  <a:defRPr/>
                </a:pPr>
                <a:endParaRPr lang="en-US" sz="1500" kern="0">
                  <a:solidFill>
                    <a:prstClr val="white"/>
                  </a:solidFill>
                  <a:latin typeface="Arial" panose="020b0604020202020204" pitchFamily="34" charset="0"/>
                  <a:cs typeface="Arial" panose="020b0604020202020204" pitchFamily="34" charset="0"/>
                </a:endParaRPr>
              </a:p>
            </p:txBody>
          </p:sp>
        </p:grpSp>
        <p:grpSp>
          <p:nvGrpSpPr>
            <p:cNvPr id="4" name="Group 38"/>
            <p:cNvGrpSpPr/>
            <p:nvPr/>
          </p:nvGrpSpPr>
          <p:grpSpPr>
            <a:xfrm>
              <a:off x="1613272" y="3089732"/>
              <a:ext cx="651894" cy="650286"/>
              <a:chOff x="-1427163" y="2968625"/>
              <a:chExt cx="1285875" cy="1282700"/>
            </a:xfrm>
            <a:solidFill>
              <a:sysClr val="window" lastClr="FFFFFF"/>
            </a:solidFill>
          </p:grpSpPr>
          <p:sp>
            <p:nvSpPr>
              <p:cNvPr id="35" name="Freeform 6"/>
              <p:cNvSpPr>
                <a:spLocks noEditPoints="1"/>
              </p:cNvSpPr>
              <p:nvPr/>
            </p:nvSpPr>
            <p:spPr bwMode="auto">
              <a:xfrm>
                <a:off x="-1427163" y="2968625"/>
                <a:ext cx="1285875" cy="1282700"/>
              </a:xfrm>
              <a:custGeom>
                <a:gdLst>
                  <a:gd name="T0" fmla="*/ 278 w 343"/>
                  <a:gd name="T1" fmla="*/ 0 h 342"/>
                  <a:gd name="T2" fmla="*/ 64 w 343"/>
                  <a:gd name="T3" fmla="*/ 0 h 342"/>
                  <a:gd name="T4" fmla="*/ 0 w 343"/>
                  <a:gd name="T5" fmla="*/ 64 h 342"/>
                  <a:gd name="T6" fmla="*/ 0 w 343"/>
                  <a:gd name="T7" fmla="*/ 278 h 342"/>
                  <a:gd name="T8" fmla="*/ 64 w 343"/>
                  <a:gd name="T9" fmla="*/ 342 h 342"/>
                  <a:gd name="T10" fmla="*/ 278 w 343"/>
                  <a:gd name="T11" fmla="*/ 342 h 342"/>
                  <a:gd name="T12" fmla="*/ 343 w 343"/>
                  <a:gd name="T13" fmla="*/ 278 h 342"/>
                  <a:gd name="T14" fmla="*/ 343 w 343"/>
                  <a:gd name="T15" fmla="*/ 64 h 342"/>
                  <a:gd name="T16" fmla="*/ 278 w 343"/>
                  <a:gd name="T17" fmla="*/ 0 h 342"/>
                  <a:gd name="T18" fmla="*/ 328 w 343"/>
                  <a:gd name="T19" fmla="*/ 278 h 342"/>
                  <a:gd name="T20" fmla="*/ 278 w 343"/>
                  <a:gd name="T21" fmla="*/ 328 h 342"/>
                  <a:gd name="T22" fmla="*/ 64 w 343"/>
                  <a:gd name="T23" fmla="*/ 328 h 342"/>
                  <a:gd name="T24" fmla="*/ 14 w 343"/>
                  <a:gd name="T25" fmla="*/ 278 h 342"/>
                  <a:gd name="T26" fmla="*/ 14 w 343"/>
                  <a:gd name="T27" fmla="*/ 64 h 342"/>
                  <a:gd name="T28" fmla="*/ 64 w 343"/>
                  <a:gd name="T29" fmla="*/ 14 h 342"/>
                  <a:gd name="T30" fmla="*/ 278 w 343"/>
                  <a:gd name="T31" fmla="*/ 14 h 342"/>
                  <a:gd name="T32" fmla="*/ 328 w 343"/>
                  <a:gd name="T33" fmla="*/ 64 h 342"/>
                  <a:gd name="T34" fmla="*/ 328 w 343"/>
                  <a:gd name="T35" fmla="*/ 278 h 34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3" h="342">
                    <a:moveTo>
                      <a:pt x="278" y="0"/>
                    </a:moveTo>
                    <a:cubicBezTo>
                      <a:pt x="64" y="0"/>
                      <a:pt x="64" y="0"/>
                      <a:pt x="64" y="0"/>
                    </a:cubicBezTo>
                    <a:cubicBezTo>
                      <a:pt x="29" y="0"/>
                      <a:pt x="0" y="29"/>
                      <a:pt x="0" y="64"/>
                    </a:cubicBezTo>
                    <a:cubicBezTo>
                      <a:pt x="0" y="278"/>
                      <a:pt x="0" y="278"/>
                      <a:pt x="0" y="278"/>
                    </a:cubicBezTo>
                    <a:cubicBezTo>
                      <a:pt x="0" y="314"/>
                      <a:pt x="29" y="342"/>
                      <a:pt x="64" y="342"/>
                    </a:cubicBezTo>
                    <a:cubicBezTo>
                      <a:pt x="278" y="342"/>
                      <a:pt x="278" y="342"/>
                      <a:pt x="278" y="342"/>
                    </a:cubicBezTo>
                    <a:cubicBezTo>
                      <a:pt x="314" y="342"/>
                      <a:pt x="343" y="314"/>
                      <a:pt x="343" y="278"/>
                    </a:cubicBezTo>
                    <a:cubicBezTo>
                      <a:pt x="343" y="64"/>
                      <a:pt x="343" y="64"/>
                      <a:pt x="343" y="64"/>
                    </a:cubicBezTo>
                    <a:cubicBezTo>
                      <a:pt x="343" y="29"/>
                      <a:pt x="314" y="0"/>
                      <a:pt x="278" y="0"/>
                    </a:cubicBezTo>
                    <a:close/>
                    <a:moveTo>
                      <a:pt x="328" y="278"/>
                    </a:moveTo>
                    <a:cubicBezTo>
                      <a:pt x="328" y="306"/>
                      <a:pt x="306" y="328"/>
                      <a:pt x="278" y="328"/>
                    </a:cubicBezTo>
                    <a:cubicBezTo>
                      <a:pt x="64" y="328"/>
                      <a:pt x="64" y="328"/>
                      <a:pt x="64" y="328"/>
                    </a:cubicBezTo>
                    <a:cubicBezTo>
                      <a:pt x="37" y="328"/>
                      <a:pt x="14" y="306"/>
                      <a:pt x="14" y="278"/>
                    </a:cubicBezTo>
                    <a:cubicBezTo>
                      <a:pt x="14" y="64"/>
                      <a:pt x="14" y="64"/>
                      <a:pt x="14" y="64"/>
                    </a:cubicBezTo>
                    <a:cubicBezTo>
                      <a:pt x="14" y="37"/>
                      <a:pt x="37" y="14"/>
                      <a:pt x="64" y="14"/>
                    </a:cubicBezTo>
                    <a:cubicBezTo>
                      <a:pt x="278" y="14"/>
                      <a:pt x="278" y="14"/>
                      <a:pt x="278" y="14"/>
                    </a:cubicBezTo>
                    <a:cubicBezTo>
                      <a:pt x="306" y="14"/>
                      <a:pt x="328" y="37"/>
                      <a:pt x="328" y="64"/>
                    </a:cubicBezTo>
                    <a:lnTo>
                      <a:pt x="328" y="278"/>
                    </a:ln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36" name="Freeform 7"/>
              <p:cNvSpPr>
                <a:spLocks noEditPoints="1"/>
              </p:cNvSpPr>
              <p:nvPr/>
            </p:nvSpPr>
            <p:spPr bwMode="auto">
              <a:xfrm>
                <a:off x="-950913" y="3470275"/>
                <a:ext cx="334963" cy="334963"/>
              </a:xfrm>
              <a:custGeom>
                <a:gdLst>
                  <a:gd name="T0" fmla="*/ 44 w 89"/>
                  <a:gd name="T1" fmla="*/ 0 h 89"/>
                  <a:gd name="T2" fmla="*/ 0 w 89"/>
                  <a:gd name="T3" fmla="*/ 44 h 89"/>
                  <a:gd name="T4" fmla="*/ 44 w 89"/>
                  <a:gd name="T5" fmla="*/ 89 h 89"/>
                  <a:gd name="T6" fmla="*/ 89 w 89"/>
                  <a:gd name="T7" fmla="*/ 44 h 89"/>
                  <a:gd name="T8" fmla="*/ 44 w 89"/>
                  <a:gd name="T9" fmla="*/ 0 h 89"/>
                  <a:gd name="T10" fmla="*/ 44 w 89"/>
                  <a:gd name="T11" fmla="*/ 75 h 89"/>
                  <a:gd name="T12" fmla="*/ 14 w 89"/>
                  <a:gd name="T13" fmla="*/ 44 h 89"/>
                  <a:gd name="T14" fmla="*/ 44 w 89"/>
                  <a:gd name="T15" fmla="*/ 14 h 89"/>
                  <a:gd name="T16" fmla="*/ 75 w 89"/>
                  <a:gd name="T17" fmla="*/ 44 h 89"/>
                  <a:gd name="T18" fmla="*/ 44 w 89"/>
                  <a:gd name="T19" fmla="*/ 75 h 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4" y="0"/>
                    </a:moveTo>
                    <a:cubicBezTo>
                      <a:pt x="20" y="0"/>
                      <a:pt x="0" y="20"/>
                      <a:pt x="0" y="44"/>
                    </a:cubicBezTo>
                    <a:cubicBezTo>
                      <a:pt x="0" y="69"/>
                      <a:pt x="20" y="89"/>
                      <a:pt x="44" y="89"/>
                    </a:cubicBezTo>
                    <a:cubicBezTo>
                      <a:pt x="69" y="89"/>
                      <a:pt x="89" y="69"/>
                      <a:pt x="89" y="44"/>
                    </a:cubicBezTo>
                    <a:cubicBezTo>
                      <a:pt x="89" y="20"/>
                      <a:pt x="69" y="0"/>
                      <a:pt x="44" y="0"/>
                    </a:cubicBezTo>
                    <a:close/>
                    <a:moveTo>
                      <a:pt x="44" y="75"/>
                    </a:moveTo>
                    <a:cubicBezTo>
                      <a:pt x="27" y="75"/>
                      <a:pt x="14" y="61"/>
                      <a:pt x="14" y="44"/>
                    </a:cubicBezTo>
                    <a:cubicBezTo>
                      <a:pt x="14" y="28"/>
                      <a:pt x="27" y="14"/>
                      <a:pt x="44" y="14"/>
                    </a:cubicBezTo>
                    <a:cubicBezTo>
                      <a:pt x="61" y="14"/>
                      <a:pt x="75" y="28"/>
                      <a:pt x="75" y="44"/>
                    </a:cubicBezTo>
                    <a:cubicBezTo>
                      <a:pt x="75" y="61"/>
                      <a:pt x="61" y="75"/>
                      <a:pt x="44" y="75"/>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37" name="Freeform 8"/>
              <p:cNvSpPr>
                <a:spLocks noEditPoints="1"/>
              </p:cNvSpPr>
              <p:nvPr/>
            </p:nvSpPr>
            <p:spPr bwMode="auto">
              <a:xfrm>
                <a:off x="-1182688" y="3233738"/>
                <a:ext cx="798513" cy="803275"/>
              </a:xfrm>
              <a:custGeom>
                <a:gdLst>
                  <a:gd name="T0" fmla="*/ 194 w 213"/>
                  <a:gd name="T1" fmla="*/ 121 h 214"/>
                  <a:gd name="T2" fmla="*/ 193 w 213"/>
                  <a:gd name="T3" fmla="*/ 94 h 214"/>
                  <a:gd name="T4" fmla="*/ 212 w 213"/>
                  <a:gd name="T5" fmla="*/ 81 h 214"/>
                  <a:gd name="T6" fmla="*/ 186 w 213"/>
                  <a:gd name="T7" fmla="*/ 32 h 214"/>
                  <a:gd name="T8" fmla="*/ 177 w 213"/>
                  <a:gd name="T9" fmla="*/ 30 h 214"/>
                  <a:gd name="T10" fmla="*/ 139 w 213"/>
                  <a:gd name="T11" fmla="*/ 25 h 214"/>
                  <a:gd name="T12" fmla="*/ 132 w 213"/>
                  <a:gd name="T13" fmla="*/ 0 h 214"/>
                  <a:gd name="T14" fmla="*/ 75 w 213"/>
                  <a:gd name="T15" fmla="*/ 7 h 214"/>
                  <a:gd name="T16" fmla="*/ 51 w 213"/>
                  <a:gd name="T17" fmla="*/ 38 h 214"/>
                  <a:gd name="T18" fmla="*/ 26 w 213"/>
                  <a:gd name="T19" fmla="*/ 32 h 214"/>
                  <a:gd name="T20" fmla="*/ 0 w 213"/>
                  <a:gd name="T21" fmla="*/ 81 h 214"/>
                  <a:gd name="T22" fmla="*/ 19 w 213"/>
                  <a:gd name="T23" fmla="*/ 94 h 214"/>
                  <a:gd name="T24" fmla="*/ 19 w 213"/>
                  <a:gd name="T25" fmla="*/ 121 h 214"/>
                  <a:gd name="T26" fmla="*/ 0 w 213"/>
                  <a:gd name="T27" fmla="*/ 134 h 214"/>
                  <a:gd name="T28" fmla="*/ 26 w 213"/>
                  <a:gd name="T29" fmla="*/ 183 h 214"/>
                  <a:gd name="T30" fmla="*/ 51 w 213"/>
                  <a:gd name="T31" fmla="*/ 176 h 214"/>
                  <a:gd name="T32" fmla="*/ 75 w 213"/>
                  <a:gd name="T33" fmla="*/ 207 h 214"/>
                  <a:gd name="T34" fmla="*/ 132 w 213"/>
                  <a:gd name="T35" fmla="*/ 214 h 214"/>
                  <a:gd name="T36" fmla="*/ 139 w 213"/>
                  <a:gd name="T37" fmla="*/ 190 h 214"/>
                  <a:gd name="T38" fmla="*/ 177 w 213"/>
                  <a:gd name="T39" fmla="*/ 185 h 214"/>
                  <a:gd name="T40" fmla="*/ 187 w 213"/>
                  <a:gd name="T41" fmla="*/ 183 h 214"/>
                  <a:gd name="T42" fmla="*/ 209 w 213"/>
                  <a:gd name="T43" fmla="*/ 130 h 214"/>
                  <a:gd name="T44" fmla="*/ 165 w 213"/>
                  <a:gd name="T45" fmla="*/ 161 h 214"/>
                  <a:gd name="T46" fmla="*/ 130 w 213"/>
                  <a:gd name="T47" fmla="*/ 178 h 214"/>
                  <a:gd name="T48" fmla="*/ 125 w 213"/>
                  <a:gd name="T49" fmla="*/ 200 h 214"/>
                  <a:gd name="T50" fmla="*/ 89 w 213"/>
                  <a:gd name="T51" fmla="*/ 185 h 214"/>
                  <a:gd name="T52" fmla="*/ 57 w 213"/>
                  <a:gd name="T53" fmla="*/ 162 h 214"/>
                  <a:gd name="T54" fmla="*/ 35 w 213"/>
                  <a:gd name="T55" fmla="*/ 169 h 214"/>
                  <a:gd name="T56" fmla="*/ 30 w 213"/>
                  <a:gd name="T57" fmla="*/ 131 h 214"/>
                  <a:gd name="T58" fmla="*/ 32 w 213"/>
                  <a:gd name="T59" fmla="*/ 107 h 214"/>
                  <a:gd name="T60" fmla="*/ 30 w 213"/>
                  <a:gd name="T61" fmla="*/ 84 h 214"/>
                  <a:gd name="T62" fmla="*/ 35 w 213"/>
                  <a:gd name="T63" fmla="*/ 46 h 214"/>
                  <a:gd name="T64" fmla="*/ 57 w 213"/>
                  <a:gd name="T65" fmla="*/ 52 h 214"/>
                  <a:gd name="T66" fmla="*/ 89 w 213"/>
                  <a:gd name="T67" fmla="*/ 30 h 214"/>
                  <a:gd name="T68" fmla="*/ 125 w 213"/>
                  <a:gd name="T69" fmla="*/ 15 h 214"/>
                  <a:gd name="T70" fmla="*/ 130 w 213"/>
                  <a:gd name="T71" fmla="*/ 37 h 214"/>
                  <a:gd name="T72" fmla="*/ 165 w 213"/>
                  <a:gd name="T73" fmla="*/ 53 h 214"/>
                  <a:gd name="T74" fmla="*/ 195 w 213"/>
                  <a:gd name="T75" fmla="*/ 76 h 214"/>
                  <a:gd name="T76" fmla="*/ 179 w 213"/>
                  <a:gd name="T77" fmla="*/ 92 h 214"/>
                  <a:gd name="T78" fmla="*/ 179 w 213"/>
                  <a:gd name="T79" fmla="*/ 123 h 214"/>
                  <a:gd name="T80" fmla="*/ 196 w 213"/>
                  <a:gd name="T81" fmla="*/ 138 h 2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3" h="214">
                    <a:moveTo>
                      <a:pt x="209" y="130"/>
                    </a:moveTo>
                    <a:cubicBezTo>
                      <a:pt x="194" y="121"/>
                      <a:pt x="194" y="121"/>
                      <a:pt x="194" y="121"/>
                    </a:cubicBezTo>
                    <a:cubicBezTo>
                      <a:pt x="194" y="116"/>
                      <a:pt x="195" y="112"/>
                      <a:pt x="195" y="107"/>
                    </a:cubicBezTo>
                    <a:cubicBezTo>
                      <a:pt x="195" y="103"/>
                      <a:pt x="194" y="98"/>
                      <a:pt x="193" y="94"/>
                    </a:cubicBezTo>
                    <a:cubicBezTo>
                      <a:pt x="209" y="85"/>
                      <a:pt x="209" y="85"/>
                      <a:pt x="209" y="85"/>
                    </a:cubicBezTo>
                    <a:cubicBezTo>
                      <a:pt x="210" y="84"/>
                      <a:pt x="212" y="83"/>
                      <a:pt x="212" y="81"/>
                    </a:cubicBezTo>
                    <a:cubicBezTo>
                      <a:pt x="213" y="79"/>
                      <a:pt x="212" y="77"/>
                      <a:pt x="211" y="75"/>
                    </a:cubicBezTo>
                    <a:cubicBezTo>
                      <a:pt x="186" y="32"/>
                      <a:pt x="186" y="32"/>
                      <a:pt x="186" y="32"/>
                    </a:cubicBezTo>
                    <a:cubicBezTo>
                      <a:pt x="185" y="31"/>
                      <a:pt x="184" y="29"/>
                      <a:pt x="182" y="29"/>
                    </a:cubicBezTo>
                    <a:cubicBezTo>
                      <a:pt x="180" y="28"/>
                      <a:pt x="178" y="29"/>
                      <a:pt x="177" y="30"/>
                    </a:cubicBezTo>
                    <a:cubicBezTo>
                      <a:pt x="162" y="38"/>
                      <a:pt x="162" y="38"/>
                      <a:pt x="162" y="38"/>
                    </a:cubicBezTo>
                    <a:cubicBezTo>
                      <a:pt x="155" y="33"/>
                      <a:pt x="148" y="28"/>
                      <a:pt x="139" y="25"/>
                    </a:cubicBezTo>
                    <a:cubicBezTo>
                      <a:pt x="139" y="7"/>
                      <a:pt x="139" y="7"/>
                      <a:pt x="139" y="7"/>
                    </a:cubicBezTo>
                    <a:cubicBezTo>
                      <a:pt x="139" y="4"/>
                      <a:pt x="136" y="0"/>
                      <a:pt x="132" y="0"/>
                    </a:cubicBezTo>
                    <a:cubicBezTo>
                      <a:pt x="82" y="0"/>
                      <a:pt x="82" y="0"/>
                      <a:pt x="82" y="0"/>
                    </a:cubicBezTo>
                    <a:cubicBezTo>
                      <a:pt x="78" y="0"/>
                      <a:pt x="75" y="4"/>
                      <a:pt x="75" y="7"/>
                    </a:cubicBezTo>
                    <a:cubicBezTo>
                      <a:pt x="75" y="25"/>
                      <a:pt x="75" y="25"/>
                      <a:pt x="75" y="25"/>
                    </a:cubicBezTo>
                    <a:cubicBezTo>
                      <a:pt x="67" y="28"/>
                      <a:pt x="59" y="32"/>
                      <a:pt x="51" y="38"/>
                    </a:cubicBezTo>
                    <a:cubicBezTo>
                      <a:pt x="36" y="30"/>
                      <a:pt x="36" y="30"/>
                      <a:pt x="36" y="30"/>
                    </a:cubicBezTo>
                    <a:cubicBezTo>
                      <a:pt x="33" y="28"/>
                      <a:pt x="28" y="29"/>
                      <a:pt x="26" y="32"/>
                    </a:cubicBezTo>
                    <a:cubicBezTo>
                      <a:pt x="1" y="75"/>
                      <a:pt x="1" y="75"/>
                      <a:pt x="1" y="75"/>
                    </a:cubicBezTo>
                    <a:cubicBezTo>
                      <a:pt x="0" y="77"/>
                      <a:pt x="0" y="79"/>
                      <a:pt x="0" y="81"/>
                    </a:cubicBezTo>
                    <a:cubicBezTo>
                      <a:pt x="1" y="83"/>
                      <a:pt x="2" y="84"/>
                      <a:pt x="4" y="85"/>
                    </a:cubicBezTo>
                    <a:cubicBezTo>
                      <a:pt x="19" y="94"/>
                      <a:pt x="19" y="94"/>
                      <a:pt x="19" y="94"/>
                    </a:cubicBezTo>
                    <a:cubicBezTo>
                      <a:pt x="18" y="99"/>
                      <a:pt x="18" y="103"/>
                      <a:pt x="18" y="107"/>
                    </a:cubicBezTo>
                    <a:cubicBezTo>
                      <a:pt x="18" y="112"/>
                      <a:pt x="18" y="116"/>
                      <a:pt x="19" y="121"/>
                    </a:cubicBezTo>
                    <a:cubicBezTo>
                      <a:pt x="4" y="130"/>
                      <a:pt x="4" y="130"/>
                      <a:pt x="4" y="130"/>
                    </a:cubicBezTo>
                    <a:cubicBezTo>
                      <a:pt x="2" y="130"/>
                      <a:pt x="1" y="132"/>
                      <a:pt x="0" y="134"/>
                    </a:cubicBezTo>
                    <a:cubicBezTo>
                      <a:pt x="0" y="136"/>
                      <a:pt x="0" y="138"/>
                      <a:pt x="1" y="139"/>
                    </a:cubicBezTo>
                    <a:cubicBezTo>
                      <a:pt x="26" y="183"/>
                      <a:pt x="26" y="183"/>
                      <a:pt x="26" y="183"/>
                    </a:cubicBezTo>
                    <a:cubicBezTo>
                      <a:pt x="28" y="186"/>
                      <a:pt x="32" y="187"/>
                      <a:pt x="36" y="185"/>
                    </a:cubicBezTo>
                    <a:cubicBezTo>
                      <a:pt x="51" y="176"/>
                      <a:pt x="51" y="176"/>
                      <a:pt x="51" y="176"/>
                    </a:cubicBezTo>
                    <a:cubicBezTo>
                      <a:pt x="59" y="182"/>
                      <a:pt x="67" y="187"/>
                      <a:pt x="75" y="190"/>
                    </a:cubicBezTo>
                    <a:cubicBezTo>
                      <a:pt x="75" y="207"/>
                      <a:pt x="75" y="207"/>
                      <a:pt x="75" y="207"/>
                    </a:cubicBezTo>
                    <a:cubicBezTo>
                      <a:pt x="75" y="211"/>
                      <a:pt x="78" y="214"/>
                      <a:pt x="82" y="214"/>
                    </a:cubicBezTo>
                    <a:cubicBezTo>
                      <a:pt x="132" y="214"/>
                      <a:pt x="132" y="214"/>
                      <a:pt x="132" y="214"/>
                    </a:cubicBezTo>
                    <a:cubicBezTo>
                      <a:pt x="136" y="214"/>
                      <a:pt x="139" y="211"/>
                      <a:pt x="139" y="207"/>
                    </a:cubicBezTo>
                    <a:cubicBezTo>
                      <a:pt x="139" y="190"/>
                      <a:pt x="139" y="190"/>
                      <a:pt x="139" y="190"/>
                    </a:cubicBezTo>
                    <a:cubicBezTo>
                      <a:pt x="148" y="187"/>
                      <a:pt x="155" y="182"/>
                      <a:pt x="162" y="176"/>
                    </a:cubicBezTo>
                    <a:cubicBezTo>
                      <a:pt x="177" y="185"/>
                      <a:pt x="177" y="185"/>
                      <a:pt x="177" y="185"/>
                    </a:cubicBezTo>
                    <a:cubicBezTo>
                      <a:pt x="178" y="186"/>
                      <a:pt x="180" y="186"/>
                      <a:pt x="182" y="186"/>
                    </a:cubicBezTo>
                    <a:cubicBezTo>
                      <a:pt x="184" y="185"/>
                      <a:pt x="186" y="184"/>
                      <a:pt x="187" y="183"/>
                    </a:cubicBezTo>
                    <a:cubicBezTo>
                      <a:pt x="211" y="139"/>
                      <a:pt x="211" y="139"/>
                      <a:pt x="211" y="139"/>
                    </a:cubicBezTo>
                    <a:cubicBezTo>
                      <a:pt x="213" y="136"/>
                      <a:pt x="212" y="131"/>
                      <a:pt x="209" y="130"/>
                    </a:cubicBezTo>
                    <a:close/>
                    <a:moveTo>
                      <a:pt x="178" y="169"/>
                    </a:moveTo>
                    <a:cubicBezTo>
                      <a:pt x="165" y="161"/>
                      <a:pt x="165" y="161"/>
                      <a:pt x="165" y="161"/>
                    </a:cubicBezTo>
                    <a:cubicBezTo>
                      <a:pt x="162" y="160"/>
                      <a:pt x="159" y="160"/>
                      <a:pt x="156" y="162"/>
                    </a:cubicBezTo>
                    <a:cubicBezTo>
                      <a:pt x="148" y="170"/>
                      <a:pt x="141" y="175"/>
                      <a:pt x="130" y="178"/>
                    </a:cubicBezTo>
                    <a:cubicBezTo>
                      <a:pt x="127" y="179"/>
                      <a:pt x="125" y="181"/>
                      <a:pt x="125" y="185"/>
                    </a:cubicBezTo>
                    <a:cubicBezTo>
                      <a:pt x="125" y="200"/>
                      <a:pt x="125" y="200"/>
                      <a:pt x="125" y="200"/>
                    </a:cubicBezTo>
                    <a:cubicBezTo>
                      <a:pt x="89" y="200"/>
                      <a:pt x="89" y="200"/>
                      <a:pt x="89" y="200"/>
                    </a:cubicBezTo>
                    <a:cubicBezTo>
                      <a:pt x="89" y="185"/>
                      <a:pt x="89" y="185"/>
                      <a:pt x="89" y="185"/>
                    </a:cubicBezTo>
                    <a:cubicBezTo>
                      <a:pt x="89" y="181"/>
                      <a:pt x="87" y="179"/>
                      <a:pt x="84" y="178"/>
                    </a:cubicBezTo>
                    <a:cubicBezTo>
                      <a:pt x="74" y="175"/>
                      <a:pt x="66" y="170"/>
                      <a:pt x="57" y="162"/>
                    </a:cubicBezTo>
                    <a:cubicBezTo>
                      <a:pt x="55" y="160"/>
                      <a:pt x="51" y="160"/>
                      <a:pt x="49" y="161"/>
                    </a:cubicBezTo>
                    <a:cubicBezTo>
                      <a:pt x="35" y="169"/>
                      <a:pt x="35" y="169"/>
                      <a:pt x="35" y="169"/>
                    </a:cubicBezTo>
                    <a:cubicBezTo>
                      <a:pt x="17" y="138"/>
                      <a:pt x="17" y="138"/>
                      <a:pt x="17" y="138"/>
                    </a:cubicBezTo>
                    <a:cubicBezTo>
                      <a:pt x="30" y="131"/>
                      <a:pt x="30" y="131"/>
                      <a:pt x="30" y="131"/>
                    </a:cubicBezTo>
                    <a:cubicBezTo>
                      <a:pt x="33" y="129"/>
                      <a:pt x="34" y="126"/>
                      <a:pt x="34" y="123"/>
                    </a:cubicBezTo>
                    <a:cubicBezTo>
                      <a:pt x="33" y="118"/>
                      <a:pt x="32" y="113"/>
                      <a:pt x="32" y="107"/>
                    </a:cubicBezTo>
                    <a:cubicBezTo>
                      <a:pt x="32" y="102"/>
                      <a:pt x="33" y="97"/>
                      <a:pt x="34" y="92"/>
                    </a:cubicBezTo>
                    <a:cubicBezTo>
                      <a:pt x="35" y="89"/>
                      <a:pt x="33" y="86"/>
                      <a:pt x="30" y="84"/>
                    </a:cubicBezTo>
                    <a:cubicBezTo>
                      <a:pt x="17" y="76"/>
                      <a:pt x="17" y="76"/>
                      <a:pt x="17" y="76"/>
                    </a:cubicBezTo>
                    <a:cubicBezTo>
                      <a:pt x="35" y="46"/>
                      <a:pt x="35" y="46"/>
                      <a:pt x="35" y="46"/>
                    </a:cubicBezTo>
                    <a:cubicBezTo>
                      <a:pt x="49" y="53"/>
                      <a:pt x="49" y="53"/>
                      <a:pt x="49" y="53"/>
                    </a:cubicBezTo>
                    <a:cubicBezTo>
                      <a:pt x="51" y="55"/>
                      <a:pt x="55" y="55"/>
                      <a:pt x="57" y="52"/>
                    </a:cubicBezTo>
                    <a:cubicBezTo>
                      <a:pt x="66" y="45"/>
                      <a:pt x="74" y="40"/>
                      <a:pt x="84" y="37"/>
                    </a:cubicBezTo>
                    <a:cubicBezTo>
                      <a:pt x="87" y="36"/>
                      <a:pt x="89" y="33"/>
                      <a:pt x="89" y="30"/>
                    </a:cubicBezTo>
                    <a:cubicBezTo>
                      <a:pt x="89" y="15"/>
                      <a:pt x="89" y="15"/>
                      <a:pt x="89" y="15"/>
                    </a:cubicBezTo>
                    <a:cubicBezTo>
                      <a:pt x="125" y="15"/>
                      <a:pt x="125" y="15"/>
                      <a:pt x="125" y="15"/>
                    </a:cubicBezTo>
                    <a:cubicBezTo>
                      <a:pt x="125" y="30"/>
                      <a:pt x="125" y="30"/>
                      <a:pt x="125" y="30"/>
                    </a:cubicBezTo>
                    <a:cubicBezTo>
                      <a:pt x="125" y="33"/>
                      <a:pt x="127" y="36"/>
                      <a:pt x="130" y="37"/>
                    </a:cubicBezTo>
                    <a:cubicBezTo>
                      <a:pt x="141" y="40"/>
                      <a:pt x="148" y="45"/>
                      <a:pt x="156" y="52"/>
                    </a:cubicBezTo>
                    <a:cubicBezTo>
                      <a:pt x="158" y="55"/>
                      <a:pt x="162" y="55"/>
                      <a:pt x="165" y="53"/>
                    </a:cubicBezTo>
                    <a:cubicBezTo>
                      <a:pt x="178" y="46"/>
                      <a:pt x="178" y="46"/>
                      <a:pt x="178" y="46"/>
                    </a:cubicBezTo>
                    <a:cubicBezTo>
                      <a:pt x="195" y="76"/>
                      <a:pt x="195" y="76"/>
                      <a:pt x="195" y="76"/>
                    </a:cubicBezTo>
                    <a:cubicBezTo>
                      <a:pt x="182" y="84"/>
                      <a:pt x="182" y="84"/>
                      <a:pt x="182" y="84"/>
                    </a:cubicBezTo>
                    <a:cubicBezTo>
                      <a:pt x="179" y="86"/>
                      <a:pt x="178" y="89"/>
                      <a:pt x="179" y="92"/>
                    </a:cubicBezTo>
                    <a:cubicBezTo>
                      <a:pt x="180" y="97"/>
                      <a:pt x="180" y="102"/>
                      <a:pt x="180" y="107"/>
                    </a:cubicBezTo>
                    <a:cubicBezTo>
                      <a:pt x="180" y="113"/>
                      <a:pt x="180" y="118"/>
                      <a:pt x="179" y="123"/>
                    </a:cubicBezTo>
                    <a:cubicBezTo>
                      <a:pt x="178" y="126"/>
                      <a:pt x="179" y="129"/>
                      <a:pt x="182" y="131"/>
                    </a:cubicBezTo>
                    <a:cubicBezTo>
                      <a:pt x="196" y="138"/>
                      <a:pt x="196" y="138"/>
                      <a:pt x="196" y="138"/>
                    </a:cubicBezTo>
                    <a:lnTo>
                      <a:pt x="178" y="169"/>
                    </a:ln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grpSp>
      </p:grpSp>
      <p:grpSp>
        <p:nvGrpSpPr>
          <p:cNvPr id="5" name="Group 18"/>
          <p:cNvGrpSpPr/>
          <p:nvPr/>
        </p:nvGrpSpPr>
        <p:grpSpPr>
          <a:xfrm>
            <a:off x="1019665" y="2711406"/>
            <a:ext cx="1969855" cy="235545"/>
            <a:chOff x="1296364" y="4396717"/>
            <a:chExt cx="2627453" cy="314179"/>
          </a:xfrm>
        </p:grpSpPr>
        <p:cxnSp>
          <p:nvCxnSpPr>
            <p:cNvPr id="61" name="Straight Connector 15"/>
            <p:cNvCxnSpPr/>
            <p:nvPr/>
          </p:nvCxnSpPr>
          <p:spPr>
            <a:xfrm flipH="1">
              <a:off x="2610090" y="4396717"/>
              <a:ext cx="1" cy="314179"/>
            </a:xfrm>
            <a:prstGeom prst="line">
              <a:avLst/>
            </a:prstGeom>
            <a:noFill/>
            <a:ln w="19050" cap="flat" cmpd="sng" algn="ctr">
              <a:solidFill>
                <a:schemeClr val="accent1"/>
              </a:solidFill>
              <a:prstDash val="solid"/>
              <a:miter lim="800000"/>
            </a:ln>
            <a:effectLst/>
          </p:spPr>
        </p:cxnSp>
        <p:cxnSp>
          <p:nvCxnSpPr>
            <p:cNvPr id="62" name="Straight Connector 17"/>
            <p:cNvCxnSpPr/>
            <p:nvPr/>
          </p:nvCxnSpPr>
          <p:spPr>
            <a:xfrm>
              <a:off x="1296364" y="4710896"/>
              <a:ext cx="2627453" cy="0"/>
            </a:xfrm>
            <a:prstGeom prst="line">
              <a:avLst/>
            </a:prstGeom>
            <a:noFill/>
            <a:ln w="19050" cap="flat" cmpd="sng" algn="ctr">
              <a:solidFill>
                <a:schemeClr val="accent1"/>
              </a:solidFill>
              <a:prstDash val="solid"/>
              <a:miter lim="800000"/>
            </a:ln>
            <a:effectLst/>
          </p:spPr>
        </p:cxnSp>
      </p:grpSp>
      <p:cxnSp>
        <p:nvCxnSpPr>
          <p:cNvPr id="63" name="Straight Connector 102"/>
          <p:cNvCxnSpPr/>
          <p:nvPr/>
        </p:nvCxnSpPr>
        <p:spPr>
          <a:xfrm>
            <a:off x="1019665" y="3857069"/>
            <a:ext cx="1969855" cy="0"/>
          </a:xfrm>
          <a:prstGeom prst="line">
            <a:avLst/>
          </a:prstGeom>
          <a:noFill/>
          <a:ln w="19050" cap="flat" cmpd="sng" algn="ctr">
            <a:solidFill>
              <a:schemeClr val="accent1"/>
            </a:solidFill>
            <a:prstDash val="solid"/>
            <a:miter lim="800000"/>
          </a:ln>
          <a:effectLst/>
        </p:spPr>
      </p:cxnSp>
      <p:grpSp>
        <p:nvGrpSpPr>
          <p:cNvPr id="6" name="Group 7"/>
          <p:cNvGrpSpPr/>
          <p:nvPr/>
        </p:nvGrpSpPr>
        <p:grpSpPr>
          <a:xfrm>
            <a:off x="4017129" y="1616509"/>
            <a:ext cx="1094898" cy="1094898"/>
            <a:chOff x="5353514" y="2684670"/>
            <a:chExt cx="1460409" cy="1460409"/>
          </a:xfrm>
        </p:grpSpPr>
        <p:grpSp>
          <p:nvGrpSpPr>
            <p:cNvPr id="7" name="Group 67"/>
            <p:cNvGrpSpPr/>
            <p:nvPr/>
          </p:nvGrpSpPr>
          <p:grpSpPr>
            <a:xfrm>
              <a:off x="5353514" y="2684670"/>
              <a:ext cx="1460409" cy="1460409"/>
              <a:chOff x="1843428" y="2936308"/>
              <a:chExt cx="1460409" cy="1460409"/>
            </a:xfrm>
          </p:grpSpPr>
          <p:sp>
            <p:nvSpPr>
              <p:cNvPr id="80" name="Oval 68"/>
              <p:cNvSpPr/>
              <p:nvPr/>
            </p:nvSpPr>
            <p:spPr>
              <a:xfrm>
                <a:off x="1843428" y="2936308"/>
                <a:ext cx="1460409" cy="1460409"/>
              </a:xfrm>
              <a:prstGeom prst="ellipse">
                <a:avLst/>
              </a:prstGeom>
              <a:solidFill>
                <a:sysClr val="window" lastClr="FFFFFF"/>
              </a:solidFill>
              <a:ln w="19050" cap="flat" cmpd="sng" algn="ctr">
                <a:solidFill>
                  <a:schemeClr val="accent2"/>
                </a:solidFill>
                <a:prstDash val="solid"/>
                <a:miter lim="800000"/>
              </a:ln>
              <a:effectLst/>
            </p:spPr>
            <p:txBody>
              <a:bodyPr rtlCol="0" anchor="ctr"/>
              <a:lstStyle/>
              <a:p>
                <a:pPr algn="ctr" defTabSz="671830">
                  <a:defRPr/>
                </a:pPr>
                <a:endParaRPr lang="en-US" kern="0">
                  <a:solidFill>
                    <a:sysClr val="windowText" lastClr="000000"/>
                  </a:solidFill>
                  <a:latin typeface="Calibri"/>
                </a:endParaRPr>
              </a:p>
            </p:txBody>
          </p:sp>
          <p:sp>
            <p:nvSpPr>
              <p:cNvPr id="81" name="Oval 69"/>
              <p:cNvSpPr/>
              <p:nvPr/>
            </p:nvSpPr>
            <p:spPr>
              <a:xfrm>
                <a:off x="2001935" y="3094815"/>
                <a:ext cx="1143395" cy="1143395"/>
              </a:xfrm>
              <a:prstGeom prst="ellipse">
                <a:avLst/>
              </a:prstGeom>
              <a:solidFill>
                <a:schemeClr val="accent2"/>
              </a:solidFill>
            </p:spPr>
            <p:txBody>
              <a:bodyPr wrap="square" rtlCol="0" anchor="ctr">
                <a:noAutofit/>
              </a:bodyPr>
              <a:lstStyle/>
              <a:p>
                <a:pPr algn="ctr" defTabSz="671830">
                  <a:lnSpc>
                    <a:spcPct val="110000"/>
                  </a:lnSpc>
                  <a:defRPr/>
                </a:pPr>
                <a:endParaRPr lang="en-US" sz="1500" kern="0">
                  <a:solidFill>
                    <a:prstClr val="white"/>
                  </a:solidFill>
                  <a:latin typeface="Arial" panose="020b0604020202020204" pitchFamily="34" charset="0"/>
                  <a:cs typeface="Arial" panose="020b0604020202020204" pitchFamily="34" charset="0"/>
                </a:endParaRPr>
              </a:p>
            </p:txBody>
          </p:sp>
        </p:grpSp>
        <p:grpSp>
          <p:nvGrpSpPr>
            <p:cNvPr id="8" name="Group 27"/>
            <p:cNvGrpSpPr>
              <a:grpSpLocks noChangeAspect="1"/>
            </p:cNvGrpSpPr>
            <p:nvPr/>
          </p:nvGrpSpPr>
          <p:grpSpPr>
            <a:xfrm>
              <a:off x="5747608" y="3089732"/>
              <a:ext cx="672220" cy="673056"/>
              <a:chOff x="3437" y="1756"/>
              <a:chExt cx="805" cy="806"/>
            </a:xfrm>
            <a:solidFill>
              <a:sysClr val="window" lastClr="FFFFFF"/>
            </a:solidFill>
          </p:grpSpPr>
          <p:sp>
            <p:nvSpPr>
              <p:cNvPr id="67" name="Freeform 28"/>
              <p:cNvSpPr>
                <a:spLocks noEditPoints="1"/>
              </p:cNvSpPr>
              <p:nvPr/>
            </p:nvSpPr>
            <p:spPr bwMode="auto">
              <a:xfrm>
                <a:off x="3437" y="1756"/>
                <a:ext cx="805" cy="806"/>
              </a:xfrm>
              <a:custGeom>
                <a:gdLst>
                  <a:gd name="T0" fmla="*/ 170 w 341"/>
                  <a:gd name="T1" fmla="*/ 0 h 341"/>
                  <a:gd name="T2" fmla="*/ 0 w 341"/>
                  <a:gd name="T3" fmla="*/ 170 h 341"/>
                  <a:gd name="T4" fmla="*/ 170 w 341"/>
                  <a:gd name="T5" fmla="*/ 341 h 341"/>
                  <a:gd name="T6" fmla="*/ 341 w 341"/>
                  <a:gd name="T7" fmla="*/ 170 h 341"/>
                  <a:gd name="T8" fmla="*/ 170 w 341"/>
                  <a:gd name="T9" fmla="*/ 0 h 341"/>
                  <a:gd name="T10" fmla="*/ 170 w 341"/>
                  <a:gd name="T11" fmla="*/ 327 h 341"/>
                  <a:gd name="T12" fmla="*/ 14 w 341"/>
                  <a:gd name="T13" fmla="*/ 170 h 341"/>
                  <a:gd name="T14" fmla="*/ 170 w 341"/>
                  <a:gd name="T15" fmla="*/ 14 h 341"/>
                  <a:gd name="T16" fmla="*/ 327 w 341"/>
                  <a:gd name="T17" fmla="*/ 170 h 341"/>
                  <a:gd name="T18" fmla="*/ 170 w 341"/>
                  <a:gd name="T19" fmla="*/ 327 h 3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341">
                    <a:moveTo>
                      <a:pt x="170" y="0"/>
                    </a:moveTo>
                    <a:cubicBezTo>
                      <a:pt x="76" y="0"/>
                      <a:pt x="0" y="76"/>
                      <a:pt x="0" y="170"/>
                    </a:cubicBezTo>
                    <a:cubicBezTo>
                      <a:pt x="0" y="264"/>
                      <a:pt x="76" y="341"/>
                      <a:pt x="170" y="341"/>
                    </a:cubicBezTo>
                    <a:cubicBezTo>
                      <a:pt x="264" y="341"/>
                      <a:pt x="341" y="264"/>
                      <a:pt x="341" y="170"/>
                    </a:cubicBezTo>
                    <a:cubicBezTo>
                      <a:pt x="341" y="76"/>
                      <a:pt x="264" y="0"/>
                      <a:pt x="170" y="0"/>
                    </a:cubicBezTo>
                    <a:close/>
                    <a:moveTo>
                      <a:pt x="170" y="327"/>
                    </a:moveTo>
                    <a:cubicBezTo>
                      <a:pt x="84" y="327"/>
                      <a:pt x="14" y="257"/>
                      <a:pt x="14" y="170"/>
                    </a:cubicBezTo>
                    <a:cubicBezTo>
                      <a:pt x="14" y="84"/>
                      <a:pt x="84" y="14"/>
                      <a:pt x="170" y="14"/>
                    </a:cubicBezTo>
                    <a:cubicBezTo>
                      <a:pt x="257" y="14"/>
                      <a:pt x="327" y="84"/>
                      <a:pt x="327" y="170"/>
                    </a:cubicBezTo>
                    <a:cubicBezTo>
                      <a:pt x="327" y="257"/>
                      <a:pt x="257" y="327"/>
                      <a:pt x="170" y="327"/>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68" name="Freeform 29"/>
              <p:cNvSpPr>
                <a:spLocks noEditPoints="1"/>
              </p:cNvSpPr>
              <p:nvPr/>
            </p:nvSpPr>
            <p:spPr bwMode="auto">
              <a:xfrm>
                <a:off x="3772" y="1938"/>
                <a:ext cx="288" cy="288"/>
              </a:xfrm>
              <a:custGeom>
                <a:gdLst>
                  <a:gd name="T0" fmla="*/ 119 w 122"/>
                  <a:gd name="T1" fmla="*/ 3 h 122"/>
                  <a:gd name="T2" fmla="*/ 109 w 122"/>
                  <a:gd name="T3" fmla="*/ 3 h 122"/>
                  <a:gd name="T4" fmla="*/ 43 w 122"/>
                  <a:gd name="T5" fmla="*/ 69 h 122"/>
                  <a:gd name="T6" fmla="*/ 28 w 122"/>
                  <a:gd name="T7" fmla="*/ 65 h 122"/>
                  <a:gd name="T8" fmla="*/ 0 w 122"/>
                  <a:gd name="T9" fmla="*/ 93 h 122"/>
                  <a:gd name="T10" fmla="*/ 28 w 122"/>
                  <a:gd name="T11" fmla="*/ 122 h 122"/>
                  <a:gd name="T12" fmla="*/ 57 w 122"/>
                  <a:gd name="T13" fmla="*/ 93 h 122"/>
                  <a:gd name="T14" fmla="*/ 53 w 122"/>
                  <a:gd name="T15" fmla="*/ 79 h 122"/>
                  <a:gd name="T16" fmla="*/ 119 w 122"/>
                  <a:gd name="T17" fmla="*/ 13 h 122"/>
                  <a:gd name="T18" fmla="*/ 119 w 122"/>
                  <a:gd name="T19" fmla="*/ 3 h 122"/>
                  <a:gd name="T20" fmla="*/ 28 w 122"/>
                  <a:gd name="T21" fmla="*/ 108 h 122"/>
                  <a:gd name="T22" fmla="*/ 14 w 122"/>
                  <a:gd name="T23" fmla="*/ 93 h 122"/>
                  <a:gd name="T24" fmla="*/ 28 w 122"/>
                  <a:gd name="T25" fmla="*/ 79 h 122"/>
                  <a:gd name="T26" fmla="*/ 43 w 122"/>
                  <a:gd name="T27" fmla="*/ 93 h 122"/>
                  <a:gd name="T28" fmla="*/ 28 w 122"/>
                  <a:gd name="T29" fmla="*/ 108 h 12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 h="122">
                    <a:moveTo>
                      <a:pt x="119" y="3"/>
                    </a:moveTo>
                    <a:cubicBezTo>
                      <a:pt x="116" y="0"/>
                      <a:pt x="112" y="0"/>
                      <a:pt x="109" y="3"/>
                    </a:cubicBezTo>
                    <a:cubicBezTo>
                      <a:pt x="43" y="69"/>
                      <a:pt x="43" y="69"/>
                      <a:pt x="43" y="69"/>
                    </a:cubicBezTo>
                    <a:cubicBezTo>
                      <a:pt x="39" y="66"/>
                      <a:pt x="34" y="65"/>
                      <a:pt x="28" y="65"/>
                    </a:cubicBezTo>
                    <a:cubicBezTo>
                      <a:pt x="13" y="65"/>
                      <a:pt x="0" y="78"/>
                      <a:pt x="0" y="93"/>
                    </a:cubicBezTo>
                    <a:cubicBezTo>
                      <a:pt x="0" y="109"/>
                      <a:pt x="13" y="122"/>
                      <a:pt x="28" y="122"/>
                    </a:cubicBezTo>
                    <a:cubicBezTo>
                      <a:pt x="44" y="122"/>
                      <a:pt x="57" y="109"/>
                      <a:pt x="57" y="93"/>
                    </a:cubicBezTo>
                    <a:cubicBezTo>
                      <a:pt x="57" y="88"/>
                      <a:pt x="55" y="83"/>
                      <a:pt x="53" y="79"/>
                    </a:cubicBezTo>
                    <a:cubicBezTo>
                      <a:pt x="119" y="13"/>
                      <a:pt x="119" y="13"/>
                      <a:pt x="119" y="13"/>
                    </a:cubicBezTo>
                    <a:cubicBezTo>
                      <a:pt x="122" y="10"/>
                      <a:pt x="122" y="6"/>
                      <a:pt x="119" y="3"/>
                    </a:cubicBezTo>
                    <a:close/>
                    <a:moveTo>
                      <a:pt x="28" y="108"/>
                    </a:moveTo>
                    <a:cubicBezTo>
                      <a:pt x="21" y="108"/>
                      <a:pt x="14" y="101"/>
                      <a:pt x="14" y="93"/>
                    </a:cubicBezTo>
                    <a:cubicBezTo>
                      <a:pt x="14" y="86"/>
                      <a:pt x="21" y="79"/>
                      <a:pt x="28" y="79"/>
                    </a:cubicBezTo>
                    <a:cubicBezTo>
                      <a:pt x="36" y="79"/>
                      <a:pt x="43" y="86"/>
                      <a:pt x="43" y="93"/>
                    </a:cubicBezTo>
                    <a:cubicBezTo>
                      <a:pt x="43" y="101"/>
                      <a:pt x="36" y="108"/>
                      <a:pt x="28" y="108"/>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69" name="Freeform 30"/>
              <p:cNvSpPr/>
              <p:nvPr/>
            </p:nvSpPr>
            <p:spPr bwMode="auto">
              <a:xfrm>
                <a:off x="3500" y="2124"/>
                <a:ext cx="102" cy="34"/>
              </a:xfrm>
              <a:custGeom>
                <a:gdLst>
                  <a:gd name="T0" fmla="*/ 43 w 43"/>
                  <a:gd name="T1" fmla="*/ 7 h 14"/>
                  <a:gd name="T2" fmla="*/ 36 w 43"/>
                  <a:gd name="T3" fmla="*/ 0 h 14"/>
                  <a:gd name="T4" fmla="*/ 8 w 43"/>
                  <a:gd name="T5" fmla="*/ 0 h 14"/>
                  <a:gd name="T6" fmla="*/ 0 w 43"/>
                  <a:gd name="T7" fmla="*/ 7 h 14"/>
                  <a:gd name="T8" fmla="*/ 8 w 43"/>
                  <a:gd name="T9" fmla="*/ 14 h 14"/>
                  <a:gd name="T10" fmla="*/ 36 w 43"/>
                  <a:gd name="T11" fmla="*/ 14 h 14"/>
                  <a:gd name="T12" fmla="*/ 43 w 43"/>
                  <a:gd name="T13" fmla="*/ 7 h 14"/>
                </a:gdLst>
                <a:cxnLst>
                  <a:cxn ang="0">
                    <a:pos x="T0" y="T1"/>
                  </a:cxn>
                  <a:cxn ang="0">
                    <a:pos x="T2" y="T3"/>
                  </a:cxn>
                  <a:cxn ang="0">
                    <a:pos x="T4" y="T5"/>
                  </a:cxn>
                  <a:cxn ang="0">
                    <a:pos x="T6" y="T7"/>
                  </a:cxn>
                  <a:cxn ang="0">
                    <a:pos x="T8" y="T9"/>
                  </a:cxn>
                  <a:cxn ang="0">
                    <a:pos x="T10" y="T11"/>
                  </a:cxn>
                  <a:cxn ang="0">
                    <a:pos x="T12" y="T13"/>
                  </a:cxn>
                </a:cxnLst>
                <a:rect l="0" t="0" r="r" b="b"/>
                <a:pathLst>
                  <a:path w="43" h="14">
                    <a:moveTo>
                      <a:pt x="43" y="7"/>
                    </a:moveTo>
                    <a:cubicBezTo>
                      <a:pt x="43" y="3"/>
                      <a:pt x="40" y="0"/>
                      <a:pt x="36" y="0"/>
                    </a:cubicBezTo>
                    <a:cubicBezTo>
                      <a:pt x="8" y="0"/>
                      <a:pt x="8" y="0"/>
                      <a:pt x="8" y="0"/>
                    </a:cubicBezTo>
                    <a:cubicBezTo>
                      <a:pt x="4" y="0"/>
                      <a:pt x="0" y="3"/>
                      <a:pt x="0" y="7"/>
                    </a:cubicBezTo>
                    <a:cubicBezTo>
                      <a:pt x="0" y="11"/>
                      <a:pt x="4" y="14"/>
                      <a:pt x="8" y="14"/>
                    </a:cubicBezTo>
                    <a:cubicBezTo>
                      <a:pt x="36" y="14"/>
                      <a:pt x="36" y="14"/>
                      <a:pt x="36" y="14"/>
                    </a:cubicBezTo>
                    <a:cubicBezTo>
                      <a:pt x="40" y="14"/>
                      <a:pt x="43" y="11"/>
                      <a:pt x="43" y="7"/>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70" name="Freeform 31"/>
              <p:cNvSpPr/>
              <p:nvPr/>
            </p:nvSpPr>
            <p:spPr bwMode="auto">
              <a:xfrm>
                <a:off x="3526" y="2236"/>
                <a:ext cx="100" cy="61"/>
              </a:xfrm>
              <a:custGeom>
                <a:gdLst>
                  <a:gd name="T0" fmla="*/ 31 w 42"/>
                  <a:gd name="T1" fmla="*/ 2 h 26"/>
                  <a:gd name="T2" fmla="*/ 5 w 42"/>
                  <a:gd name="T3" fmla="*/ 13 h 26"/>
                  <a:gd name="T4" fmla="*/ 1 w 42"/>
                  <a:gd name="T5" fmla="*/ 22 h 26"/>
                  <a:gd name="T6" fmla="*/ 8 w 42"/>
                  <a:gd name="T7" fmla="*/ 26 h 26"/>
                  <a:gd name="T8" fmla="*/ 10 w 42"/>
                  <a:gd name="T9" fmla="*/ 26 h 26"/>
                  <a:gd name="T10" fmla="*/ 37 w 42"/>
                  <a:gd name="T11" fmla="*/ 15 h 26"/>
                  <a:gd name="T12" fmla="*/ 40 w 42"/>
                  <a:gd name="T13" fmla="*/ 5 h 26"/>
                  <a:gd name="T14" fmla="*/ 31 w 42"/>
                  <a:gd name="T15" fmla="*/ 2 h 2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31" y="2"/>
                    </a:moveTo>
                    <a:cubicBezTo>
                      <a:pt x="5" y="13"/>
                      <a:pt x="5" y="13"/>
                      <a:pt x="5" y="13"/>
                    </a:cubicBezTo>
                    <a:cubicBezTo>
                      <a:pt x="1" y="14"/>
                      <a:pt x="0" y="18"/>
                      <a:pt x="1" y="22"/>
                    </a:cubicBezTo>
                    <a:cubicBezTo>
                      <a:pt x="2" y="25"/>
                      <a:pt x="5" y="26"/>
                      <a:pt x="8" y="26"/>
                    </a:cubicBezTo>
                    <a:cubicBezTo>
                      <a:pt x="9" y="26"/>
                      <a:pt x="9" y="26"/>
                      <a:pt x="10" y="26"/>
                    </a:cubicBezTo>
                    <a:cubicBezTo>
                      <a:pt x="37" y="15"/>
                      <a:pt x="37" y="15"/>
                      <a:pt x="37" y="15"/>
                    </a:cubicBezTo>
                    <a:cubicBezTo>
                      <a:pt x="40" y="13"/>
                      <a:pt x="42" y="9"/>
                      <a:pt x="40" y="5"/>
                    </a:cubicBezTo>
                    <a:cubicBezTo>
                      <a:pt x="39" y="2"/>
                      <a:pt x="35" y="0"/>
                      <a:pt x="31" y="2"/>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71" name="Freeform 32"/>
              <p:cNvSpPr/>
              <p:nvPr/>
            </p:nvSpPr>
            <p:spPr bwMode="auto">
              <a:xfrm>
                <a:off x="4053" y="2236"/>
                <a:ext cx="100" cy="61"/>
              </a:xfrm>
              <a:custGeom>
                <a:gdLst>
                  <a:gd name="T0" fmla="*/ 37 w 42"/>
                  <a:gd name="T1" fmla="*/ 13 h 26"/>
                  <a:gd name="T2" fmla="*/ 11 w 42"/>
                  <a:gd name="T3" fmla="*/ 2 h 26"/>
                  <a:gd name="T4" fmla="*/ 1 w 42"/>
                  <a:gd name="T5" fmla="*/ 5 h 26"/>
                  <a:gd name="T6" fmla="*/ 5 w 42"/>
                  <a:gd name="T7" fmla="*/ 15 h 26"/>
                  <a:gd name="T8" fmla="*/ 31 w 42"/>
                  <a:gd name="T9" fmla="*/ 26 h 26"/>
                  <a:gd name="T10" fmla="*/ 34 w 42"/>
                  <a:gd name="T11" fmla="*/ 26 h 26"/>
                  <a:gd name="T12" fmla="*/ 41 w 42"/>
                  <a:gd name="T13" fmla="*/ 22 h 26"/>
                  <a:gd name="T14" fmla="*/ 37 w 42"/>
                  <a:gd name="T15" fmla="*/ 13 h 2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37" y="13"/>
                    </a:moveTo>
                    <a:cubicBezTo>
                      <a:pt x="11" y="2"/>
                      <a:pt x="11" y="2"/>
                      <a:pt x="11" y="2"/>
                    </a:cubicBezTo>
                    <a:cubicBezTo>
                      <a:pt x="7" y="0"/>
                      <a:pt x="3" y="2"/>
                      <a:pt x="1" y="5"/>
                    </a:cubicBezTo>
                    <a:cubicBezTo>
                      <a:pt x="0" y="9"/>
                      <a:pt x="2" y="13"/>
                      <a:pt x="5" y="15"/>
                    </a:cubicBezTo>
                    <a:cubicBezTo>
                      <a:pt x="31" y="26"/>
                      <a:pt x="31" y="26"/>
                      <a:pt x="31" y="26"/>
                    </a:cubicBezTo>
                    <a:cubicBezTo>
                      <a:pt x="32" y="26"/>
                      <a:pt x="33" y="26"/>
                      <a:pt x="34" y="26"/>
                    </a:cubicBezTo>
                    <a:cubicBezTo>
                      <a:pt x="37" y="26"/>
                      <a:pt x="40" y="25"/>
                      <a:pt x="41" y="22"/>
                    </a:cubicBezTo>
                    <a:cubicBezTo>
                      <a:pt x="42" y="18"/>
                      <a:pt x="40" y="14"/>
                      <a:pt x="37" y="13"/>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72" name="Freeform 33"/>
              <p:cNvSpPr/>
              <p:nvPr/>
            </p:nvSpPr>
            <p:spPr bwMode="auto">
              <a:xfrm>
                <a:off x="4075" y="2124"/>
                <a:ext cx="101" cy="34"/>
              </a:xfrm>
              <a:custGeom>
                <a:gdLst>
                  <a:gd name="T0" fmla="*/ 35 w 43"/>
                  <a:gd name="T1" fmla="*/ 0 h 14"/>
                  <a:gd name="T2" fmla="*/ 7 w 43"/>
                  <a:gd name="T3" fmla="*/ 0 h 14"/>
                  <a:gd name="T4" fmla="*/ 0 w 43"/>
                  <a:gd name="T5" fmla="*/ 7 h 14"/>
                  <a:gd name="T6" fmla="*/ 7 w 43"/>
                  <a:gd name="T7" fmla="*/ 14 h 14"/>
                  <a:gd name="T8" fmla="*/ 35 w 43"/>
                  <a:gd name="T9" fmla="*/ 14 h 14"/>
                  <a:gd name="T10" fmla="*/ 43 w 43"/>
                  <a:gd name="T11" fmla="*/ 7 h 14"/>
                  <a:gd name="T12" fmla="*/ 35 w 43"/>
                  <a:gd name="T13" fmla="*/ 0 h 14"/>
                </a:gdLst>
                <a:cxnLst>
                  <a:cxn ang="0">
                    <a:pos x="T0" y="T1"/>
                  </a:cxn>
                  <a:cxn ang="0">
                    <a:pos x="T2" y="T3"/>
                  </a:cxn>
                  <a:cxn ang="0">
                    <a:pos x="T4" y="T5"/>
                  </a:cxn>
                  <a:cxn ang="0">
                    <a:pos x="T6" y="T7"/>
                  </a:cxn>
                  <a:cxn ang="0">
                    <a:pos x="T8" y="T9"/>
                  </a:cxn>
                  <a:cxn ang="0">
                    <a:pos x="T10" y="T11"/>
                  </a:cxn>
                  <a:cxn ang="0">
                    <a:pos x="T12" y="T13"/>
                  </a:cxn>
                </a:cxnLst>
                <a:rect l="0" t="0" r="r" b="b"/>
                <a:pathLst>
                  <a:path w="43" h="14">
                    <a:moveTo>
                      <a:pt x="35" y="0"/>
                    </a:moveTo>
                    <a:cubicBezTo>
                      <a:pt x="7" y="0"/>
                      <a:pt x="7" y="0"/>
                      <a:pt x="7" y="0"/>
                    </a:cubicBezTo>
                    <a:cubicBezTo>
                      <a:pt x="3" y="0"/>
                      <a:pt x="0" y="3"/>
                      <a:pt x="0" y="7"/>
                    </a:cubicBezTo>
                    <a:cubicBezTo>
                      <a:pt x="0" y="11"/>
                      <a:pt x="3" y="14"/>
                      <a:pt x="7" y="14"/>
                    </a:cubicBezTo>
                    <a:cubicBezTo>
                      <a:pt x="35" y="14"/>
                      <a:pt x="35" y="14"/>
                      <a:pt x="35" y="14"/>
                    </a:cubicBezTo>
                    <a:cubicBezTo>
                      <a:pt x="39" y="14"/>
                      <a:pt x="43" y="11"/>
                      <a:pt x="43" y="7"/>
                    </a:cubicBezTo>
                    <a:cubicBezTo>
                      <a:pt x="43" y="3"/>
                      <a:pt x="39" y="0"/>
                      <a:pt x="35" y="0"/>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73" name="Freeform 34"/>
              <p:cNvSpPr/>
              <p:nvPr/>
            </p:nvSpPr>
            <p:spPr bwMode="auto">
              <a:xfrm>
                <a:off x="4053" y="2018"/>
                <a:ext cx="100" cy="62"/>
              </a:xfrm>
              <a:custGeom>
                <a:gdLst>
                  <a:gd name="T0" fmla="*/ 1 w 42"/>
                  <a:gd name="T1" fmla="*/ 21 h 26"/>
                  <a:gd name="T2" fmla="*/ 8 w 42"/>
                  <a:gd name="T3" fmla="*/ 26 h 26"/>
                  <a:gd name="T4" fmla="*/ 11 w 42"/>
                  <a:gd name="T5" fmla="*/ 25 h 26"/>
                  <a:gd name="T6" fmla="*/ 37 w 42"/>
                  <a:gd name="T7" fmla="*/ 14 h 26"/>
                  <a:gd name="T8" fmla="*/ 41 w 42"/>
                  <a:gd name="T9" fmla="*/ 5 h 26"/>
                  <a:gd name="T10" fmla="*/ 31 w 42"/>
                  <a:gd name="T11" fmla="*/ 1 h 26"/>
                  <a:gd name="T12" fmla="*/ 5 w 42"/>
                  <a:gd name="T13" fmla="*/ 12 h 26"/>
                  <a:gd name="T14" fmla="*/ 1 w 42"/>
                  <a:gd name="T15" fmla="*/ 21 h 2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1" y="21"/>
                    </a:moveTo>
                    <a:cubicBezTo>
                      <a:pt x="2" y="24"/>
                      <a:pt x="5" y="26"/>
                      <a:pt x="8" y="26"/>
                    </a:cubicBezTo>
                    <a:cubicBezTo>
                      <a:pt x="9" y="26"/>
                      <a:pt x="10" y="26"/>
                      <a:pt x="11" y="25"/>
                    </a:cubicBezTo>
                    <a:cubicBezTo>
                      <a:pt x="37" y="14"/>
                      <a:pt x="37" y="14"/>
                      <a:pt x="37" y="14"/>
                    </a:cubicBezTo>
                    <a:cubicBezTo>
                      <a:pt x="40" y="13"/>
                      <a:pt x="42" y="9"/>
                      <a:pt x="41" y="5"/>
                    </a:cubicBezTo>
                    <a:cubicBezTo>
                      <a:pt x="39" y="1"/>
                      <a:pt x="35" y="0"/>
                      <a:pt x="31" y="1"/>
                    </a:cubicBezTo>
                    <a:cubicBezTo>
                      <a:pt x="5" y="12"/>
                      <a:pt x="5" y="12"/>
                      <a:pt x="5" y="12"/>
                    </a:cubicBezTo>
                    <a:cubicBezTo>
                      <a:pt x="2" y="14"/>
                      <a:pt x="0" y="18"/>
                      <a:pt x="1" y="21"/>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74" name="Freeform 35"/>
              <p:cNvSpPr/>
              <p:nvPr/>
            </p:nvSpPr>
            <p:spPr bwMode="auto">
              <a:xfrm>
                <a:off x="3938" y="1846"/>
                <a:ext cx="63" cy="97"/>
              </a:xfrm>
              <a:custGeom>
                <a:gdLst>
                  <a:gd name="T0" fmla="*/ 5 w 27"/>
                  <a:gd name="T1" fmla="*/ 40 h 41"/>
                  <a:gd name="T2" fmla="*/ 8 w 27"/>
                  <a:gd name="T3" fmla="*/ 41 h 41"/>
                  <a:gd name="T4" fmla="*/ 15 w 27"/>
                  <a:gd name="T5" fmla="*/ 37 h 41"/>
                  <a:gd name="T6" fmla="*/ 26 w 27"/>
                  <a:gd name="T7" fmla="*/ 10 h 41"/>
                  <a:gd name="T8" fmla="*/ 22 w 27"/>
                  <a:gd name="T9" fmla="*/ 1 h 41"/>
                  <a:gd name="T10" fmla="*/ 12 w 27"/>
                  <a:gd name="T11" fmla="*/ 5 h 41"/>
                  <a:gd name="T12" fmla="*/ 2 w 27"/>
                  <a:gd name="T13" fmla="*/ 31 h 41"/>
                  <a:gd name="T14" fmla="*/ 5 w 27"/>
                  <a:gd name="T15" fmla="*/ 40 h 4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1">
                    <a:moveTo>
                      <a:pt x="5" y="40"/>
                    </a:moveTo>
                    <a:cubicBezTo>
                      <a:pt x="6" y="41"/>
                      <a:pt x="7" y="41"/>
                      <a:pt x="8" y="41"/>
                    </a:cubicBezTo>
                    <a:cubicBezTo>
                      <a:pt x="11" y="41"/>
                      <a:pt x="14" y="39"/>
                      <a:pt x="15" y="37"/>
                    </a:cubicBezTo>
                    <a:cubicBezTo>
                      <a:pt x="26" y="10"/>
                      <a:pt x="26" y="10"/>
                      <a:pt x="26" y="10"/>
                    </a:cubicBezTo>
                    <a:cubicBezTo>
                      <a:pt x="27" y="7"/>
                      <a:pt x="25" y="3"/>
                      <a:pt x="22" y="1"/>
                    </a:cubicBezTo>
                    <a:cubicBezTo>
                      <a:pt x="18" y="0"/>
                      <a:pt x="14" y="1"/>
                      <a:pt x="12" y="5"/>
                    </a:cubicBezTo>
                    <a:cubicBezTo>
                      <a:pt x="2" y="31"/>
                      <a:pt x="2" y="31"/>
                      <a:pt x="2" y="31"/>
                    </a:cubicBezTo>
                    <a:cubicBezTo>
                      <a:pt x="0" y="35"/>
                      <a:pt x="2" y="39"/>
                      <a:pt x="5" y="40"/>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75" name="Freeform 36"/>
              <p:cNvSpPr/>
              <p:nvPr/>
            </p:nvSpPr>
            <p:spPr bwMode="auto">
              <a:xfrm>
                <a:off x="3838" y="1829"/>
                <a:ext cx="36" cy="102"/>
              </a:xfrm>
              <a:custGeom>
                <a:gdLst>
                  <a:gd name="T0" fmla="*/ 8 w 15"/>
                  <a:gd name="T1" fmla="*/ 43 h 43"/>
                  <a:gd name="T2" fmla="*/ 15 w 15"/>
                  <a:gd name="T3" fmla="*/ 35 h 43"/>
                  <a:gd name="T4" fmla="*/ 15 w 15"/>
                  <a:gd name="T5" fmla="*/ 7 h 43"/>
                  <a:gd name="T6" fmla="*/ 8 w 15"/>
                  <a:gd name="T7" fmla="*/ 0 h 43"/>
                  <a:gd name="T8" fmla="*/ 0 w 15"/>
                  <a:gd name="T9" fmla="*/ 7 h 43"/>
                  <a:gd name="T10" fmla="*/ 0 w 15"/>
                  <a:gd name="T11" fmla="*/ 35 h 43"/>
                  <a:gd name="T12" fmla="*/ 8 w 15"/>
                  <a:gd name="T13" fmla="*/ 43 h 43"/>
                </a:gdLst>
                <a:cxnLst>
                  <a:cxn ang="0">
                    <a:pos x="T0" y="T1"/>
                  </a:cxn>
                  <a:cxn ang="0">
                    <a:pos x="T2" y="T3"/>
                  </a:cxn>
                  <a:cxn ang="0">
                    <a:pos x="T4" y="T5"/>
                  </a:cxn>
                  <a:cxn ang="0">
                    <a:pos x="T6" y="T7"/>
                  </a:cxn>
                  <a:cxn ang="0">
                    <a:pos x="T8" y="T9"/>
                  </a:cxn>
                  <a:cxn ang="0">
                    <a:pos x="T10" y="T11"/>
                  </a:cxn>
                  <a:cxn ang="0">
                    <a:pos x="T12" y="T13"/>
                  </a:cxn>
                </a:cxnLst>
                <a:rect l="0" t="0" r="r" b="b"/>
                <a:pathLst>
                  <a:path w="15" h="43">
                    <a:moveTo>
                      <a:pt x="8" y="43"/>
                    </a:moveTo>
                    <a:cubicBezTo>
                      <a:pt x="11" y="43"/>
                      <a:pt x="15" y="39"/>
                      <a:pt x="15" y="35"/>
                    </a:cubicBezTo>
                    <a:cubicBezTo>
                      <a:pt x="15" y="7"/>
                      <a:pt x="15" y="7"/>
                      <a:pt x="15" y="7"/>
                    </a:cubicBezTo>
                    <a:cubicBezTo>
                      <a:pt x="15" y="3"/>
                      <a:pt x="11" y="0"/>
                      <a:pt x="8" y="0"/>
                    </a:cubicBezTo>
                    <a:cubicBezTo>
                      <a:pt x="4" y="0"/>
                      <a:pt x="0" y="3"/>
                      <a:pt x="0" y="7"/>
                    </a:cubicBezTo>
                    <a:cubicBezTo>
                      <a:pt x="0" y="35"/>
                      <a:pt x="0" y="35"/>
                      <a:pt x="0" y="35"/>
                    </a:cubicBezTo>
                    <a:cubicBezTo>
                      <a:pt x="0" y="39"/>
                      <a:pt x="4" y="43"/>
                      <a:pt x="8" y="43"/>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76" name="Freeform 37"/>
              <p:cNvSpPr/>
              <p:nvPr/>
            </p:nvSpPr>
            <p:spPr bwMode="auto">
              <a:xfrm>
                <a:off x="3699" y="1846"/>
                <a:ext cx="64" cy="97"/>
              </a:xfrm>
              <a:custGeom>
                <a:gdLst>
                  <a:gd name="T0" fmla="*/ 12 w 27"/>
                  <a:gd name="T1" fmla="*/ 37 h 41"/>
                  <a:gd name="T2" fmla="*/ 19 w 27"/>
                  <a:gd name="T3" fmla="*/ 41 h 41"/>
                  <a:gd name="T4" fmla="*/ 21 w 27"/>
                  <a:gd name="T5" fmla="*/ 40 h 41"/>
                  <a:gd name="T6" fmla="*/ 25 w 27"/>
                  <a:gd name="T7" fmla="*/ 31 h 41"/>
                  <a:gd name="T8" fmla="*/ 14 w 27"/>
                  <a:gd name="T9" fmla="*/ 5 h 41"/>
                  <a:gd name="T10" fmla="*/ 5 w 27"/>
                  <a:gd name="T11" fmla="*/ 1 h 41"/>
                  <a:gd name="T12" fmla="*/ 1 w 27"/>
                  <a:gd name="T13" fmla="*/ 10 h 41"/>
                  <a:gd name="T14" fmla="*/ 12 w 27"/>
                  <a:gd name="T15" fmla="*/ 37 h 41"/>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1">
                    <a:moveTo>
                      <a:pt x="12" y="37"/>
                    </a:moveTo>
                    <a:cubicBezTo>
                      <a:pt x="13" y="39"/>
                      <a:pt x="16" y="41"/>
                      <a:pt x="19" y="41"/>
                    </a:cubicBezTo>
                    <a:cubicBezTo>
                      <a:pt x="20" y="41"/>
                      <a:pt x="20" y="41"/>
                      <a:pt x="21" y="40"/>
                    </a:cubicBezTo>
                    <a:cubicBezTo>
                      <a:pt x="25" y="39"/>
                      <a:pt x="27" y="35"/>
                      <a:pt x="25" y="31"/>
                    </a:cubicBezTo>
                    <a:cubicBezTo>
                      <a:pt x="14" y="5"/>
                      <a:pt x="14" y="5"/>
                      <a:pt x="14" y="5"/>
                    </a:cubicBezTo>
                    <a:cubicBezTo>
                      <a:pt x="13" y="1"/>
                      <a:pt x="9" y="0"/>
                      <a:pt x="5" y="1"/>
                    </a:cubicBezTo>
                    <a:cubicBezTo>
                      <a:pt x="1" y="3"/>
                      <a:pt x="0" y="7"/>
                      <a:pt x="1" y="10"/>
                    </a:cubicBezTo>
                    <a:lnTo>
                      <a:pt x="12" y="37"/>
                    </a:ln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77" name="Freeform 38"/>
              <p:cNvSpPr/>
              <p:nvPr/>
            </p:nvSpPr>
            <p:spPr bwMode="auto">
              <a:xfrm>
                <a:off x="3595" y="1914"/>
                <a:ext cx="85" cy="83"/>
              </a:xfrm>
              <a:custGeom>
                <a:gdLst>
                  <a:gd name="T0" fmla="*/ 33 w 36"/>
                  <a:gd name="T1" fmla="*/ 23 h 35"/>
                  <a:gd name="T2" fmla="*/ 13 w 36"/>
                  <a:gd name="T3" fmla="*/ 3 h 35"/>
                  <a:gd name="T4" fmla="*/ 3 w 36"/>
                  <a:gd name="T5" fmla="*/ 3 h 35"/>
                  <a:gd name="T6" fmla="*/ 3 w 36"/>
                  <a:gd name="T7" fmla="*/ 13 h 35"/>
                  <a:gd name="T8" fmla="*/ 23 w 36"/>
                  <a:gd name="T9" fmla="*/ 33 h 35"/>
                  <a:gd name="T10" fmla="*/ 28 w 36"/>
                  <a:gd name="T11" fmla="*/ 35 h 35"/>
                  <a:gd name="T12" fmla="*/ 33 w 36"/>
                  <a:gd name="T13" fmla="*/ 33 h 35"/>
                  <a:gd name="T14" fmla="*/ 33 w 36"/>
                  <a:gd name="T15" fmla="*/ 23 h 35"/>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5">
                    <a:moveTo>
                      <a:pt x="33" y="23"/>
                    </a:moveTo>
                    <a:cubicBezTo>
                      <a:pt x="13" y="3"/>
                      <a:pt x="13" y="3"/>
                      <a:pt x="13" y="3"/>
                    </a:cubicBezTo>
                    <a:cubicBezTo>
                      <a:pt x="10" y="0"/>
                      <a:pt x="6" y="0"/>
                      <a:pt x="3" y="3"/>
                    </a:cubicBezTo>
                    <a:cubicBezTo>
                      <a:pt x="0" y="6"/>
                      <a:pt x="0" y="10"/>
                      <a:pt x="3" y="13"/>
                    </a:cubicBezTo>
                    <a:cubicBezTo>
                      <a:pt x="23" y="33"/>
                      <a:pt x="23" y="33"/>
                      <a:pt x="23" y="33"/>
                    </a:cubicBezTo>
                    <a:cubicBezTo>
                      <a:pt x="24" y="34"/>
                      <a:pt x="26" y="35"/>
                      <a:pt x="28" y="35"/>
                    </a:cubicBezTo>
                    <a:cubicBezTo>
                      <a:pt x="30" y="35"/>
                      <a:pt x="32" y="34"/>
                      <a:pt x="33" y="33"/>
                    </a:cubicBezTo>
                    <a:cubicBezTo>
                      <a:pt x="36" y="30"/>
                      <a:pt x="36" y="26"/>
                      <a:pt x="33" y="23"/>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78" name="Freeform 39"/>
              <p:cNvSpPr/>
              <p:nvPr/>
            </p:nvSpPr>
            <p:spPr bwMode="auto">
              <a:xfrm>
                <a:off x="3526" y="2018"/>
                <a:ext cx="100" cy="62"/>
              </a:xfrm>
              <a:custGeom>
                <a:gdLst>
                  <a:gd name="T0" fmla="*/ 37 w 42"/>
                  <a:gd name="T1" fmla="*/ 12 h 26"/>
                  <a:gd name="T2" fmla="*/ 10 w 42"/>
                  <a:gd name="T3" fmla="*/ 1 h 26"/>
                  <a:gd name="T4" fmla="*/ 1 w 42"/>
                  <a:gd name="T5" fmla="*/ 5 h 26"/>
                  <a:gd name="T6" fmla="*/ 5 w 42"/>
                  <a:gd name="T7" fmla="*/ 14 h 26"/>
                  <a:gd name="T8" fmla="*/ 31 w 42"/>
                  <a:gd name="T9" fmla="*/ 25 h 26"/>
                  <a:gd name="T10" fmla="*/ 34 w 42"/>
                  <a:gd name="T11" fmla="*/ 26 h 26"/>
                  <a:gd name="T12" fmla="*/ 40 w 42"/>
                  <a:gd name="T13" fmla="*/ 21 h 26"/>
                  <a:gd name="T14" fmla="*/ 37 w 42"/>
                  <a:gd name="T15" fmla="*/ 12 h 26"/>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37" y="12"/>
                    </a:moveTo>
                    <a:cubicBezTo>
                      <a:pt x="10" y="1"/>
                      <a:pt x="10" y="1"/>
                      <a:pt x="10" y="1"/>
                    </a:cubicBezTo>
                    <a:cubicBezTo>
                      <a:pt x="7" y="0"/>
                      <a:pt x="3" y="1"/>
                      <a:pt x="1" y="5"/>
                    </a:cubicBezTo>
                    <a:cubicBezTo>
                      <a:pt x="0" y="9"/>
                      <a:pt x="1" y="13"/>
                      <a:pt x="5" y="14"/>
                    </a:cubicBezTo>
                    <a:cubicBezTo>
                      <a:pt x="31" y="25"/>
                      <a:pt x="31" y="25"/>
                      <a:pt x="31" y="25"/>
                    </a:cubicBezTo>
                    <a:cubicBezTo>
                      <a:pt x="32" y="26"/>
                      <a:pt x="33" y="26"/>
                      <a:pt x="34" y="26"/>
                    </a:cubicBezTo>
                    <a:cubicBezTo>
                      <a:pt x="37" y="26"/>
                      <a:pt x="39" y="24"/>
                      <a:pt x="40" y="21"/>
                    </a:cubicBezTo>
                    <a:cubicBezTo>
                      <a:pt x="42" y="18"/>
                      <a:pt x="40" y="14"/>
                      <a:pt x="37" y="12"/>
                    </a:cubicBez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sp>
            <p:nvSpPr>
              <p:cNvPr id="79" name="Freeform 40"/>
              <p:cNvSpPr>
                <a:spLocks noEditPoints="1"/>
              </p:cNvSpPr>
              <p:nvPr/>
            </p:nvSpPr>
            <p:spPr bwMode="auto">
              <a:xfrm>
                <a:off x="3671" y="2292"/>
                <a:ext cx="335" cy="135"/>
              </a:xfrm>
              <a:custGeom>
                <a:gdLst>
                  <a:gd name="T0" fmla="*/ 135 w 142"/>
                  <a:gd name="T1" fmla="*/ 0 h 57"/>
                  <a:gd name="T2" fmla="*/ 7 w 142"/>
                  <a:gd name="T3" fmla="*/ 0 h 57"/>
                  <a:gd name="T4" fmla="*/ 0 w 142"/>
                  <a:gd name="T5" fmla="*/ 7 h 57"/>
                  <a:gd name="T6" fmla="*/ 0 w 142"/>
                  <a:gd name="T7" fmla="*/ 50 h 57"/>
                  <a:gd name="T8" fmla="*/ 7 w 142"/>
                  <a:gd name="T9" fmla="*/ 57 h 57"/>
                  <a:gd name="T10" fmla="*/ 135 w 142"/>
                  <a:gd name="T11" fmla="*/ 57 h 57"/>
                  <a:gd name="T12" fmla="*/ 142 w 142"/>
                  <a:gd name="T13" fmla="*/ 50 h 57"/>
                  <a:gd name="T14" fmla="*/ 142 w 142"/>
                  <a:gd name="T15" fmla="*/ 7 h 57"/>
                  <a:gd name="T16" fmla="*/ 135 w 142"/>
                  <a:gd name="T17" fmla="*/ 0 h 57"/>
                  <a:gd name="T18" fmla="*/ 128 w 142"/>
                  <a:gd name="T19" fmla="*/ 43 h 57"/>
                  <a:gd name="T20" fmla="*/ 15 w 142"/>
                  <a:gd name="T21" fmla="*/ 43 h 57"/>
                  <a:gd name="T22" fmla="*/ 15 w 142"/>
                  <a:gd name="T23" fmla="*/ 14 h 57"/>
                  <a:gd name="T24" fmla="*/ 128 w 142"/>
                  <a:gd name="T25" fmla="*/ 14 h 57"/>
                  <a:gd name="T26" fmla="*/ 128 w 142"/>
                  <a:gd name="T27" fmla="*/ 43 h 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 h="57">
                    <a:moveTo>
                      <a:pt x="135" y="0"/>
                    </a:moveTo>
                    <a:cubicBezTo>
                      <a:pt x="7" y="0"/>
                      <a:pt x="7" y="0"/>
                      <a:pt x="7" y="0"/>
                    </a:cubicBezTo>
                    <a:cubicBezTo>
                      <a:pt x="4" y="0"/>
                      <a:pt x="0" y="3"/>
                      <a:pt x="0" y="7"/>
                    </a:cubicBezTo>
                    <a:cubicBezTo>
                      <a:pt x="0" y="50"/>
                      <a:pt x="0" y="50"/>
                      <a:pt x="0" y="50"/>
                    </a:cubicBezTo>
                    <a:cubicBezTo>
                      <a:pt x="0" y="54"/>
                      <a:pt x="4" y="57"/>
                      <a:pt x="7" y="57"/>
                    </a:cubicBezTo>
                    <a:cubicBezTo>
                      <a:pt x="135" y="57"/>
                      <a:pt x="135" y="57"/>
                      <a:pt x="135" y="57"/>
                    </a:cubicBezTo>
                    <a:cubicBezTo>
                      <a:pt x="139" y="57"/>
                      <a:pt x="142" y="54"/>
                      <a:pt x="142" y="50"/>
                    </a:cubicBezTo>
                    <a:cubicBezTo>
                      <a:pt x="142" y="7"/>
                      <a:pt x="142" y="7"/>
                      <a:pt x="142" y="7"/>
                    </a:cubicBezTo>
                    <a:cubicBezTo>
                      <a:pt x="142" y="3"/>
                      <a:pt x="139" y="0"/>
                      <a:pt x="135" y="0"/>
                    </a:cubicBezTo>
                    <a:close/>
                    <a:moveTo>
                      <a:pt x="128" y="43"/>
                    </a:moveTo>
                    <a:cubicBezTo>
                      <a:pt x="15" y="43"/>
                      <a:pt x="15" y="43"/>
                      <a:pt x="15" y="43"/>
                    </a:cubicBezTo>
                    <a:cubicBezTo>
                      <a:pt x="15" y="14"/>
                      <a:pt x="15" y="14"/>
                      <a:pt x="15" y="14"/>
                    </a:cubicBezTo>
                    <a:cubicBezTo>
                      <a:pt x="128" y="14"/>
                      <a:pt x="128" y="14"/>
                      <a:pt x="128" y="14"/>
                    </a:cubicBezTo>
                    <a:lnTo>
                      <a:pt x="128" y="43"/>
                    </a:lnTo>
                    <a:close/>
                  </a:path>
                </a:pathLst>
              </a:custGeom>
              <a:grpFill/>
              <a:ln>
                <a:noFill/>
              </a:ln>
            </p:spPr>
            <p:txBody>
              <a:bodyPr vert="horz" wrap="square" lIns="91406" tIns="45703" rIns="91406" bIns="45703" numCol="1" anchor="t" anchorCtr="0" compatLnSpc="1"/>
              <a:lstStyle/>
              <a:p>
                <a:pPr defTabSz="671830">
                  <a:defRPr/>
                </a:pPr>
                <a:endParaRPr lang="en-US" kern="0">
                  <a:solidFill>
                    <a:sysClr val="windowText" lastClr="000000"/>
                  </a:solidFill>
                  <a:latin typeface="Calibri"/>
                </a:endParaRPr>
              </a:p>
            </p:txBody>
          </p:sp>
        </p:grpSp>
      </p:grpSp>
      <p:grpSp>
        <p:nvGrpSpPr>
          <p:cNvPr id="9" name="Group 80"/>
          <p:cNvGrpSpPr/>
          <p:nvPr/>
        </p:nvGrpSpPr>
        <p:grpSpPr>
          <a:xfrm>
            <a:off x="3579651" y="2711406"/>
            <a:ext cx="1969855" cy="235545"/>
            <a:chOff x="1296364" y="4396717"/>
            <a:chExt cx="2627453" cy="314179"/>
          </a:xfrm>
        </p:grpSpPr>
        <p:cxnSp>
          <p:nvCxnSpPr>
            <p:cNvPr id="83" name="Straight Connector 81"/>
            <p:cNvCxnSpPr/>
            <p:nvPr/>
          </p:nvCxnSpPr>
          <p:spPr>
            <a:xfrm flipH="1">
              <a:off x="2610090" y="4396717"/>
              <a:ext cx="1" cy="314179"/>
            </a:xfrm>
            <a:prstGeom prst="line">
              <a:avLst/>
            </a:prstGeom>
            <a:noFill/>
            <a:ln w="19050" cap="flat" cmpd="sng" algn="ctr">
              <a:solidFill>
                <a:schemeClr val="accent2"/>
              </a:solidFill>
              <a:prstDash val="solid"/>
              <a:miter lim="800000"/>
            </a:ln>
            <a:effectLst/>
          </p:spPr>
        </p:cxnSp>
        <p:cxnSp>
          <p:nvCxnSpPr>
            <p:cNvPr id="84" name="Straight Connector 82"/>
            <p:cNvCxnSpPr/>
            <p:nvPr/>
          </p:nvCxnSpPr>
          <p:spPr>
            <a:xfrm>
              <a:off x="1296364" y="4710896"/>
              <a:ext cx="2627453" cy="0"/>
            </a:xfrm>
            <a:prstGeom prst="line">
              <a:avLst/>
            </a:prstGeom>
            <a:noFill/>
            <a:ln w="19050" cap="flat" cmpd="sng" algn="ctr">
              <a:solidFill>
                <a:schemeClr val="accent2"/>
              </a:solidFill>
              <a:prstDash val="solid"/>
              <a:miter lim="800000"/>
            </a:ln>
            <a:effectLst/>
          </p:spPr>
        </p:cxnSp>
      </p:grpSp>
      <p:cxnSp>
        <p:nvCxnSpPr>
          <p:cNvPr id="85" name="Straight Connector 103"/>
          <p:cNvCxnSpPr/>
          <p:nvPr/>
        </p:nvCxnSpPr>
        <p:spPr>
          <a:xfrm>
            <a:off x="3579651" y="3857069"/>
            <a:ext cx="1969855" cy="0"/>
          </a:xfrm>
          <a:prstGeom prst="line">
            <a:avLst/>
          </a:prstGeom>
          <a:noFill/>
          <a:ln w="19050" cap="flat" cmpd="sng" algn="ctr">
            <a:solidFill>
              <a:schemeClr val="accent2"/>
            </a:solidFill>
            <a:prstDash val="solid"/>
            <a:miter lim="800000"/>
          </a:ln>
          <a:effectLst/>
        </p:spPr>
      </p:cxnSp>
      <p:sp>
        <p:nvSpPr>
          <p:cNvPr id="86" name="Oval 71"/>
          <p:cNvSpPr/>
          <p:nvPr/>
        </p:nvSpPr>
        <p:spPr>
          <a:xfrm>
            <a:off x="6594958" y="1616509"/>
            <a:ext cx="1094898" cy="1094898"/>
          </a:xfrm>
          <a:prstGeom prst="ellipse">
            <a:avLst/>
          </a:prstGeom>
          <a:solidFill>
            <a:sysClr val="window" lastClr="FFFFFF"/>
          </a:solidFill>
          <a:ln w="19050" cap="flat" cmpd="sng" algn="ctr">
            <a:solidFill>
              <a:schemeClr val="accent3"/>
            </a:solidFill>
            <a:prstDash val="solid"/>
            <a:miter lim="800000"/>
          </a:ln>
          <a:effectLst/>
        </p:spPr>
        <p:txBody>
          <a:bodyPr lIns="68570" tIns="34286" rIns="68570" bIns="34286" rtlCol="0" anchor="ctr"/>
          <a:lstStyle/>
          <a:p>
            <a:pPr algn="ctr" defTabSz="671830">
              <a:defRPr/>
            </a:pPr>
            <a:endParaRPr lang="en-US" kern="0">
              <a:solidFill>
                <a:sysClr val="windowText" lastClr="000000"/>
              </a:solidFill>
              <a:latin typeface="Calibri"/>
            </a:endParaRPr>
          </a:p>
        </p:txBody>
      </p:sp>
      <p:sp>
        <p:nvSpPr>
          <p:cNvPr id="87" name="Oval 72"/>
          <p:cNvSpPr/>
          <p:nvPr/>
        </p:nvSpPr>
        <p:spPr>
          <a:xfrm>
            <a:off x="6713794" y="1735345"/>
            <a:ext cx="857226" cy="857226"/>
          </a:xfrm>
          <a:prstGeom prst="ellipse">
            <a:avLst/>
          </a:prstGeom>
          <a:solidFill>
            <a:schemeClr val="accent3"/>
          </a:solidFill>
          <a:ln>
            <a:noFill/>
          </a:ln>
        </p:spPr>
        <p:txBody>
          <a:bodyPr wrap="square" lIns="68570" tIns="34286" rIns="68570" bIns="34286" rtlCol="0" anchor="ctr">
            <a:noAutofit/>
          </a:bodyPr>
          <a:lstStyle/>
          <a:p>
            <a:pPr algn="ctr" defTabSz="671830">
              <a:lnSpc>
                <a:spcPct val="110000"/>
              </a:lnSpc>
              <a:defRPr/>
            </a:pPr>
            <a:endParaRPr lang="en-US" sz="1500" kern="0">
              <a:solidFill>
                <a:prstClr val="white"/>
              </a:solidFill>
              <a:latin typeface="Arial" panose="020b0604020202020204" pitchFamily="34" charset="0"/>
              <a:cs typeface="Arial" panose="020b0604020202020204" pitchFamily="34" charset="0"/>
            </a:endParaRPr>
          </a:p>
        </p:txBody>
      </p:sp>
      <p:sp>
        <p:nvSpPr>
          <p:cNvPr id="88" name="Freeform 16"/>
          <p:cNvSpPr>
            <a:spLocks noEditPoints="1"/>
          </p:cNvSpPr>
          <p:nvPr/>
        </p:nvSpPr>
        <p:spPr bwMode="auto">
          <a:xfrm>
            <a:off x="6934266" y="1954624"/>
            <a:ext cx="416285" cy="413199"/>
          </a:xfrm>
          <a:custGeom>
            <a:gdLst>
              <a:gd name="T0" fmla="*/ 343 w 343"/>
              <a:gd name="T1" fmla="*/ 176 h 340"/>
              <a:gd name="T2" fmla="*/ 286 w 343"/>
              <a:gd name="T3" fmla="*/ 176 h 340"/>
              <a:gd name="T4" fmla="*/ 236 w 343"/>
              <a:gd name="T5" fmla="*/ 213 h 340"/>
              <a:gd name="T6" fmla="*/ 188 w 343"/>
              <a:gd name="T7" fmla="*/ 226 h 340"/>
              <a:gd name="T8" fmla="*/ 110 w 343"/>
              <a:gd name="T9" fmla="*/ 205 h 340"/>
              <a:gd name="T10" fmla="*/ 83 w 343"/>
              <a:gd name="T11" fmla="*/ 241 h 340"/>
              <a:gd name="T12" fmla="*/ 15 w 343"/>
              <a:gd name="T13" fmla="*/ 172 h 340"/>
              <a:gd name="T14" fmla="*/ 122 w 343"/>
              <a:gd name="T15" fmla="*/ 128 h 340"/>
              <a:gd name="T16" fmla="*/ 202 w 343"/>
              <a:gd name="T17" fmla="*/ 133 h 340"/>
              <a:gd name="T18" fmla="*/ 230 w 343"/>
              <a:gd name="T19" fmla="*/ 162 h 340"/>
              <a:gd name="T20" fmla="*/ 253 w 343"/>
              <a:gd name="T21" fmla="*/ 116 h 340"/>
              <a:gd name="T22" fmla="*/ 314 w 343"/>
              <a:gd name="T23" fmla="*/ 57 h 340"/>
              <a:gd name="T24" fmla="*/ 314 w 343"/>
              <a:gd name="T25" fmla="*/ 0 h 340"/>
              <a:gd name="T26" fmla="*/ 290 w 343"/>
              <a:gd name="T27" fmla="*/ 45 h 340"/>
              <a:gd name="T28" fmla="*/ 230 w 343"/>
              <a:gd name="T29" fmla="*/ 105 h 340"/>
              <a:gd name="T30" fmla="*/ 150 w 343"/>
              <a:gd name="T31" fmla="*/ 101 h 340"/>
              <a:gd name="T32" fmla="*/ 122 w 343"/>
              <a:gd name="T33" fmla="*/ 71 h 340"/>
              <a:gd name="T34" fmla="*/ 94 w 343"/>
              <a:gd name="T35" fmla="*/ 107 h 340"/>
              <a:gd name="T36" fmla="*/ 15 w 343"/>
              <a:gd name="T37" fmla="*/ 12 h 340"/>
              <a:gd name="T38" fmla="*/ 0 w 343"/>
              <a:gd name="T39" fmla="*/ 12 h 340"/>
              <a:gd name="T40" fmla="*/ 2 w 343"/>
              <a:gd name="T41" fmla="*/ 338 h 340"/>
              <a:gd name="T42" fmla="*/ 328 w 343"/>
              <a:gd name="T43" fmla="*/ 340 h 340"/>
              <a:gd name="T44" fmla="*/ 328 w 343"/>
              <a:gd name="T45" fmla="*/ 326 h 340"/>
              <a:gd name="T46" fmla="*/ 15 w 343"/>
              <a:gd name="T47" fmla="*/ 326 h 340"/>
              <a:gd name="T48" fmla="*/ 91 w 343"/>
              <a:gd name="T49" fmla="*/ 254 h 340"/>
              <a:gd name="T50" fmla="*/ 138 w 343"/>
              <a:gd name="T51" fmla="*/ 240 h 340"/>
              <a:gd name="T52" fmla="*/ 216 w 343"/>
              <a:gd name="T53" fmla="*/ 262 h 340"/>
              <a:gd name="T54" fmla="*/ 243 w 343"/>
              <a:gd name="T55" fmla="*/ 225 h 340"/>
              <a:gd name="T56" fmla="*/ 314 w 343"/>
              <a:gd name="T57" fmla="*/ 205 h 340"/>
              <a:gd name="T58" fmla="*/ 328 w 343"/>
              <a:gd name="T59" fmla="*/ 29 h 340"/>
              <a:gd name="T60" fmla="*/ 300 w 343"/>
              <a:gd name="T61" fmla="*/ 29 h 340"/>
              <a:gd name="T62" fmla="*/ 230 w 343"/>
              <a:gd name="T63" fmla="*/ 119 h 340"/>
              <a:gd name="T64" fmla="*/ 230 w 343"/>
              <a:gd name="T65" fmla="*/ 148 h 340"/>
              <a:gd name="T66" fmla="*/ 230 w 343"/>
              <a:gd name="T67" fmla="*/ 119 h 340"/>
              <a:gd name="T68" fmla="*/ 136 w 343"/>
              <a:gd name="T69" fmla="*/ 99 h 340"/>
              <a:gd name="T70" fmla="*/ 107 w 343"/>
              <a:gd name="T71" fmla="*/ 99 h 340"/>
              <a:gd name="T72" fmla="*/ 110 w 343"/>
              <a:gd name="T73" fmla="*/ 247 h 340"/>
              <a:gd name="T74" fmla="*/ 110 w 343"/>
              <a:gd name="T75" fmla="*/ 219 h 340"/>
              <a:gd name="T76" fmla="*/ 110 w 343"/>
              <a:gd name="T77" fmla="*/ 247 h 340"/>
              <a:gd name="T78" fmla="*/ 202 w 343"/>
              <a:gd name="T79" fmla="*/ 233 h 340"/>
              <a:gd name="T80" fmla="*/ 202 w 343"/>
              <a:gd name="T81" fmla="*/ 233 h 340"/>
              <a:gd name="T82" fmla="*/ 230 w 343"/>
              <a:gd name="T83" fmla="*/ 233 h 340"/>
              <a:gd name="T84" fmla="*/ 314 w 343"/>
              <a:gd name="T85" fmla="*/ 162 h 340"/>
              <a:gd name="T86" fmla="*/ 314 w 343"/>
              <a:gd name="T87" fmla="*/ 190 h 340"/>
              <a:gd name="T88" fmla="*/ 314 w 343"/>
              <a:gd name="T89" fmla="*/ 162 h 34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3" h="340">
                <a:moveTo>
                  <a:pt x="314" y="205"/>
                </a:moveTo>
                <a:cubicBezTo>
                  <a:pt x="330" y="205"/>
                  <a:pt x="343" y="192"/>
                  <a:pt x="343" y="176"/>
                </a:cubicBezTo>
                <a:cubicBezTo>
                  <a:pt x="343" y="160"/>
                  <a:pt x="330" y="148"/>
                  <a:pt x="314" y="148"/>
                </a:cubicBezTo>
                <a:cubicBezTo>
                  <a:pt x="298" y="148"/>
                  <a:pt x="286" y="160"/>
                  <a:pt x="286" y="176"/>
                </a:cubicBezTo>
                <a:cubicBezTo>
                  <a:pt x="286" y="179"/>
                  <a:pt x="286" y="181"/>
                  <a:pt x="287" y="184"/>
                </a:cubicBezTo>
                <a:cubicBezTo>
                  <a:pt x="236" y="213"/>
                  <a:pt x="236" y="213"/>
                  <a:pt x="236" y="213"/>
                </a:cubicBezTo>
                <a:cubicBezTo>
                  <a:pt x="231" y="208"/>
                  <a:pt x="224" y="205"/>
                  <a:pt x="216" y="205"/>
                </a:cubicBezTo>
                <a:cubicBezTo>
                  <a:pt x="203" y="205"/>
                  <a:pt x="192" y="214"/>
                  <a:pt x="188" y="226"/>
                </a:cubicBezTo>
                <a:cubicBezTo>
                  <a:pt x="138" y="226"/>
                  <a:pt x="138" y="226"/>
                  <a:pt x="138" y="226"/>
                </a:cubicBezTo>
                <a:cubicBezTo>
                  <a:pt x="135" y="214"/>
                  <a:pt x="124" y="205"/>
                  <a:pt x="110" y="205"/>
                </a:cubicBezTo>
                <a:cubicBezTo>
                  <a:pt x="95" y="205"/>
                  <a:pt x="82" y="217"/>
                  <a:pt x="82" y="233"/>
                </a:cubicBezTo>
                <a:cubicBezTo>
                  <a:pt x="82" y="236"/>
                  <a:pt x="82" y="239"/>
                  <a:pt x="83" y="241"/>
                </a:cubicBezTo>
                <a:cubicBezTo>
                  <a:pt x="15" y="286"/>
                  <a:pt x="15" y="286"/>
                  <a:pt x="15" y="286"/>
                </a:cubicBezTo>
                <a:cubicBezTo>
                  <a:pt x="15" y="172"/>
                  <a:pt x="15" y="172"/>
                  <a:pt x="15" y="172"/>
                </a:cubicBezTo>
                <a:cubicBezTo>
                  <a:pt x="102" y="120"/>
                  <a:pt x="102" y="120"/>
                  <a:pt x="102" y="120"/>
                </a:cubicBezTo>
                <a:cubicBezTo>
                  <a:pt x="107" y="125"/>
                  <a:pt x="114" y="128"/>
                  <a:pt x="122" y="128"/>
                </a:cubicBezTo>
                <a:cubicBezTo>
                  <a:pt x="132" y="128"/>
                  <a:pt x="141" y="122"/>
                  <a:pt x="146" y="115"/>
                </a:cubicBezTo>
                <a:cubicBezTo>
                  <a:pt x="202" y="133"/>
                  <a:pt x="202" y="133"/>
                  <a:pt x="202" y="133"/>
                </a:cubicBezTo>
                <a:cubicBezTo>
                  <a:pt x="202" y="133"/>
                  <a:pt x="202" y="133"/>
                  <a:pt x="202" y="133"/>
                </a:cubicBezTo>
                <a:cubicBezTo>
                  <a:pt x="202" y="149"/>
                  <a:pt x="215" y="162"/>
                  <a:pt x="230" y="162"/>
                </a:cubicBezTo>
                <a:cubicBezTo>
                  <a:pt x="246" y="162"/>
                  <a:pt x="259" y="149"/>
                  <a:pt x="259" y="133"/>
                </a:cubicBezTo>
                <a:cubicBezTo>
                  <a:pt x="259" y="127"/>
                  <a:pt x="257" y="121"/>
                  <a:pt x="253" y="116"/>
                </a:cubicBezTo>
                <a:cubicBezTo>
                  <a:pt x="301" y="54"/>
                  <a:pt x="301" y="54"/>
                  <a:pt x="301" y="54"/>
                </a:cubicBezTo>
                <a:cubicBezTo>
                  <a:pt x="305" y="56"/>
                  <a:pt x="309" y="57"/>
                  <a:pt x="314" y="57"/>
                </a:cubicBezTo>
                <a:cubicBezTo>
                  <a:pt x="330" y="57"/>
                  <a:pt x="343" y="45"/>
                  <a:pt x="343" y="29"/>
                </a:cubicBezTo>
                <a:cubicBezTo>
                  <a:pt x="343" y="13"/>
                  <a:pt x="330" y="0"/>
                  <a:pt x="314" y="0"/>
                </a:cubicBezTo>
                <a:cubicBezTo>
                  <a:pt x="298" y="0"/>
                  <a:pt x="286" y="13"/>
                  <a:pt x="286" y="29"/>
                </a:cubicBezTo>
                <a:cubicBezTo>
                  <a:pt x="286" y="35"/>
                  <a:pt x="287" y="40"/>
                  <a:pt x="290" y="45"/>
                </a:cubicBezTo>
                <a:cubicBezTo>
                  <a:pt x="242" y="107"/>
                  <a:pt x="242" y="107"/>
                  <a:pt x="242" y="107"/>
                </a:cubicBezTo>
                <a:cubicBezTo>
                  <a:pt x="238" y="106"/>
                  <a:pt x="234" y="105"/>
                  <a:pt x="230" y="105"/>
                </a:cubicBezTo>
                <a:cubicBezTo>
                  <a:pt x="220" y="105"/>
                  <a:pt x="211" y="110"/>
                  <a:pt x="206" y="119"/>
                </a:cubicBezTo>
                <a:cubicBezTo>
                  <a:pt x="150" y="101"/>
                  <a:pt x="150" y="101"/>
                  <a:pt x="150" y="101"/>
                </a:cubicBezTo>
                <a:cubicBezTo>
                  <a:pt x="150" y="100"/>
                  <a:pt x="150" y="100"/>
                  <a:pt x="150" y="99"/>
                </a:cubicBezTo>
                <a:cubicBezTo>
                  <a:pt x="150" y="84"/>
                  <a:pt x="137" y="71"/>
                  <a:pt x="122" y="71"/>
                </a:cubicBezTo>
                <a:cubicBezTo>
                  <a:pt x="106" y="71"/>
                  <a:pt x="93" y="84"/>
                  <a:pt x="93" y="99"/>
                </a:cubicBezTo>
                <a:cubicBezTo>
                  <a:pt x="93" y="102"/>
                  <a:pt x="93" y="105"/>
                  <a:pt x="94" y="107"/>
                </a:cubicBezTo>
                <a:cubicBezTo>
                  <a:pt x="15" y="156"/>
                  <a:pt x="15" y="156"/>
                  <a:pt x="15" y="156"/>
                </a:cubicBezTo>
                <a:cubicBezTo>
                  <a:pt x="15" y="12"/>
                  <a:pt x="15" y="12"/>
                  <a:pt x="15" y="12"/>
                </a:cubicBezTo>
                <a:cubicBezTo>
                  <a:pt x="15" y="8"/>
                  <a:pt x="11" y="5"/>
                  <a:pt x="7" y="5"/>
                </a:cubicBezTo>
                <a:cubicBezTo>
                  <a:pt x="4" y="5"/>
                  <a:pt x="0" y="8"/>
                  <a:pt x="0" y="12"/>
                </a:cubicBezTo>
                <a:cubicBezTo>
                  <a:pt x="0" y="333"/>
                  <a:pt x="0" y="333"/>
                  <a:pt x="0" y="333"/>
                </a:cubicBezTo>
                <a:cubicBezTo>
                  <a:pt x="0" y="335"/>
                  <a:pt x="1" y="337"/>
                  <a:pt x="2" y="338"/>
                </a:cubicBezTo>
                <a:cubicBezTo>
                  <a:pt x="4" y="339"/>
                  <a:pt x="6" y="340"/>
                  <a:pt x="7" y="340"/>
                </a:cubicBezTo>
                <a:cubicBezTo>
                  <a:pt x="328" y="340"/>
                  <a:pt x="328" y="340"/>
                  <a:pt x="328" y="340"/>
                </a:cubicBezTo>
                <a:cubicBezTo>
                  <a:pt x="332" y="340"/>
                  <a:pt x="335" y="337"/>
                  <a:pt x="335" y="333"/>
                </a:cubicBezTo>
                <a:cubicBezTo>
                  <a:pt x="335" y="329"/>
                  <a:pt x="332" y="326"/>
                  <a:pt x="328" y="326"/>
                </a:cubicBezTo>
                <a:cubicBezTo>
                  <a:pt x="328" y="326"/>
                  <a:pt x="328" y="326"/>
                  <a:pt x="328" y="326"/>
                </a:cubicBezTo>
                <a:cubicBezTo>
                  <a:pt x="15" y="326"/>
                  <a:pt x="15" y="326"/>
                  <a:pt x="15" y="326"/>
                </a:cubicBezTo>
                <a:cubicBezTo>
                  <a:pt x="15" y="303"/>
                  <a:pt x="15" y="303"/>
                  <a:pt x="15" y="303"/>
                </a:cubicBezTo>
                <a:cubicBezTo>
                  <a:pt x="91" y="254"/>
                  <a:pt x="91" y="254"/>
                  <a:pt x="91" y="254"/>
                </a:cubicBezTo>
                <a:cubicBezTo>
                  <a:pt x="96" y="259"/>
                  <a:pt x="103" y="262"/>
                  <a:pt x="110" y="262"/>
                </a:cubicBezTo>
                <a:cubicBezTo>
                  <a:pt x="124" y="262"/>
                  <a:pt x="135" y="252"/>
                  <a:pt x="138" y="240"/>
                </a:cubicBezTo>
                <a:cubicBezTo>
                  <a:pt x="188" y="240"/>
                  <a:pt x="188" y="240"/>
                  <a:pt x="188" y="240"/>
                </a:cubicBezTo>
                <a:cubicBezTo>
                  <a:pt x="192" y="252"/>
                  <a:pt x="203" y="262"/>
                  <a:pt x="216" y="262"/>
                </a:cubicBezTo>
                <a:cubicBezTo>
                  <a:pt x="232" y="262"/>
                  <a:pt x="245" y="249"/>
                  <a:pt x="245" y="233"/>
                </a:cubicBezTo>
                <a:cubicBezTo>
                  <a:pt x="245" y="230"/>
                  <a:pt x="244" y="228"/>
                  <a:pt x="243" y="225"/>
                </a:cubicBezTo>
                <a:cubicBezTo>
                  <a:pt x="294" y="196"/>
                  <a:pt x="294" y="196"/>
                  <a:pt x="294" y="196"/>
                </a:cubicBezTo>
                <a:cubicBezTo>
                  <a:pt x="299" y="201"/>
                  <a:pt x="306" y="205"/>
                  <a:pt x="314" y="205"/>
                </a:cubicBezTo>
                <a:close/>
                <a:moveTo>
                  <a:pt x="314" y="15"/>
                </a:moveTo>
                <a:cubicBezTo>
                  <a:pt x="322" y="15"/>
                  <a:pt x="328" y="21"/>
                  <a:pt x="328" y="29"/>
                </a:cubicBezTo>
                <a:cubicBezTo>
                  <a:pt x="328" y="37"/>
                  <a:pt x="322" y="43"/>
                  <a:pt x="314" y="43"/>
                </a:cubicBezTo>
                <a:cubicBezTo>
                  <a:pt x="306" y="43"/>
                  <a:pt x="300" y="37"/>
                  <a:pt x="300" y="29"/>
                </a:cubicBezTo>
                <a:cubicBezTo>
                  <a:pt x="300" y="21"/>
                  <a:pt x="306" y="15"/>
                  <a:pt x="314" y="15"/>
                </a:cubicBezTo>
                <a:close/>
                <a:moveTo>
                  <a:pt x="230" y="119"/>
                </a:moveTo>
                <a:cubicBezTo>
                  <a:pt x="238" y="119"/>
                  <a:pt x="245" y="125"/>
                  <a:pt x="245" y="133"/>
                </a:cubicBezTo>
                <a:cubicBezTo>
                  <a:pt x="245" y="141"/>
                  <a:pt x="238" y="147"/>
                  <a:pt x="230" y="148"/>
                </a:cubicBezTo>
                <a:cubicBezTo>
                  <a:pt x="222" y="147"/>
                  <a:pt x="216" y="141"/>
                  <a:pt x="216" y="133"/>
                </a:cubicBezTo>
                <a:cubicBezTo>
                  <a:pt x="216" y="125"/>
                  <a:pt x="222" y="119"/>
                  <a:pt x="230" y="119"/>
                </a:cubicBezTo>
                <a:close/>
                <a:moveTo>
                  <a:pt x="122" y="85"/>
                </a:moveTo>
                <a:cubicBezTo>
                  <a:pt x="129" y="85"/>
                  <a:pt x="136" y="91"/>
                  <a:pt x="136" y="99"/>
                </a:cubicBezTo>
                <a:cubicBezTo>
                  <a:pt x="136" y="107"/>
                  <a:pt x="129" y="114"/>
                  <a:pt x="122" y="114"/>
                </a:cubicBezTo>
                <a:cubicBezTo>
                  <a:pt x="114" y="114"/>
                  <a:pt x="107" y="107"/>
                  <a:pt x="107" y="99"/>
                </a:cubicBezTo>
                <a:cubicBezTo>
                  <a:pt x="107" y="91"/>
                  <a:pt x="114" y="85"/>
                  <a:pt x="122" y="85"/>
                </a:cubicBezTo>
                <a:close/>
                <a:moveTo>
                  <a:pt x="110" y="247"/>
                </a:moveTo>
                <a:cubicBezTo>
                  <a:pt x="103" y="247"/>
                  <a:pt x="96" y="241"/>
                  <a:pt x="96" y="233"/>
                </a:cubicBezTo>
                <a:cubicBezTo>
                  <a:pt x="96" y="225"/>
                  <a:pt x="103" y="219"/>
                  <a:pt x="110" y="219"/>
                </a:cubicBezTo>
                <a:cubicBezTo>
                  <a:pt x="118" y="219"/>
                  <a:pt x="125" y="225"/>
                  <a:pt x="125" y="233"/>
                </a:cubicBezTo>
                <a:cubicBezTo>
                  <a:pt x="125" y="241"/>
                  <a:pt x="118" y="247"/>
                  <a:pt x="110" y="247"/>
                </a:cubicBezTo>
                <a:close/>
                <a:moveTo>
                  <a:pt x="216" y="247"/>
                </a:moveTo>
                <a:cubicBezTo>
                  <a:pt x="208" y="247"/>
                  <a:pt x="202" y="241"/>
                  <a:pt x="202" y="233"/>
                </a:cubicBezTo>
                <a:cubicBezTo>
                  <a:pt x="202" y="233"/>
                  <a:pt x="202" y="233"/>
                  <a:pt x="202" y="233"/>
                </a:cubicBezTo>
                <a:cubicBezTo>
                  <a:pt x="202" y="233"/>
                  <a:pt x="202" y="233"/>
                  <a:pt x="202" y="233"/>
                </a:cubicBezTo>
                <a:cubicBezTo>
                  <a:pt x="202" y="225"/>
                  <a:pt x="208" y="219"/>
                  <a:pt x="216" y="219"/>
                </a:cubicBezTo>
                <a:cubicBezTo>
                  <a:pt x="224" y="219"/>
                  <a:pt x="230" y="225"/>
                  <a:pt x="230" y="233"/>
                </a:cubicBezTo>
                <a:cubicBezTo>
                  <a:pt x="230" y="241"/>
                  <a:pt x="224" y="247"/>
                  <a:pt x="216" y="247"/>
                </a:cubicBezTo>
                <a:close/>
                <a:moveTo>
                  <a:pt x="314" y="162"/>
                </a:moveTo>
                <a:cubicBezTo>
                  <a:pt x="322" y="162"/>
                  <a:pt x="328" y="168"/>
                  <a:pt x="328" y="176"/>
                </a:cubicBezTo>
                <a:cubicBezTo>
                  <a:pt x="328" y="184"/>
                  <a:pt x="322" y="190"/>
                  <a:pt x="314" y="190"/>
                </a:cubicBezTo>
                <a:cubicBezTo>
                  <a:pt x="306" y="190"/>
                  <a:pt x="300" y="184"/>
                  <a:pt x="300" y="176"/>
                </a:cubicBezTo>
                <a:cubicBezTo>
                  <a:pt x="300" y="168"/>
                  <a:pt x="306" y="162"/>
                  <a:pt x="314" y="162"/>
                </a:cubicBezTo>
                <a:close/>
              </a:path>
            </a:pathLst>
          </a:custGeom>
          <a:solidFill>
            <a:sysClr val="window" lastClr="FFFFFF"/>
          </a:solidFill>
          <a:ln>
            <a:noFill/>
          </a:ln>
        </p:spPr>
        <p:txBody>
          <a:bodyPr vert="horz" wrap="square" lIns="68545" tIns="34272" rIns="68545" bIns="34272" numCol="1" anchor="t" anchorCtr="0" compatLnSpc="1"/>
          <a:lstStyle/>
          <a:p>
            <a:pPr defTabSz="671830">
              <a:defRPr/>
            </a:pPr>
            <a:endParaRPr lang="en-US" kern="0">
              <a:solidFill>
                <a:sysClr val="windowText" lastClr="000000"/>
              </a:solidFill>
              <a:latin typeface="Calibri"/>
            </a:endParaRPr>
          </a:p>
        </p:txBody>
      </p:sp>
      <p:grpSp>
        <p:nvGrpSpPr>
          <p:cNvPr id="10" name="Group 83"/>
          <p:cNvGrpSpPr/>
          <p:nvPr/>
        </p:nvGrpSpPr>
        <p:grpSpPr>
          <a:xfrm>
            <a:off x="6157480" y="2711406"/>
            <a:ext cx="1969855" cy="235545"/>
            <a:chOff x="1296364" y="4396717"/>
            <a:chExt cx="2627453" cy="314179"/>
          </a:xfrm>
        </p:grpSpPr>
        <p:cxnSp>
          <p:nvCxnSpPr>
            <p:cNvPr id="90" name="Straight Connector 84"/>
            <p:cNvCxnSpPr/>
            <p:nvPr/>
          </p:nvCxnSpPr>
          <p:spPr>
            <a:xfrm flipH="1">
              <a:off x="2610090" y="4396717"/>
              <a:ext cx="1" cy="314179"/>
            </a:xfrm>
            <a:prstGeom prst="line">
              <a:avLst/>
            </a:prstGeom>
            <a:noFill/>
            <a:ln w="19050" cap="flat" cmpd="sng" algn="ctr">
              <a:solidFill>
                <a:schemeClr val="accent3"/>
              </a:solidFill>
              <a:prstDash val="solid"/>
              <a:miter lim="800000"/>
            </a:ln>
            <a:effectLst/>
          </p:spPr>
        </p:cxnSp>
        <p:cxnSp>
          <p:nvCxnSpPr>
            <p:cNvPr id="91" name="Straight Connector 85"/>
            <p:cNvCxnSpPr/>
            <p:nvPr/>
          </p:nvCxnSpPr>
          <p:spPr>
            <a:xfrm>
              <a:off x="1296364" y="4710896"/>
              <a:ext cx="2627453" cy="0"/>
            </a:xfrm>
            <a:prstGeom prst="line">
              <a:avLst/>
            </a:prstGeom>
            <a:noFill/>
            <a:ln w="19050" cap="flat" cmpd="sng" algn="ctr">
              <a:solidFill>
                <a:schemeClr val="accent3"/>
              </a:solidFill>
              <a:prstDash val="solid"/>
              <a:miter lim="800000"/>
            </a:ln>
            <a:effectLst/>
          </p:spPr>
        </p:cxnSp>
      </p:grpSp>
      <p:cxnSp>
        <p:nvCxnSpPr>
          <p:cNvPr id="92" name="Straight Connector 104"/>
          <p:cNvCxnSpPr/>
          <p:nvPr/>
        </p:nvCxnSpPr>
        <p:spPr>
          <a:xfrm>
            <a:off x="6157480" y="3857069"/>
            <a:ext cx="1969855" cy="0"/>
          </a:xfrm>
          <a:prstGeom prst="line">
            <a:avLst/>
          </a:prstGeom>
          <a:noFill/>
          <a:ln w="19050" cap="flat" cmpd="sng" algn="ctr">
            <a:solidFill>
              <a:schemeClr val="accent3"/>
            </a:solidFill>
            <a:prstDash val="solid"/>
            <a:miter lim="800000"/>
          </a:ln>
          <a:effectLst/>
        </p:spPr>
      </p:cxnSp>
      <p:sp>
        <p:nvSpPr>
          <p:cNvPr id="93" name="文本框 40"/>
          <p:cNvSpPr txBox="1"/>
          <p:nvPr/>
        </p:nvSpPr>
        <p:spPr>
          <a:xfrm>
            <a:off x="1019666" y="3233071"/>
            <a:ext cx="1969854" cy="377018"/>
          </a:xfrm>
          <a:prstGeom prst="rect">
            <a:avLst/>
          </a:prstGeom>
          <a:noFill/>
          <a:ln w="9525">
            <a:noFill/>
          </a:ln>
        </p:spPr>
        <p:txBody>
          <a:bodyPr wrap="square" lIns="68570" tIns="34286" rIns="68570" bIns="34286">
            <a:spAutoFit/>
          </a:bodyPr>
          <a:lstStyle/>
          <a:p>
            <a:pPr defTabSz="913765">
              <a:spcBef>
                <a:spcPct val="20000"/>
              </a:spcBef>
              <a:defRPr/>
            </a:pPr>
            <a:r>
              <a:rPr lang="zh-CN" altLang="en-US" sz="1000">
                <a:solidFill>
                  <a:schemeClr val="bg1">
                    <a:lumMod val="50000"/>
                  </a:schemeClr>
                </a:solidFill>
                <a:latin typeface="微软雅黑" panose="020b0503020204020204" pitchFamily="34" charset="-122"/>
                <a:ea typeface="微软雅黑" panose="020b0503020204020204" pitchFamily="34" charset="-122"/>
              </a:rPr>
              <a:t>单击此处可编辑内容单击此处可编辑内容单击此处可编辑内容</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
        <p:nvSpPr>
          <p:cNvPr id="94" name="文本框 40"/>
          <p:cNvSpPr txBox="1"/>
          <p:nvPr/>
        </p:nvSpPr>
        <p:spPr>
          <a:xfrm>
            <a:off x="3578712" y="3233071"/>
            <a:ext cx="1969854" cy="377018"/>
          </a:xfrm>
          <a:prstGeom prst="rect">
            <a:avLst/>
          </a:prstGeom>
          <a:noFill/>
          <a:ln w="9525">
            <a:noFill/>
          </a:ln>
        </p:spPr>
        <p:txBody>
          <a:bodyPr wrap="square" lIns="68570" tIns="34286" rIns="68570" bIns="34286">
            <a:spAutoFit/>
          </a:bodyPr>
          <a:lstStyle/>
          <a:p>
            <a:pPr defTabSz="913765">
              <a:spcBef>
                <a:spcPct val="20000"/>
              </a:spcBef>
              <a:defRPr/>
            </a:pPr>
            <a:r>
              <a:rPr lang="zh-CN" altLang="en-US" sz="1000">
                <a:solidFill>
                  <a:schemeClr val="bg1">
                    <a:lumMod val="50000"/>
                  </a:schemeClr>
                </a:solidFill>
                <a:latin typeface="微软雅黑" panose="020b0503020204020204" pitchFamily="34" charset="-122"/>
                <a:ea typeface="微软雅黑" panose="020b0503020204020204" pitchFamily="34" charset="-122"/>
              </a:rPr>
              <a:t>单击此处可编辑内容单击此处可编辑内容单击此处可编辑内容</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
        <p:nvSpPr>
          <p:cNvPr id="95" name="文本框 40"/>
          <p:cNvSpPr txBox="1"/>
          <p:nvPr/>
        </p:nvSpPr>
        <p:spPr>
          <a:xfrm>
            <a:off x="6158253" y="3233071"/>
            <a:ext cx="1969854" cy="377018"/>
          </a:xfrm>
          <a:prstGeom prst="rect">
            <a:avLst/>
          </a:prstGeom>
          <a:noFill/>
          <a:ln w="9525">
            <a:noFill/>
          </a:ln>
        </p:spPr>
        <p:txBody>
          <a:bodyPr wrap="square" lIns="68570" tIns="34286" rIns="68570" bIns="34286">
            <a:spAutoFit/>
          </a:bodyPr>
          <a:lstStyle/>
          <a:p>
            <a:pPr defTabSz="913765">
              <a:spcBef>
                <a:spcPct val="20000"/>
              </a:spcBef>
              <a:defRPr/>
            </a:pPr>
            <a:r>
              <a:rPr lang="zh-CN" altLang="en-US" sz="1000">
                <a:solidFill>
                  <a:schemeClr val="bg1">
                    <a:lumMod val="50000"/>
                  </a:schemeClr>
                </a:solidFill>
                <a:latin typeface="微软雅黑" panose="020b0503020204020204" pitchFamily="34" charset="-122"/>
                <a:ea typeface="微软雅黑" panose="020b0503020204020204" pitchFamily="34" charset="-122"/>
              </a:rPr>
              <a:t>单击此处可编辑内容单击此处可编辑内容单击此处可编辑内容</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nodeType="afterGroup">
                            <p:stCondLst>
                              <p:cond delay="500"/>
                            </p:stCondLst>
                            <p:childTnLst>
                              <p:par>
                                <p:cTn id="11" presetID="53" presetClass="entr" presetSubtype="16"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childTnLst>
                                </p:cTn>
                              </p:par>
                            </p:childTnLst>
                          </p:cTn>
                        </p:par>
                        <p:par>
                          <p:cTn id="16" fill="hold" nodeType="afterGroup">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86"/>
                                        </p:tgtEl>
                                        <p:attrNameLst>
                                          <p:attrName>style.visibility</p:attrName>
                                        </p:attrNameLst>
                                      </p:cBhvr>
                                      <p:to>
                                        <p:strVal val="visible"/>
                                      </p:to>
                                    </p:set>
                                    <p:anim calcmode="lin" valueType="num">
                                      <p:cBhvr>
                                        <p:cTn id="19" dur="500" fill="hold"/>
                                        <p:tgtEl>
                                          <p:spTgt spid="86"/>
                                        </p:tgtEl>
                                        <p:attrNameLst>
                                          <p:attrName>ppt_w</p:attrName>
                                        </p:attrNameLst>
                                      </p:cBhvr>
                                      <p:tavLst>
                                        <p:tav tm="0">
                                          <p:val>
                                            <p:fltVal val="0"/>
                                          </p:val>
                                        </p:tav>
                                        <p:tav tm="100000">
                                          <p:val>
                                            <p:strVal val="#ppt_w"/>
                                          </p:val>
                                        </p:tav>
                                      </p:tavLst>
                                    </p:anim>
                                    <p:anim calcmode="lin" valueType="num">
                                      <p:cBhvr>
                                        <p:cTn id="20" dur="500" fill="hold"/>
                                        <p:tgtEl>
                                          <p:spTgt spid="86"/>
                                        </p:tgtEl>
                                        <p:attrNameLst>
                                          <p:attrName>ppt_h</p:attrName>
                                        </p:attrNameLst>
                                      </p:cBhvr>
                                      <p:tavLst>
                                        <p:tav tm="0">
                                          <p:val>
                                            <p:fltVal val="0"/>
                                          </p:val>
                                        </p:tav>
                                        <p:tav tm="100000">
                                          <p:val>
                                            <p:strVal val="#ppt_h"/>
                                          </p:val>
                                        </p:tav>
                                      </p:tavLst>
                                    </p:anim>
                                    <p:animEffect transition="in" filter="fade">
                                      <p:cBhvr>
                                        <p:cTn id="21" dur="500"/>
                                        <p:tgtEl>
                                          <p:spTgt spid="86"/>
                                        </p:tgtEl>
                                      </p:cBhvr>
                                    </p:animEffect>
                                  </p:childTnLst>
                                </p:cTn>
                              </p:par>
                            </p:childTnLst>
                          </p:cTn>
                        </p:par>
                        <p:par>
                          <p:cTn id="22" fill="hold" nodeType="afterGroup">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87"/>
                                        </p:tgtEl>
                                        <p:attrNameLst>
                                          <p:attrName>style.visibility</p:attrName>
                                        </p:attrNameLst>
                                      </p:cBhvr>
                                      <p:to>
                                        <p:strVal val="visible"/>
                                      </p:to>
                                    </p:set>
                                    <p:anim calcmode="lin" valueType="num">
                                      <p:cBhvr>
                                        <p:cTn id="25" dur="500" fill="hold"/>
                                        <p:tgtEl>
                                          <p:spTgt spid="87"/>
                                        </p:tgtEl>
                                        <p:attrNameLst>
                                          <p:attrName>ppt_w</p:attrName>
                                        </p:attrNameLst>
                                      </p:cBhvr>
                                      <p:tavLst>
                                        <p:tav tm="0">
                                          <p:val>
                                            <p:fltVal val="0"/>
                                          </p:val>
                                        </p:tav>
                                        <p:tav tm="100000">
                                          <p:val>
                                            <p:strVal val="#ppt_w"/>
                                          </p:val>
                                        </p:tav>
                                      </p:tavLst>
                                    </p:anim>
                                    <p:anim calcmode="lin" valueType="num">
                                      <p:cBhvr>
                                        <p:cTn id="26" dur="500" fill="hold"/>
                                        <p:tgtEl>
                                          <p:spTgt spid="87"/>
                                        </p:tgtEl>
                                        <p:attrNameLst>
                                          <p:attrName>ppt_h</p:attrName>
                                        </p:attrNameLst>
                                      </p:cBhvr>
                                      <p:tavLst>
                                        <p:tav tm="0">
                                          <p:val>
                                            <p:fltVal val="0"/>
                                          </p:val>
                                        </p:tav>
                                        <p:tav tm="100000">
                                          <p:val>
                                            <p:strVal val="#ppt_h"/>
                                          </p:val>
                                        </p:tav>
                                      </p:tavLst>
                                    </p:anim>
                                    <p:animEffect transition="in" filter="fade">
                                      <p:cBhvr>
                                        <p:cTn id="27" dur="500"/>
                                        <p:tgtEl>
                                          <p:spTgt spid="87"/>
                                        </p:tgtEl>
                                      </p:cBhvr>
                                    </p:animEffect>
                                  </p:childTnLst>
                                </p:cTn>
                              </p:par>
                            </p:childTnLst>
                          </p:cTn>
                        </p:par>
                        <p:par>
                          <p:cTn id="28" fill="hold" nodeType="afterGroup">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88"/>
                                        </p:tgtEl>
                                        <p:attrNameLst>
                                          <p:attrName>style.visibility</p:attrName>
                                        </p:attrNameLst>
                                      </p:cBhvr>
                                      <p:to>
                                        <p:strVal val="visible"/>
                                      </p:to>
                                    </p:set>
                                    <p:anim calcmode="lin" valueType="num">
                                      <p:cBhvr>
                                        <p:cTn id="31" dur="500" fill="hold"/>
                                        <p:tgtEl>
                                          <p:spTgt spid="88"/>
                                        </p:tgtEl>
                                        <p:attrNameLst>
                                          <p:attrName>ppt_w</p:attrName>
                                        </p:attrNameLst>
                                      </p:cBhvr>
                                      <p:tavLst>
                                        <p:tav tm="0">
                                          <p:val>
                                            <p:fltVal val="0"/>
                                          </p:val>
                                        </p:tav>
                                        <p:tav tm="100000">
                                          <p:val>
                                            <p:strVal val="#ppt_w"/>
                                          </p:val>
                                        </p:tav>
                                      </p:tavLst>
                                    </p:anim>
                                    <p:anim calcmode="lin" valueType="num">
                                      <p:cBhvr>
                                        <p:cTn id="32" dur="500" fill="hold"/>
                                        <p:tgtEl>
                                          <p:spTgt spid="88"/>
                                        </p:tgtEl>
                                        <p:attrNameLst>
                                          <p:attrName>ppt_h</p:attrName>
                                        </p:attrNameLst>
                                      </p:cBhvr>
                                      <p:tavLst>
                                        <p:tav tm="0">
                                          <p:val>
                                            <p:fltVal val="0"/>
                                          </p:val>
                                        </p:tav>
                                        <p:tav tm="100000">
                                          <p:val>
                                            <p:strVal val="#ppt_h"/>
                                          </p:val>
                                        </p:tav>
                                      </p:tavLst>
                                    </p:anim>
                                    <p:animEffect transition="in" filter="fade">
                                      <p:cBhvr>
                                        <p:cTn id="33" dur="500"/>
                                        <p:tgtEl>
                                          <p:spTgt spid="88"/>
                                        </p:tgtEl>
                                      </p:cBhvr>
                                    </p:animEffect>
                                  </p:childTnLst>
                                </p:cTn>
                              </p:par>
                            </p:childTnLst>
                          </p:cTn>
                        </p:par>
                        <p:par>
                          <p:cTn id="34" fill="hold" nodeType="afterGroup">
                            <p:stCondLst>
                              <p:cond delay="2500"/>
                            </p:stCondLst>
                            <p:childTnLst>
                              <p:par>
                                <p:cTn id="35" presetID="42" presetClass="entr" presetSubtype="0" fill="hold"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1000"/>
                                        <p:tgtEl>
                                          <p:spTgt spid="10"/>
                                        </p:tgtEl>
                                      </p:cBhvr>
                                    </p:animEffect>
                                    <p:anim calcmode="lin" valueType="num">
                                      <p:cBhvr>
                                        <p:cTn id="38" dur="1000" fill="hold"/>
                                        <p:tgtEl>
                                          <p:spTgt spid="10"/>
                                        </p:tgtEl>
                                        <p:attrNameLst>
                                          <p:attrName>ppt_x</p:attrName>
                                        </p:attrNameLst>
                                      </p:cBhvr>
                                      <p:tavLst>
                                        <p:tav tm="0">
                                          <p:val>
                                            <p:strVal val="#ppt_x"/>
                                          </p:val>
                                        </p:tav>
                                        <p:tav tm="100000">
                                          <p:val>
                                            <p:strVal val="#ppt_x"/>
                                          </p:val>
                                        </p:tav>
                                      </p:tavLst>
                                    </p:anim>
                                    <p:anim calcmode="lin" valueType="num">
                                      <p:cBhvr>
                                        <p:cTn id="39" dur="1000" fill="hold"/>
                                        <p:tgtEl>
                                          <p:spTgt spid="10"/>
                                        </p:tgtEl>
                                        <p:attrNameLst>
                                          <p:attrName>ppt_y</p:attrName>
                                        </p:attrNameLst>
                                      </p:cBhvr>
                                      <p:tavLst>
                                        <p:tav tm="0">
                                          <p:val>
                                            <p:strVal val="#ppt_y+.1"/>
                                          </p:val>
                                        </p:tav>
                                        <p:tav tm="100000">
                                          <p:val>
                                            <p:strVal val="#ppt_y"/>
                                          </p:val>
                                        </p:tav>
                                      </p:tavLst>
                                    </p:anim>
                                  </p:childTnLst>
                                </p:cTn>
                              </p:par>
                            </p:childTnLst>
                          </p:cTn>
                        </p:par>
                        <p:par>
                          <p:cTn id="40" fill="hold" nodeType="afterGroup">
                            <p:stCondLst>
                              <p:cond delay="3500"/>
                            </p:stCondLst>
                            <p:childTnLst>
                              <p:par>
                                <p:cTn id="41" presetID="42" presetClass="entr" presetSubtype="0" fill="hold" nodeType="after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fade">
                                      <p:cBhvr>
                                        <p:cTn id="43" dur="1000"/>
                                        <p:tgtEl>
                                          <p:spTgt spid="9"/>
                                        </p:tgtEl>
                                      </p:cBhvr>
                                    </p:animEffect>
                                    <p:anim calcmode="lin" valueType="num">
                                      <p:cBhvr>
                                        <p:cTn id="44" dur="1000" fill="hold"/>
                                        <p:tgtEl>
                                          <p:spTgt spid="9"/>
                                        </p:tgtEl>
                                        <p:attrNameLst>
                                          <p:attrName>ppt_x</p:attrName>
                                        </p:attrNameLst>
                                      </p:cBhvr>
                                      <p:tavLst>
                                        <p:tav tm="0">
                                          <p:val>
                                            <p:strVal val="#ppt_x"/>
                                          </p:val>
                                        </p:tav>
                                        <p:tav tm="100000">
                                          <p:val>
                                            <p:strVal val="#ppt_x"/>
                                          </p:val>
                                        </p:tav>
                                      </p:tavLst>
                                    </p:anim>
                                    <p:anim calcmode="lin" valueType="num">
                                      <p:cBhvr>
                                        <p:cTn id="45" dur="1000" fill="hold"/>
                                        <p:tgtEl>
                                          <p:spTgt spid="9"/>
                                        </p:tgtEl>
                                        <p:attrNameLst>
                                          <p:attrName>ppt_y</p:attrName>
                                        </p:attrNameLst>
                                      </p:cBhvr>
                                      <p:tavLst>
                                        <p:tav tm="0">
                                          <p:val>
                                            <p:strVal val="#ppt_y+.1"/>
                                          </p:val>
                                        </p:tav>
                                        <p:tav tm="100000">
                                          <p:val>
                                            <p:strVal val="#ppt_y"/>
                                          </p:val>
                                        </p:tav>
                                      </p:tavLst>
                                    </p:anim>
                                  </p:childTnLst>
                                </p:cTn>
                              </p:par>
                            </p:childTnLst>
                          </p:cTn>
                        </p:par>
                        <p:par>
                          <p:cTn id="46" fill="hold" nodeType="afterGroup">
                            <p:stCondLst>
                              <p:cond delay="4500"/>
                            </p:stCondLst>
                            <p:childTnLst>
                              <p:par>
                                <p:cTn id="47" presetID="42" presetClass="entr" presetSubtype="0" fill="hold" nodeType="after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1000"/>
                                        <p:tgtEl>
                                          <p:spTgt spid="5"/>
                                        </p:tgtEl>
                                      </p:cBhvr>
                                    </p:animEffect>
                                    <p:anim calcmode="lin" valueType="num">
                                      <p:cBhvr>
                                        <p:cTn id="50" dur="1000" fill="hold"/>
                                        <p:tgtEl>
                                          <p:spTgt spid="5"/>
                                        </p:tgtEl>
                                        <p:attrNameLst>
                                          <p:attrName>ppt_x</p:attrName>
                                        </p:attrNameLst>
                                      </p:cBhvr>
                                      <p:tavLst>
                                        <p:tav tm="0">
                                          <p:val>
                                            <p:strVal val="#ppt_x"/>
                                          </p:val>
                                        </p:tav>
                                        <p:tav tm="100000">
                                          <p:val>
                                            <p:strVal val="#ppt_x"/>
                                          </p:val>
                                        </p:tav>
                                      </p:tavLst>
                                    </p:anim>
                                    <p:anim calcmode="lin" valueType="num">
                                      <p:cBhvr>
                                        <p:cTn id="51" dur="1000" fill="hold"/>
                                        <p:tgtEl>
                                          <p:spTgt spid="5"/>
                                        </p:tgtEl>
                                        <p:attrNameLst>
                                          <p:attrName>ppt_y</p:attrName>
                                        </p:attrNameLst>
                                      </p:cBhvr>
                                      <p:tavLst>
                                        <p:tav tm="0">
                                          <p:val>
                                            <p:strVal val="#ppt_y+.1"/>
                                          </p:val>
                                        </p:tav>
                                        <p:tav tm="100000">
                                          <p:val>
                                            <p:strVal val="#ppt_y"/>
                                          </p:val>
                                        </p:tav>
                                      </p:tavLst>
                                    </p:anim>
                                  </p:childTnLst>
                                </p:cTn>
                              </p:par>
                            </p:childTnLst>
                          </p:cTn>
                        </p:par>
                        <p:par>
                          <p:cTn id="52" fill="hold" nodeType="afterGroup">
                            <p:stCondLst>
                              <p:cond delay="5500"/>
                            </p:stCondLst>
                            <p:childTnLst>
                              <p:par>
                                <p:cTn id="53" presetID="10" presetClass="entr" presetSubtype="0" fill="hold" nodeType="afterEffect">
                                  <p:stCondLst>
                                    <p:cond delay="0"/>
                                  </p:stCondLst>
                                  <p:childTnLst>
                                    <p:set>
                                      <p:cBhvr>
                                        <p:cTn id="54" dur="1" fill="hold">
                                          <p:stCondLst>
                                            <p:cond delay="0"/>
                                          </p:stCondLst>
                                        </p:cTn>
                                        <p:tgtEl>
                                          <p:spTgt spid="63"/>
                                        </p:tgtEl>
                                        <p:attrNameLst>
                                          <p:attrName>style.visibility</p:attrName>
                                        </p:attrNameLst>
                                      </p:cBhvr>
                                      <p:to>
                                        <p:strVal val="visible"/>
                                      </p:to>
                                    </p:set>
                                    <p:animEffect transition="in" filter="fade">
                                      <p:cBhvr>
                                        <p:cTn id="55" dur="500"/>
                                        <p:tgtEl>
                                          <p:spTgt spid="63"/>
                                        </p:tgtEl>
                                      </p:cBhvr>
                                    </p:animEffect>
                                  </p:childTnLst>
                                </p:cTn>
                              </p:par>
                            </p:childTnLst>
                          </p:cTn>
                        </p:par>
                        <p:par>
                          <p:cTn id="56" fill="hold" nodeType="afterGroup">
                            <p:stCondLst>
                              <p:cond delay="6000"/>
                            </p:stCondLst>
                            <p:childTnLst>
                              <p:par>
                                <p:cTn id="57" presetID="10" presetClass="entr" presetSubtype="0" fill="hold" nodeType="afterEffect">
                                  <p:stCondLst>
                                    <p:cond delay="0"/>
                                  </p:stCondLst>
                                  <p:childTnLst>
                                    <p:set>
                                      <p:cBhvr>
                                        <p:cTn id="58" dur="1" fill="hold">
                                          <p:stCondLst>
                                            <p:cond delay="0"/>
                                          </p:stCondLst>
                                        </p:cTn>
                                        <p:tgtEl>
                                          <p:spTgt spid="85"/>
                                        </p:tgtEl>
                                        <p:attrNameLst>
                                          <p:attrName>style.visibility</p:attrName>
                                        </p:attrNameLst>
                                      </p:cBhvr>
                                      <p:to>
                                        <p:strVal val="visible"/>
                                      </p:to>
                                    </p:set>
                                    <p:animEffect transition="in" filter="fade">
                                      <p:cBhvr>
                                        <p:cTn id="59" dur="500"/>
                                        <p:tgtEl>
                                          <p:spTgt spid="85"/>
                                        </p:tgtEl>
                                      </p:cBhvr>
                                    </p:animEffect>
                                  </p:childTnLst>
                                </p:cTn>
                              </p:par>
                            </p:childTnLst>
                          </p:cTn>
                        </p:par>
                        <p:par>
                          <p:cTn id="60" fill="hold" nodeType="afterGroup">
                            <p:stCondLst>
                              <p:cond delay="6500"/>
                            </p:stCondLst>
                            <p:childTnLst>
                              <p:par>
                                <p:cTn id="61" presetID="10" presetClass="entr" presetSubtype="0" fill="hold" nodeType="afterEffect">
                                  <p:stCondLst>
                                    <p:cond delay="0"/>
                                  </p:stCondLst>
                                  <p:childTnLst>
                                    <p:set>
                                      <p:cBhvr>
                                        <p:cTn id="62" dur="1" fill="hold">
                                          <p:stCondLst>
                                            <p:cond delay="0"/>
                                          </p:stCondLst>
                                        </p:cTn>
                                        <p:tgtEl>
                                          <p:spTgt spid="92"/>
                                        </p:tgtEl>
                                        <p:attrNameLst>
                                          <p:attrName>style.visibility</p:attrName>
                                        </p:attrNameLst>
                                      </p:cBhvr>
                                      <p:to>
                                        <p:strVal val="visible"/>
                                      </p:to>
                                    </p:set>
                                    <p:animEffect transition="in" filter="fade">
                                      <p:cBhvr>
                                        <p:cTn id="63" dur="500"/>
                                        <p:tgtEl>
                                          <p:spTgt spid="92"/>
                                        </p:tgtEl>
                                      </p:cBhvr>
                                    </p:animEffect>
                                  </p:childTnLst>
                                </p:cTn>
                              </p:par>
                            </p:childTnLst>
                          </p:cTn>
                        </p:par>
                        <p:par>
                          <p:cTn id="64" fill="hold" nodeType="afterGroup">
                            <p:stCondLst>
                              <p:cond delay="7000"/>
                            </p:stCondLst>
                            <p:childTnLst>
                              <p:par>
                                <p:cTn id="65" presetID="10" presetClass="entr" presetSubtype="0" fill="hold" grpId="0" nodeType="afterEffect">
                                  <p:stCondLst>
                                    <p:cond delay="0"/>
                                  </p:stCondLst>
                                  <p:childTnLst>
                                    <p:set>
                                      <p:cBhvr>
                                        <p:cTn id="66" dur="1" fill="hold">
                                          <p:stCondLst>
                                            <p:cond delay="0"/>
                                          </p:stCondLst>
                                        </p:cTn>
                                        <p:tgtEl>
                                          <p:spTgt spid="93"/>
                                        </p:tgtEl>
                                        <p:attrNameLst>
                                          <p:attrName>style.visibility</p:attrName>
                                        </p:attrNameLst>
                                      </p:cBhvr>
                                      <p:to>
                                        <p:strVal val="visible"/>
                                      </p:to>
                                    </p:set>
                                    <p:animEffect transition="in" filter="fade">
                                      <p:cBhvr>
                                        <p:cTn id="67" dur="500"/>
                                        <p:tgtEl>
                                          <p:spTgt spid="93"/>
                                        </p:tgtEl>
                                      </p:cBhvr>
                                    </p:animEffect>
                                  </p:childTnLst>
                                </p:cTn>
                              </p:par>
                            </p:childTnLst>
                          </p:cTn>
                        </p:par>
                        <p:par>
                          <p:cTn id="68" fill="hold" nodeType="afterGroup">
                            <p:stCondLst>
                              <p:cond delay="7500"/>
                            </p:stCondLst>
                            <p:childTnLst>
                              <p:par>
                                <p:cTn id="69" presetID="10" presetClass="entr" presetSubtype="0" fill="hold" grpId="0" nodeType="afterEffect">
                                  <p:stCondLst>
                                    <p:cond delay="0"/>
                                  </p:stCondLst>
                                  <p:childTnLst>
                                    <p:set>
                                      <p:cBhvr>
                                        <p:cTn id="70" dur="1" fill="hold">
                                          <p:stCondLst>
                                            <p:cond delay="0"/>
                                          </p:stCondLst>
                                        </p:cTn>
                                        <p:tgtEl>
                                          <p:spTgt spid="94"/>
                                        </p:tgtEl>
                                        <p:attrNameLst>
                                          <p:attrName>style.visibility</p:attrName>
                                        </p:attrNameLst>
                                      </p:cBhvr>
                                      <p:to>
                                        <p:strVal val="visible"/>
                                      </p:to>
                                    </p:set>
                                    <p:animEffect transition="in" filter="fade">
                                      <p:cBhvr>
                                        <p:cTn id="71" dur="500"/>
                                        <p:tgtEl>
                                          <p:spTgt spid="94"/>
                                        </p:tgtEl>
                                      </p:cBhvr>
                                    </p:animEffect>
                                  </p:childTnLst>
                                </p:cTn>
                              </p:par>
                            </p:childTnLst>
                          </p:cTn>
                        </p:par>
                        <p:par>
                          <p:cTn id="72" fill="hold" nodeType="afterGroup">
                            <p:stCondLst>
                              <p:cond delay="8000"/>
                            </p:stCondLst>
                            <p:childTnLst>
                              <p:par>
                                <p:cTn id="73" presetID="10" presetClass="entr" presetSubtype="0" fill="hold" grpId="0" nodeType="afterEffect">
                                  <p:stCondLst>
                                    <p:cond delay="0"/>
                                  </p:stCondLst>
                                  <p:childTnLst>
                                    <p:set>
                                      <p:cBhvr>
                                        <p:cTn id="74" dur="1" fill="hold">
                                          <p:stCondLst>
                                            <p:cond delay="0"/>
                                          </p:stCondLst>
                                        </p:cTn>
                                        <p:tgtEl>
                                          <p:spTgt spid="95"/>
                                        </p:tgtEl>
                                        <p:attrNameLst>
                                          <p:attrName>style.visibility</p:attrName>
                                        </p:attrNameLst>
                                      </p:cBhvr>
                                      <p:to>
                                        <p:strVal val="visible"/>
                                      </p:to>
                                    </p:set>
                                    <p:animEffect transition="in" filter="fade">
                                      <p:cBhvr>
                                        <p:cTn id="75"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87" grpId="0" animBg="1"/>
      <p:bldP spid="88" grpId="0" animBg="1"/>
      <p:bldP spid="93" grpId="0"/>
      <p:bldP spid="94" grpId="0"/>
      <p:bldP spid="95" grpId="0"/>
    </p:bldLst>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pSp>
        <p:nvGrpSpPr>
          <p:cNvPr id="2" name="淘宝网chenying0907出品 38"/>
          <p:cNvGrpSpPr/>
          <p:nvPr/>
        </p:nvGrpSpPr>
        <p:grpSpPr>
          <a:xfrm rot="16200000">
            <a:off x="2473760" y="1652346"/>
            <a:ext cx="484187" cy="765175"/>
            <a:chOff x="4325938" y="2189163"/>
            <a:chExt cx="484187" cy="765175"/>
          </a:xfrm>
          <a:solidFill>
            <a:srgbClr val="FAB929"/>
          </a:solidFill>
        </p:grpSpPr>
        <p:sp>
          <p:nvSpPr>
            <p:cNvPr id="24" name="淘宝网chenying0907出品 13"/>
            <p:cNvSpPr/>
            <p:nvPr/>
          </p:nvSpPr>
          <p:spPr bwMode="auto">
            <a:xfrm>
              <a:off x="4433888" y="2189163"/>
              <a:ext cx="376237" cy="506413"/>
            </a:xfrm>
            <a:custGeom>
              <a:gdLst>
                <a:gd name="T0" fmla="*/ 24 w 100"/>
                <a:gd name="T1" fmla="*/ 49 h 135"/>
                <a:gd name="T2" fmla="*/ 0 w 100"/>
                <a:gd name="T3" fmla="*/ 49 h 135"/>
                <a:gd name="T4" fmla="*/ 50 w 100"/>
                <a:gd name="T5" fmla="*/ 0 h 135"/>
                <a:gd name="T6" fmla="*/ 100 w 100"/>
                <a:gd name="T7" fmla="*/ 49 h 135"/>
                <a:gd name="T8" fmla="*/ 75 w 100"/>
                <a:gd name="T9" fmla="*/ 49 h 135"/>
                <a:gd name="T10" fmla="*/ 75 w 100"/>
                <a:gd name="T11" fmla="*/ 110 h 135"/>
                <a:gd name="T12" fmla="*/ 75 w 100"/>
                <a:gd name="T13" fmla="*/ 110 h 135"/>
                <a:gd name="T14" fmla="*/ 50 w 100"/>
                <a:gd name="T15" fmla="*/ 135 h 135"/>
                <a:gd name="T16" fmla="*/ 24 w 100"/>
                <a:gd name="T17" fmla="*/ 110 h 135"/>
                <a:gd name="T18" fmla="*/ 24 w 100"/>
                <a:gd name="T19" fmla="*/ 110 h 135"/>
                <a:gd name="T20" fmla="*/ 24 w 100"/>
                <a:gd name="T21" fmla="*/ 110 h 135"/>
                <a:gd name="T22" fmla="*/ 24 w 100"/>
                <a:gd name="T23" fmla="*/ 49 h 1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35">
                  <a:moveTo>
                    <a:pt x="24" y="49"/>
                  </a:moveTo>
                  <a:cubicBezTo>
                    <a:pt x="0" y="49"/>
                    <a:pt x="0" y="49"/>
                    <a:pt x="0" y="49"/>
                  </a:cubicBezTo>
                  <a:cubicBezTo>
                    <a:pt x="50" y="0"/>
                    <a:pt x="50" y="0"/>
                    <a:pt x="50" y="0"/>
                  </a:cubicBezTo>
                  <a:cubicBezTo>
                    <a:pt x="100" y="49"/>
                    <a:pt x="100" y="49"/>
                    <a:pt x="100" y="49"/>
                  </a:cubicBezTo>
                  <a:cubicBezTo>
                    <a:pt x="75" y="49"/>
                    <a:pt x="75" y="49"/>
                    <a:pt x="75" y="49"/>
                  </a:cubicBezTo>
                  <a:cubicBezTo>
                    <a:pt x="75" y="110"/>
                    <a:pt x="75" y="110"/>
                    <a:pt x="75" y="110"/>
                  </a:cubicBezTo>
                  <a:cubicBezTo>
                    <a:pt x="75" y="110"/>
                    <a:pt x="75" y="110"/>
                    <a:pt x="75" y="110"/>
                  </a:cubicBezTo>
                  <a:cubicBezTo>
                    <a:pt x="75" y="124"/>
                    <a:pt x="64" y="135"/>
                    <a:pt x="50" y="135"/>
                  </a:cubicBezTo>
                  <a:cubicBezTo>
                    <a:pt x="36" y="135"/>
                    <a:pt x="24" y="124"/>
                    <a:pt x="24" y="110"/>
                  </a:cubicBezTo>
                  <a:cubicBezTo>
                    <a:pt x="24" y="110"/>
                    <a:pt x="24" y="110"/>
                    <a:pt x="24" y="110"/>
                  </a:cubicBezTo>
                  <a:cubicBezTo>
                    <a:pt x="24" y="110"/>
                    <a:pt x="24" y="110"/>
                    <a:pt x="24" y="110"/>
                  </a:cubicBezTo>
                  <a:lnTo>
                    <a:pt x="24" y="49"/>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25" name="淘宝网chenying0907出品 14"/>
            <p:cNvSpPr/>
            <p:nvPr/>
          </p:nvSpPr>
          <p:spPr bwMode="auto">
            <a:xfrm>
              <a:off x="4325938" y="2452688"/>
              <a:ext cx="371475" cy="501650"/>
            </a:xfrm>
            <a:custGeom>
              <a:gdLst>
                <a:gd name="T0" fmla="*/ 43 w 99"/>
                <a:gd name="T1" fmla="*/ 41 h 134"/>
                <a:gd name="T2" fmla="*/ 43 w 99"/>
                <a:gd name="T3" fmla="*/ 0 h 134"/>
                <a:gd name="T4" fmla="*/ 24 w 99"/>
                <a:gd name="T5" fmla="*/ 24 h 134"/>
                <a:gd name="T6" fmla="*/ 24 w 99"/>
                <a:gd name="T7" fmla="*/ 85 h 134"/>
                <a:gd name="T8" fmla="*/ 0 w 99"/>
                <a:gd name="T9" fmla="*/ 85 h 134"/>
                <a:gd name="T10" fmla="*/ 50 w 99"/>
                <a:gd name="T11" fmla="*/ 134 h 134"/>
                <a:gd name="T12" fmla="*/ 99 w 99"/>
                <a:gd name="T13" fmla="*/ 85 h 134"/>
                <a:gd name="T14" fmla="*/ 75 w 99"/>
                <a:gd name="T15" fmla="*/ 85 h 134"/>
                <a:gd name="T16" fmla="*/ 75 w 99"/>
                <a:gd name="T17" fmla="*/ 77 h 134"/>
                <a:gd name="T18" fmla="*/ 43 w 99"/>
                <a:gd name="T19" fmla="*/ 41 h 1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34">
                  <a:moveTo>
                    <a:pt x="43" y="41"/>
                  </a:moveTo>
                  <a:cubicBezTo>
                    <a:pt x="43" y="0"/>
                    <a:pt x="43" y="0"/>
                    <a:pt x="43" y="0"/>
                  </a:cubicBezTo>
                  <a:cubicBezTo>
                    <a:pt x="32" y="3"/>
                    <a:pt x="24" y="12"/>
                    <a:pt x="24" y="24"/>
                  </a:cubicBezTo>
                  <a:cubicBezTo>
                    <a:pt x="24" y="85"/>
                    <a:pt x="24" y="85"/>
                    <a:pt x="24" y="85"/>
                  </a:cubicBezTo>
                  <a:cubicBezTo>
                    <a:pt x="0" y="85"/>
                    <a:pt x="0" y="85"/>
                    <a:pt x="0" y="85"/>
                  </a:cubicBezTo>
                  <a:cubicBezTo>
                    <a:pt x="50" y="134"/>
                    <a:pt x="50" y="134"/>
                    <a:pt x="50" y="134"/>
                  </a:cubicBezTo>
                  <a:cubicBezTo>
                    <a:pt x="99" y="85"/>
                    <a:pt x="99" y="85"/>
                    <a:pt x="99" y="85"/>
                  </a:cubicBezTo>
                  <a:cubicBezTo>
                    <a:pt x="75" y="85"/>
                    <a:pt x="75" y="85"/>
                    <a:pt x="75" y="85"/>
                  </a:cubicBezTo>
                  <a:cubicBezTo>
                    <a:pt x="75" y="77"/>
                    <a:pt x="75" y="77"/>
                    <a:pt x="75" y="77"/>
                  </a:cubicBezTo>
                  <a:cubicBezTo>
                    <a:pt x="57" y="75"/>
                    <a:pt x="43" y="59"/>
                    <a:pt x="43" y="41"/>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grpSp>
      <p:grpSp>
        <p:nvGrpSpPr>
          <p:cNvPr id="3" name="淘宝网chenying0907出品 41"/>
          <p:cNvGrpSpPr/>
          <p:nvPr/>
        </p:nvGrpSpPr>
        <p:grpSpPr>
          <a:xfrm rot="16200000">
            <a:off x="2470196" y="3236522"/>
            <a:ext cx="484187" cy="765175"/>
            <a:chOff x="4325938" y="2189163"/>
            <a:chExt cx="484187" cy="765175"/>
          </a:xfrm>
          <a:solidFill>
            <a:srgbClr val="FAB929"/>
          </a:solidFill>
        </p:grpSpPr>
        <p:sp>
          <p:nvSpPr>
            <p:cNvPr id="27" name="淘宝网chenying0907出品 13"/>
            <p:cNvSpPr/>
            <p:nvPr/>
          </p:nvSpPr>
          <p:spPr bwMode="auto">
            <a:xfrm>
              <a:off x="4433888" y="2189163"/>
              <a:ext cx="376237" cy="506413"/>
            </a:xfrm>
            <a:custGeom>
              <a:gdLst>
                <a:gd name="T0" fmla="*/ 24 w 100"/>
                <a:gd name="T1" fmla="*/ 49 h 135"/>
                <a:gd name="T2" fmla="*/ 0 w 100"/>
                <a:gd name="T3" fmla="*/ 49 h 135"/>
                <a:gd name="T4" fmla="*/ 50 w 100"/>
                <a:gd name="T5" fmla="*/ 0 h 135"/>
                <a:gd name="T6" fmla="*/ 100 w 100"/>
                <a:gd name="T7" fmla="*/ 49 h 135"/>
                <a:gd name="T8" fmla="*/ 75 w 100"/>
                <a:gd name="T9" fmla="*/ 49 h 135"/>
                <a:gd name="T10" fmla="*/ 75 w 100"/>
                <a:gd name="T11" fmla="*/ 110 h 135"/>
                <a:gd name="T12" fmla="*/ 75 w 100"/>
                <a:gd name="T13" fmla="*/ 110 h 135"/>
                <a:gd name="T14" fmla="*/ 50 w 100"/>
                <a:gd name="T15" fmla="*/ 135 h 135"/>
                <a:gd name="T16" fmla="*/ 24 w 100"/>
                <a:gd name="T17" fmla="*/ 110 h 135"/>
                <a:gd name="T18" fmla="*/ 24 w 100"/>
                <a:gd name="T19" fmla="*/ 110 h 135"/>
                <a:gd name="T20" fmla="*/ 24 w 100"/>
                <a:gd name="T21" fmla="*/ 110 h 135"/>
                <a:gd name="T22" fmla="*/ 24 w 100"/>
                <a:gd name="T23" fmla="*/ 49 h 1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35">
                  <a:moveTo>
                    <a:pt x="24" y="49"/>
                  </a:moveTo>
                  <a:cubicBezTo>
                    <a:pt x="0" y="49"/>
                    <a:pt x="0" y="49"/>
                    <a:pt x="0" y="49"/>
                  </a:cubicBezTo>
                  <a:cubicBezTo>
                    <a:pt x="50" y="0"/>
                    <a:pt x="50" y="0"/>
                    <a:pt x="50" y="0"/>
                  </a:cubicBezTo>
                  <a:cubicBezTo>
                    <a:pt x="100" y="49"/>
                    <a:pt x="100" y="49"/>
                    <a:pt x="100" y="49"/>
                  </a:cubicBezTo>
                  <a:cubicBezTo>
                    <a:pt x="75" y="49"/>
                    <a:pt x="75" y="49"/>
                    <a:pt x="75" y="49"/>
                  </a:cubicBezTo>
                  <a:cubicBezTo>
                    <a:pt x="75" y="110"/>
                    <a:pt x="75" y="110"/>
                    <a:pt x="75" y="110"/>
                  </a:cubicBezTo>
                  <a:cubicBezTo>
                    <a:pt x="75" y="110"/>
                    <a:pt x="75" y="110"/>
                    <a:pt x="75" y="110"/>
                  </a:cubicBezTo>
                  <a:cubicBezTo>
                    <a:pt x="75" y="124"/>
                    <a:pt x="64" y="135"/>
                    <a:pt x="50" y="135"/>
                  </a:cubicBezTo>
                  <a:cubicBezTo>
                    <a:pt x="36" y="135"/>
                    <a:pt x="24" y="124"/>
                    <a:pt x="24" y="110"/>
                  </a:cubicBezTo>
                  <a:cubicBezTo>
                    <a:pt x="24" y="110"/>
                    <a:pt x="24" y="110"/>
                    <a:pt x="24" y="110"/>
                  </a:cubicBezTo>
                  <a:cubicBezTo>
                    <a:pt x="24" y="110"/>
                    <a:pt x="24" y="110"/>
                    <a:pt x="24" y="110"/>
                  </a:cubicBezTo>
                  <a:lnTo>
                    <a:pt x="24" y="49"/>
                  </a:lnTo>
                  <a:close/>
                </a:path>
              </a:pathLst>
            </a:cu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28" name="淘宝网chenying0907出品 14"/>
            <p:cNvSpPr/>
            <p:nvPr/>
          </p:nvSpPr>
          <p:spPr bwMode="auto">
            <a:xfrm>
              <a:off x="4325938" y="2452688"/>
              <a:ext cx="371475" cy="501650"/>
            </a:xfrm>
            <a:custGeom>
              <a:gdLst>
                <a:gd name="T0" fmla="*/ 43 w 99"/>
                <a:gd name="T1" fmla="*/ 41 h 134"/>
                <a:gd name="T2" fmla="*/ 43 w 99"/>
                <a:gd name="T3" fmla="*/ 0 h 134"/>
                <a:gd name="T4" fmla="*/ 24 w 99"/>
                <a:gd name="T5" fmla="*/ 24 h 134"/>
                <a:gd name="T6" fmla="*/ 24 w 99"/>
                <a:gd name="T7" fmla="*/ 85 h 134"/>
                <a:gd name="T8" fmla="*/ 0 w 99"/>
                <a:gd name="T9" fmla="*/ 85 h 134"/>
                <a:gd name="T10" fmla="*/ 50 w 99"/>
                <a:gd name="T11" fmla="*/ 134 h 134"/>
                <a:gd name="T12" fmla="*/ 99 w 99"/>
                <a:gd name="T13" fmla="*/ 85 h 134"/>
                <a:gd name="T14" fmla="*/ 75 w 99"/>
                <a:gd name="T15" fmla="*/ 85 h 134"/>
                <a:gd name="T16" fmla="*/ 75 w 99"/>
                <a:gd name="T17" fmla="*/ 77 h 134"/>
                <a:gd name="T18" fmla="*/ 43 w 99"/>
                <a:gd name="T19" fmla="*/ 41 h 1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34">
                  <a:moveTo>
                    <a:pt x="43" y="41"/>
                  </a:moveTo>
                  <a:cubicBezTo>
                    <a:pt x="43" y="0"/>
                    <a:pt x="43" y="0"/>
                    <a:pt x="43" y="0"/>
                  </a:cubicBezTo>
                  <a:cubicBezTo>
                    <a:pt x="32" y="3"/>
                    <a:pt x="24" y="12"/>
                    <a:pt x="24" y="24"/>
                  </a:cubicBezTo>
                  <a:cubicBezTo>
                    <a:pt x="24" y="85"/>
                    <a:pt x="24" y="85"/>
                    <a:pt x="24" y="85"/>
                  </a:cubicBezTo>
                  <a:cubicBezTo>
                    <a:pt x="0" y="85"/>
                    <a:pt x="0" y="85"/>
                    <a:pt x="0" y="85"/>
                  </a:cubicBezTo>
                  <a:cubicBezTo>
                    <a:pt x="50" y="134"/>
                    <a:pt x="50" y="134"/>
                    <a:pt x="50" y="134"/>
                  </a:cubicBezTo>
                  <a:cubicBezTo>
                    <a:pt x="99" y="85"/>
                    <a:pt x="99" y="85"/>
                    <a:pt x="99" y="85"/>
                  </a:cubicBezTo>
                  <a:cubicBezTo>
                    <a:pt x="75" y="85"/>
                    <a:pt x="75" y="85"/>
                    <a:pt x="75" y="85"/>
                  </a:cubicBezTo>
                  <a:cubicBezTo>
                    <a:pt x="75" y="77"/>
                    <a:pt x="75" y="77"/>
                    <a:pt x="75" y="77"/>
                  </a:cubicBezTo>
                  <a:cubicBezTo>
                    <a:pt x="57" y="75"/>
                    <a:pt x="43" y="59"/>
                    <a:pt x="43" y="41"/>
                  </a:cubicBezTo>
                  <a:close/>
                </a:path>
              </a:pathLst>
            </a:cu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grpSp>
      <p:cxnSp>
        <p:nvCxnSpPr>
          <p:cNvPr id="29" name="直接连接符 28"/>
          <p:cNvCxnSpPr/>
          <p:nvPr/>
        </p:nvCxnSpPr>
        <p:spPr>
          <a:xfrm flipH="1">
            <a:off x="5220072" y="1131590"/>
            <a:ext cx="0" cy="3240360"/>
          </a:xfrm>
          <a:prstGeom prst="line">
            <a:avLst/>
          </a:prstGeom>
          <a:ln>
            <a:solidFill>
              <a:srgbClr val="3DBCC0"/>
            </a:solidFill>
            <a:prstDash val="sysDash"/>
          </a:ln>
        </p:spPr>
        <p:style>
          <a:lnRef idx="1">
            <a:schemeClr val="accent1"/>
          </a:lnRef>
          <a:fillRef idx="0">
            <a:schemeClr val="accent1"/>
          </a:fillRef>
          <a:effectRef idx="0">
            <a:schemeClr val="accent1"/>
          </a:effectRef>
          <a:fontRef idx="minor">
            <a:schemeClr val="tx1"/>
          </a:fontRef>
        </p:style>
      </p:cxnSp>
      <p:pic>
        <p:nvPicPr>
          <p:cNvPr id="30" name="Picture 8"/>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625695" y="1345882"/>
            <a:ext cx="364860" cy="367472"/>
          </a:xfrm>
          <a:prstGeom prst="rect">
            <a:avLst/>
          </a:prstGeom>
          <a:noFill/>
          <a:ln w="9525">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9"/>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625695" y="2484425"/>
            <a:ext cx="375356" cy="375357"/>
          </a:xfrm>
          <a:prstGeom prst="rect">
            <a:avLst/>
          </a:prstGeom>
          <a:noFill/>
          <a:ln w="9525">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11"/>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625695" y="3644439"/>
            <a:ext cx="364859" cy="367471"/>
          </a:xfrm>
          <a:prstGeom prst="rect">
            <a:avLst/>
          </a:prstGeom>
          <a:noFill/>
          <a:ln w="9525">
            <a:solidFill>
              <a:schemeClr val="tx1"/>
            </a:solid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淘宝网chenying0907出品 69"/>
          <p:cNvSpPr/>
          <p:nvPr/>
        </p:nvSpPr>
        <p:spPr>
          <a:xfrm>
            <a:off x="6067276" y="1293500"/>
            <a:ext cx="2232042" cy="707886"/>
          </a:xfrm>
          <a:prstGeom prst="rect">
            <a:avLst/>
          </a:prstGeom>
        </p:spPr>
        <p:txBody>
          <a:bodyPr wrap="square">
            <a:spAutoFit/>
          </a:bodyPr>
          <a:lstStyle/>
          <a:p>
            <a:pPr algn="just">
              <a:lnSpc>
                <a:spcPts val="1200"/>
              </a:lnSpc>
            </a:pPr>
            <a:r>
              <a:rPr lang="zh-CN" altLang="en-US" sz="1200" b="1">
                <a:solidFill>
                  <a:schemeClr val="bg1">
                    <a:lumMod val="50000"/>
                  </a:schemeClr>
                </a:solidFill>
                <a:latin typeface="微软雅黑" panose="020b0503020204020204" pitchFamily="34" charset="-122"/>
                <a:ea typeface="微软雅黑" panose="020b0503020204020204" pitchFamily="34" charset="-122"/>
              </a:rPr>
              <a:t>这里填写目录二级标题</a:t>
            </a:r>
            <a:endParaRPr lang="en-US" altLang="zh-CN" sz="1200" b="1">
              <a:solidFill>
                <a:schemeClr val="bg1">
                  <a:lumMod val="50000"/>
                </a:schemeClr>
              </a:solidFill>
              <a:latin typeface="微软雅黑" panose="020b0503020204020204" pitchFamily="34" charset="-122"/>
              <a:ea typeface="微软雅黑" panose="020b0503020204020204" pitchFamily="34" charset="-122"/>
            </a:endParaRPr>
          </a:p>
          <a:p>
            <a:pPr algn="just">
              <a:lnSpc>
                <a:spcPts val="1200"/>
              </a:lnSpc>
            </a:pPr>
            <a:r>
              <a:rPr lang="zh-CN" altLang="en-US" sz="1000">
                <a:solidFill>
                  <a:schemeClr val="bg1">
                    <a:lumMod val="50000"/>
                  </a:schemeClr>
                </a:solidFill>
                <a:latin typeface="微软雅黑" panose="020b0503020204020204" pitchFamily="34" charset="-122"/>
                <a:ea typeface="微软雅黑" panose="020b0503020204020204" pitchFamily="34" charset="-122"/>
                <a:sym typeface="宋体" panose="02010600030101010101" pitchFamily="2" charset="-122"/>
              </a:rPr>
              <a:t>单击此处添加本章节的简要内容单击此处添加本章节的简要内容单击此处添加本章节的简要内容</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
        <p:nvSpPr>
          <p:cNvPr id="34" name="淘宝网chenying0907出品 70"/>
          <p:cNvSpPr/>
          <p:nvPr/>
        </p:nvSpPr>
        <p:spPr>
          <a:xfrm>
            <a:off x="6084168" y="2427734"/>
            <a:ext cx="2232042" cy="707886"/>
          </a:xfrm>
          <a:prstGeom prst="rect">
            <a:avLst/>
          </a:prstGeom>
        </p:spPr>
        <p:txBody>
          <a:bodyPr wrap="square">
            <a:spAutoFit/>
          </a:bodyPr>
          <a:lstStyle/>
          <a:p>
            <a:pPr algn="just">
              <a:lnSpc>
                <a:spcPts val="1200"/>
              </a:lnSpc>
            </a:pPr>
            <a:r>
              <a:rPr lang="zh-CN" altLang="en-US" sz="1200" b="1">
                <a:solidFill>
                  <a:schemeClr val="bg1">
                    <a:lumMod val="50000"/>
                  </a:schemeClr>
                </a:solidFill>
                <a:latin typeface="微软雅黑" panose="020b0503020204020204" pitchFamily="34" charset="-122"/>
                <a:ea typeface="微软雅黑" panose="020b0503020204020204" pitchFamily="34" charset="-122"/>
              </a:rPr>
              <a:t>这里填写目录二级标题</a:t>
            </a:r>
            <a:endParaRPr lang="en-US" altLang="zh-CN" sz="1200" b="1">
              <a:solidFill>
                <a:schemeClr val="bg1">
                  <a:lumMod val="50000"/>
                </a:schemeClr>
              </a:solidFill>
              <a:latin typeface="微软雅黑" panose="020b0503020204020204" pitchFamily="34" charset="-122"/>
              <a:ea typeface="微软雅黑" panose="020b0503020204020204" pitchFamily="34" charset="-122"/>
            </a:endParaRPr>
          </a:p>
          <a:p>
            <a:pPr algn="just">
              <a:lnSpc>
                <a:spcPts val="1200"/>
              </a:lnSpc>
            </a:pPr>
            <a:r>
              <a:rPr lang="zh-CN" altLang="en-US" sz="1000">
                <a:solidFill>
                  <a:schemeClr val="bg1">
                    <a:lumMod val="50000"/>
                  </a:schemeClr>
                </a:solidFill>
                <a:latin typeface="微软雅黑" panose="020b0503020204020204" pitchFamily="34" charset="-122"/>
                <a:ea typeface="微软雅黑" panose="020b0503020204020204" pitchFamily="34" charset="-122"/>
                <a:sym typeface="宋体" panose="02010600030101010101" pitchFamily="2" charset="-122"/>
              </a:rPr>
              <a:t>单击此处添加本章节的简要内容单击此处添加本章节的简要内容单击此处添加本章节的简要内容</a:t>
            </a:r>
            <a:endParaRPr lang="zh-CN" altLang="en-US" sz="1000">
              <a:solidFill>
                <a:schemeClr val="bg1">
                  <a:lumMod val="50000"/>
                </a:schemeClr>
              </a:solidFill>
              <a:latin typeface="微软雅黑" panose="020b0503020204020204" pitchFamily="34" charset="-122"/>
              <a:ea typeface="微软雅黑" panose="020b0503020204020204" pitchFamily="34" charset="-122"/>
            </a:endParaRPr>
          </a:p>
        </p:txBody>
      </p:sp>
      <p:sp>
        <p:nvSpPr>
          <p:cNvPr id="35" name="淘宝网chenying0907出品 71"/>
          <p:cNvSpPr/>
          <p:nvPr/>
        </p:nvSpPr>
        <p:spPr>
          <a:xfrm>
            <a:off x="6036447" y="3609950"/>
            <a:ext cx="2232042" cy="707886"/>
          </a:xfrm>
          <a:prstGeom prst="rect">
            <a:avLst/>
          </a:prstGeom>
        </p:spPr>
        <p:txBody>
          <a:bodyPr wrap="square">
            <a:spAutoFit/>
          </a:bodyPr>
          <a:lstStyle/>
          <a:p>
            <a:pPr algn="just">
              <a:lnSpc>
                <a:spcPts val="1200"/>
              </a:lnSpc>
            </a:pPr>
            <a:r>
              <a:rPr lang="zh-CN" altLang="en-US" sz="1200" b="1">
                <a:solidFill>
                  <a:schemeClr val="bg1">
                    <a:lumMod val="50000"/>
                  </a:schemeClr>
                </a:solidFill>
                <a:latin typeface="微软雅黑" panose="020b0503020204020204" pitchFamily="34" charset="-122"/>
                <a:ea typeface="微软雅黑" panose="020b0503020204020204" pitchFamily="34" charset="-122"/>
              </a:rPr>
              <a:t>这里填写目录二级标题</a:t>
            </a:r>
            <a:endParaRPr lang="en-US" altLang="zh-CN" sz="1200" b="1">
              <a:solidFill>
                <a:schemeClr val="bg1">
                  <a:lumMod val="50000"/>
                </a:schemeClr>
              </a:solidFill>
              <a:latin typeface="微软雅黑" panose="020b0503020204020204" pitchFamily="34" charset="-122"/>
              <a:ea typeface="微软雅黑" panose="020b0503020204020204" pitchFamily="34" charset="-122"/>
            </a:endParaRPr>
          </a:p>
          <a:p>
            <a:pPr algn="just">
              <a:lnSpc>
                <a:spcPts val="1200"/>
              </a:lnSpc>
            </a:pPr>
            <a:r>
              <a:rPr lang="zh-CN" altLang="en-US" sz="1000">
                <a:solidFill>
                  <a:schemeClr val="bg1">
                    <a:lumMod val="50000"/>
                  </a:schemeClr>
                </a:solidFill>
                <a:latin typeface="微软雅黑" panose="020b0503020204020204" pitchFamily="34" charset="-122"/>
                <a:ea typeface="微软雅黑" panose="020b0503020204020204" pitchFamily="34" charset="-122"/>
                <a:sym typeface="宋体" panose="02010600030101010101" pitchFamily="2" charset="-122"/>
              </a:rPr>
              <a:t>单击此处添加本章节的简要内容单击此处添加本章节的简要内容单击此处添加本章节的简要内容</a:t>
            </a:r>
            <a:endParaRPr lang="zh-CN" altLang="en-US" sz="10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4" name="淘宝网chenying0907出品 72"/>
          <p:cNvGrpSpPr/>
          <p:nvPr/>
        </p:nvGrpSpPr>
        <p:grpSpPr>
          <a:xfrm>
            <a:off x="710252" y="1347614"/>
            <a:ext cx="1989540" cy="1374640"/>
            <a:chOff x="710252" y="1203598"/>
            <a:chExt cx="1989540" cy="1374640"/>
          </a:xfrm>
        </p:grpSpPr>
        <p:sp>
          <p:nvSpPr>
            <p:cNvPr id="37" name="淘宝网chenying0907出品 6"/>
            <p:cNvSpPr/>
            <p:nvPr/>
          </p:nvSpPr>
          <p:spPr bwMode="auto">
            <a:xfrm>
              <a:off x="710252" y="1203598"/>
              <a:ext cx="1374638" cy="1374640"/>
            </a:xfrm>
            <a:custGeom>
              <a:gdLst>
                <a:gd name="T0" fmla="*/ 234 w 234"/>
                <a:gd name="T1" fmla="*/ 110 h 234"/>
                <a:gd name="T2" fmla="*/ 234 w 234"/>
                <a:gd name="T3" fmla="*/ 30 h 234"/>
                <a:gd name="T4" fmla="*/ 234 w 234"/>
                <a:gd name="T5" fmla="*/ 0 h 234"/>
                <a:gd name="T6" fmla="*/ 204 w 234"/>
                <a:gd name="T7" fmla="*/ 0 h 234"/>
                <a:gd name="T8" fmla="*/ 122 w 234"/>
                <a:gd name="T9" fmla="*/ 0 h 234"/>
                <a:gd name="T10" fmla="*/ 121 w 234"/>
                <a:gd name="T11" fmla="*/ 0 h 234"/>
                <a:gd name="T12" fmla="*/ 117 w 234"/>
                <a:gd name="T13" fmla="*/ 0 h 234"/>
                <a:gd name="T14" fmla="*/ 0 w 234"/>
                <a:gd name="T15" fmla="*/ 117 h 234"/>
                <a:gd name="T16" fmla="*/ 117 w 234"/>
                <a:gd name="T17" fmla="*/ 234 h 234"/>
                <a:gd name="T18" fmla="*/ 234 w 234"/>
                <a:gd name="T19" fmla="*/ 117 h 234"/>
                <a:gd name="T20" fmla="*/ 234 w 234"/>
                <a:gd name="T21" fmla="*/ 110 h 2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234">
                  <a:moveTo>
                    <a:pt x="234" y="110"/>
                  </a:moveTo>
                  <a:cubicBezTo>
                    <a:pt x="234" y="30"/>
                    <a:pt x="234" y="30"/>
                    <a:pt x="234" y="30"/>
                  </a:cubicBezTo>
                  <a:cubicBezTo>
                    <a:pt x="234" y="0"/>
                    <a:pt x="234" y="0"/>
                    <a:pt x="234" y="0"/>
                  </a:cubicBezTo>
                  <a:cubicBezTo>
                    <a:pt x="204" y="0"/>
                    <a:pt x="204" y="0"/>
                    <a:pt x="204" y="0"/>
                  </a:cubicBezTo>
                  <a:cubicBezTo>
                    <a:pt x="122" y="0"/>
                    <a:pt x="122" y="0"/>
                    <a:pt x="122" y="0"/>
                  </a:cubicBezTo>
                  <a:cubicBezTo>
                    <a:pt x="122" y="0"/>
                    <a:pt x="121" y="0"/>
                    <a:pt x="121" y="0"/>
                  </a:cubicBezTo>
                  <a:cubicBezTo>
                    <a:pt x="120" y="0"/>
                    <a:pt x="119" y="0"/>
                    <a:pt x="117" y="0"/>
                  </a:cubicBezTo>
                  <a:cubicBezTo>
                    <a:pt x="53" y="0"/>
                    <a:pt x="0" y="52"/>
                    <a:pt x="0" y="117"/>
                  </a:cubicBezTo>
                  <a:cubicBezTo>
                    <a:pt x="0" y="181"/>
                    <a:pt x="53" y="234"/>
                    <a:pt x="117" y="234"/>
                  </a:cubicBezTo>
                  <a:cubicBezTo>
                    <a:pt x="182" y="234"/>
                    <a:pt x="234" y="181"/>
                    <a:pt x="234" y="117"/>
                  </a:cubicBezTo>
                  <a:cubicBezTo>
                    <a:pt x="234" y="115"/>
                    <a:pt x="234" y="112"/>
                    <a:pt x="234" y="11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 name="淘宝网chenying0907出品 74"/>
            <p:cNvSpPr/>
            <p:nvPr/>
          </p:nvSpPr>
          <p:spPr>
            <a:xfrm>
              <a:off x="899592" y="1824163"/>
              <a:ext cx="1800200" cy="246221"/>
            </a:xfrm>
            <a:prstGeom prst="rect">
              <a:avLst/>
            </a:prstGeom>
          </p:spPr>
          <p:txBody>
            <a:bodyPr wrap="square">
              <a:spAutoFit/>
            </a:bodyPr>
            <a:lstStyle/>
            <a:p>
              <a:pPr algn="just">
                <a:lnSpc>
                  <a:spcPts val="1200"/>
                </a:lnSpc>
              </a:pPr>
              <a:r>
                <a:rPr lang="en-US" altLang="zh-CN" sz="4000">
                  <a:solidFill>
                    <a:schemeClr val="bg1"/>
                  </a:solidFill>
                  <a:latin typeface="Impact" panose="020b0806030902050204" pitchFamily="34" charset="0"/>
                  <a:ea typeface="微软雅黑" panose="020b0503020204020204" pitchFamily="34" charset="-122"/>
                </a:rPr>
                <a:t>45%</a:t>
              </a:r>
              <a:endParaRPr lang="en-US" altLang="zh-CN" sz="4000">
                <a:solidFill>
                  <a:schemeClr val="bg1"/>
                </a:solidFill>
                <a:latin typeface="Impact" panose="020b0806030902050204" pitchFamily="34" charset="0"/>
                <a:ea typeface="微软雅黑" panose="020b0503020204020204" pitchFamily="34" charset="-122"/>
              </a:endParaRPr>
            </a:p>
          </p:txBody>
        </p:sp>
      </p:grpSp>
      <p:grpSp>
        <p:nvGrpSpPr>
          <p:cNvPr id="5" name="淘宝网chenying0907出品 75"/>
          <p:cNvGrpSpPr/>
          <p:nvPr/>
        </p:nvGrpSpPr>
        <p:grpSpPr>
          <a:xfrm>
            <a:off x="3341378" y="1347614"/>
            <a:ext cx="2022710" cy="1374640"/>
            <a:chOff x="3341378" y="1203598"/>
            <a:chExt cx="2022710" cy="1374640"/>
          </a:xfrm>
        </p:grpSpPr>
        <p:sp>
          <p:nvSpPr>
            <p:cNvPr id="40" name="淘宝网chenying0907出品 6"/>
            <p:cNvSpPr/>
            <p:nvPr/>
          </p:nvSpPr>
          <p:spPr bwMode="auto">
            <a:xfrm>
              <a:off x="3341378" y="1203598"/>
              <a:ext cx="1374638" cy="1374640"/>
            </a:xfrm>
            <a:custGeom>
              <a:gdLst>
                <a:gd name="T0" fmla="*/ 234 w 234"/>
                <a:gd name="T1" fmla="*/ 110 h 234"/>
                <a:gd name="T2" fmla="*/ 234 w 234"/>
                <a:gd name="T3" fmla="*/ 30 h 234"/>
                <a:gd name="T4" fmla="*/ 234 w 234"/>
                <a:gd name="T5" fmla="*/ 0 h 234"/>
                <a:gd name="T6" fmla="*/ 204 w 234"/>
                <a:gd name="T7" fmla="*/ 0 h 234"/>
                <a:gd name="T8" fmla="*/ 122 w 234"/>
                <a:gd name="T9" fmla="*/ 0 h 234"/>
                <a:gd name="T10" fmla="*/ 121 w 234"/>
                <a:gd name="T11" fmla="*/ 0 h 234"/>
                <a:gd name="T12" fmla="*/ 117 w 234"/>
                <a:gd name="T13" fmla="*/ 0 h 234"/>
                <a:gd name="T14" fmla="*/ 0 w 234"/>
                <a:gd name="T15" fmla="*/ 117 h 234"/>
                <a:gd name="T16" fmla="*/ 117 w 234"/>
                <a:gd name="T17" fmla="*/ 234 h 234"/>
                <a:gd name="T18" fmla="*/ 234 w 234"/>
                <a:gd name="T19" fmla="*/ 117 h 234"/>
                <a:gd name="T20" fmla="*/ 234 w 234"/>
                <a:gd name="T21" fmla="*/ 110 h 2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234">
                  <a:moveTo>
                    <a:pt x="234" y="110"/>
                  </a:moveTo>
                  <a:cubicBezTo>
                    <a:pt x="234" y="30"/>
                    <a:pt x="234" y="30"/>
                    <a:pt x="234" y="30"/>
                  </a:cubicBezTo>
                  <a:cubicBezTo>
                    <a:pt x="234" y="0"/>
                    <a:pt x="234" y="0"/>
                    <a:pt x="234" y="0"/>
                  </a:cubicBezTo>
                  <a:cubicBezTo>
                    <a:pt x="204" y="0"/>
                    <a:pt x="204" y="0"/>
                    <a:pt x="204" y="0"/>
                  </a:cubicBezTo>
                  <a:cubicBezTo>
                    <a:pt x="122" y="0"/>
                    <a:pt x="122" y="0"/>
                    <a:pt x="122" y="0"/>
                  </a:cubicBezTo>
                  <a:cubicBezTo>
                    <a:pt x="122" y="0"/>
                    <a:pt x="121" y="0"/>
                    <a:pt x="121" y="0"/>
                  </a:cubicBezTo>
                  <a:cubicBezTo>
                    <a:pt x="120" y="0"/>
                    <a:pt x="119" y="0"/>
                    <a:pt x="117" y="0"/>
                  </a:cubicBezTo>
                  <a:cubicBezTo>
                    <a:pt x="53" y="0"/>
                    <a:pt x="0" y="52"/>
                    <a:pt x="0" y="117"/>
                  </a:cubicBezTo>
                  <a:cubicBezTo>
                    <a:pt x="0" y="181"/>
                    <a:pt x="53" y="234"/>
                    <a:pt x="117" y="234"/>
                  </a:cubicBezTo>
                  <a:cubicBezTo>
                    <a:pt x="182" y="234"/>
                    <a:pt x="234" y="181"/>
                    <a:pt x="234" y="117"/>
                  </a:cubicBezTo>
                  <a:cubicBezTo>
                    <a:pt x="234" y="115"/>
                    <a:pt x="234" y="112"/>
                    <a:pt x="234" y="110"/>
                  </a:cubicBez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1" name="淘宝网chenying0907出品 77"/>
            <p:cNvSpPr/>
            <p:nvPr/>
          </p:nvSpPr>
          <p:spPr>
            <a:xfrm>
              <a:off x="3563888" y="1851670"/>
              <a:ext cx="1800200" cy="246221"/>
            </a:xfrm>
            <a:prstGeom prst="rect">
              <a:avLst/>
            </a:prstGeom>
          </p:spPr>
          <p:txBody>
            <a:bodyPr wrap="square">
              <a:spAutoFit/>
            </a:bodyPr>
            <a:lstStyle/>
            <a:p>
              <a:pPr algn="just">
                <a:lnSpc>
                  <a:spcPts val="1200"/>
                </a:lnSpc>
              </a:pPr>
              <a:r>
                <a:rPr lang="en-US" altLang="zh-CN" sz="4000">
                  <a:solidFill>
                    <a:schemeClr val="bg1"/>
                  </a:solidFill>
                  <a:latin typeface="Impact" panose="020b0806030902050204" pitchFamily="34" charset="0"/>
                  <a:ea typeface="微软雅黑" panose="020b0503020204020204" pitchFamily="34" charset="-122"/>
                </a:rPr>
                <a:t>55%</a:t>
              </a:r>
              <a:endParaRPr lang="en-US" altLang="zh-CN" sz="4000">
                <a:solidFill>
                  <a:schemeClr val="bg1"/>
                </a:solidFill>
                <a:latin typeface="Impact" panose="020b0806030902050204" pitchFamily="34" charset="0"/>
                <a:ea typeface="微软雅黑" panose="020b0503020204020204" pitchFamily="34" charset="-122"/>
              </a:endParaRPr>
            </a:p>
          </p:txBody>
        </p:sp>
      </p:grpSp>
      <p:grpSp>
        <p:nvGrpSpPr>
          <p:cNvPr id="6" name="淘宝网chenying0907出品 78"/>
          <p:cNvGrpSpPr/>
          <p:nvPr/>
        </p:nvGrpSpPr>
        <p:grpSpPr>
          <a:xfrm>
            <a:off x="706688" y="2931790"/>
            <a:ext cx="1993104" cy="1374640"/>
            <a:chOff x="706688" y="2787774"/>
            <a:chExt cx="1993104" cy="1374640"/>
          </a:xfrm>
        </p:grpSpPr>
        <p:sp>
          <p:nvSpPr>
            <p:cNvPr id="43" name="淘宝网chenying0907出品 6"/>
            <p:cNvSpPr/>
            <p:nvPr/>
          </p:nvSpPr>
          <p:spPr bwMode="auto">
            <a:xfrm>
              <a:off x="706688" y="2787774"/>
              <a:ext cx="1374638" cy="1374640"/>
            </a:xfrm>
            <a:custGeom>
              <a:gdLst>
                <a:gd name="T0" fmla="*/ 234 w 234"/>
                <a:gd name="T1" fmla="*/ 110 h 234"/>
                <a:gd name="T2" fmla="*/ 234 w 234"/>
                <a:gd name="T3" fmla="*/ 30 h 234"/>
                <a:gd name="T4" fmla="*/ 234 w 234"/>
                <a:gd name="T5" fmla="*/ 0 h 234"/>
                <a:gd name="T6" fmla="*/ 204 w 234"/>
                <a:gd name="T7" fmla="*/ 0 h 234"/>
                <a:gd name="T8" fmla="*/ 122 w 234"/>
                <a:gd name="T9" fmla="*/ 0 h 234"/>
                <a:gd name="T10" fmla="*/ 121 w 234"/>
                <a:gd name="T11" fmla="*/ 0 h 234"/>
                <a:gd name="T12" fmla="*/ 117 w 234"/>
                <a:gd name="T13" fmla="*/ 0 h 234"/>
                <a:gd name="T14" fmla="*/ 0 w 234"/>
                <a:gd name="T15" fmla="*/ 117 h 234"/>
                <a:gd name="T16" fmla="*/ 117 w 234"/>
                <a:gd name="T17" fmla="*/ 234 h 234"/>
                <a:gd name="T18" fmla="*/ 234 w 234"/>
                <a:gd name="T19" fmla="*/ 117 h 234"/>
                <a:gd name="T20" fmla="*/ 234 w 234"/>
                <a:gd name="T21" fmla="*/ 110 h 2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234">
                  <a:moveTo>
                    <a:pt x="234" y="110"/>
                  </a:moveTo>
                  <a:cubicBezTo>
                    <a:pt x="234" y="30"/>
                    <a:pt x="234" y="30"/>
                    <a:pt x="234" y="30"/>
                  </a:cubicBezTo>
                  <a:cubicBezTo>
                    <a:pt x="234" y="0"/>
                    <a:pt x="234" y="0"/>
                    <a:pt x="234" y="0"/>
                  </a:cubicBezTo>
                  <a:cubicBezTo>
                    <a:pt x="204" y="0"/>
                    <a:pt x="204" y="0"/>
                    <a:pt x="204" y="0"/>
                  </a:cubicBezTo>
                  <a:cubicBezTo>
                    <a:pt x="122" y="0"/>
                    <a:pt x="122" y="0"/>
                    <a:pt x="122" y="0"/>
                  </a:cubicBezTo>
                  <a:cubicBezTo>
                    <a:pt x="122" y="0"/>
                    <a:pt x="121" y="0"/>
                    <a:pt x="121" y="0"/>
                  </a:cubicBezTo>
                  <a:cubicBezTo>
                    <a:pt x="120" y="0"/>
                    <a:pt x="119" y="0"/>
                    <a:pt x="117" y="0"/>
                  </a:cubicBezTo>
                  <a:cubicBezTo>
                    <a:pt x="53" y="0"/>
                    <a:pt x="0" y="52"/>
                    <a:pt x="0" y="117"/>
                  </a:cubicBezTo>
                  <a:cubicBezTo>
                    <a:pt x="0" y="181"/>
                    <a:pt x="53" y="234"/>
                    <a:pt x="117" y="234"/>
                  </a:cubicBezTo>
                  <a:cubicBezTo>
                    <a:pt x="182" y="234"/>
                    <a:pt x="234" y="181"/>
                    <a:pt x="234" y="117"/>
                  </a:cubicBezTo>
                  <a:cubicBezTo>
                    <a:pt x="234" y="115"/>
                    <a:pt x="234" y="112"/>
                    <a:pt x="234" y="110"/>
                  </a:cubicBezTo>
                  <a:close/>
                </a:path>
              </a:pathLst>
            </a:cu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4" name="淘宝网chenying0907出品 80"/>
            <p:cNvSpPr/>
            <p:nvPr/>
          </p:nvSpPr>
          <p:spPr>
            <a:xfrm>
              <a:off x="899592" y="3435846"/>
              <a:ext cx="1800200" cy="246221"/>
            </a:xfrm>
            <a:prstGeom prst="rect">
              <a:avLst/>
            </a:prstGeom>
          </p:spPr>
          <p:txBody>
            <a:bodyPr wrap="square">
              <a:spAutoFit/>
            </a:bodyPr>
            <a:lstStyle/>
            <a:p>
              <a:pPr algn="just">
                <a:lnSpc>
                  <a:spcPts val="1200"/>
                </a:lnSpc>
              </a:pPr>
              <a:r>
                <a:rPr lang="en-US" altLang="zh-CN" sz="4000">
                  <a:solidFill>
                    <a:schemeClr val="bg1"/>
                  </a:solidFill>
                  <a:latin typeface="Impact" panose="020b0806030902050204" pitchFamily="34" charset="0"/>
                  <a:ea typeface="微软雅黑" panose="020b0503020204020204" pitchFamily="34" charset="-122"/>
                </a:rPr>
                <a:t>65%</a:t>
              </a:r>
              <a:endParaRPr lang="en-US" altLang="zh-CN" sz="4000">
                <a:solidFill>
                  <a:schemeClr val="bg1"/>
                </a:solidFill>
                <a:latin typeface="Impact" panose="020b0806030902050204" pitchFamily="34" charset="0"/>
                <a:ea typeface="微软雅黑" panose="020b0503020204020204" pitchFamily="34" charset="-122"/>
              </a:endParaRPr>
            </a:p>
          </p:txBody>
        </p:sp>
      </p:grpSp>
      <p:grpSp>
        <p:nvGrpSpPr>
          <p:cNvPr id="7" name="淘宝网chenying0907出品 81"/>
          <p:cNvGrpSpPr/>
          <p:nvPr/>
        </p:nvGrpSpPr>
        <p:grpSpPr>
          <a:xfrm>
            <a:off x="3337814" y="2931790"/>
            <a:ext cx="1954266" cy="1374640"/>
            <a:chOff x="3337814" y="2787774"/>
            <a:chExt cx="1954266" cy="1374640"/>
          </a:xfrm>
        </p:grpSpPr>
        <p:sp>
          <p:nvSpPr>
            <p:cNvPr id="46" name="淘宝网chenying0907出品 6"/>
            <p:cNvSpPr/>
            <p:nvPr/>
          </p:nvSpPr>
          <p:spPr bwMode="auto">
            <a:xfrm>
              <a:off x="3337814" y="2787774"/>
              <a:ext cx="1374638" cy="1374640"/>
            </a:xfrm>
            <a:custGeom>
              <a:gdLst>
                <a:gd name="T0" fmla="*/ 234 w 234"/>
                <a:gd name="T1" fmla="*/ 110 h 234"/>
                <a:gd name="T2" fmla="*/ 234 w 234"/>
                <a:gd name="T3" fmla="*/ 30 h 234"/>
                <a:gd name="T4" fmla="*/ 234 w 234"/>
                <a:gd name="T5" fmla="*/ 0 h 234"/>
                <a:gd name="T6" fmla="*/ 204 w 234"/>
                <a:gd name="T7" fmla="*/ 0 h 234"/>
                <a:gd name="T8" fmla="*/ 122 w 234"/>
                <a:gd name="T9" fmla="*/ 0 h 234"/>
                <a:gd name="T10" fmla="*/ 121 w 234"/>
                <a:gd name="T11" fmla="*/ 0 h 234"/>
                <a:gd name="T12" fmla="*/ 117 w 234"/>
                <a:gd name="T13" fmla="*/ 0 h 234"/>
                <a:gd name="T14" fmla="*/ 0 w 234"/>
                <a:gd name="T15" fmla="*/ 117 h 234"/>
                <a:gd name="T16" fmla="*/ 117 w 234"/>
                <a:gd name="T17" fmla="*/ 234 h 234"/>
                <a:gd name="T18" fmla="*/ 234 w 234"/>
                <a:gd name="T19" fmla="*/ 117 h 234"/>
                <a:gd name="T20" fmla="*/ 234 w 234"/>
                <a:gd name="T21" fmla="*/ 110 h 23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234">
                  <a:moveTo>
                    <a:pt x="234" y="110"/>
                  </a:moveTo>
                  <a:cubicBezTo>
                    <a:pt x="234" y="30"/>
                    <a:pt x="234" y="30"/>
                    <a:pt x="234" y="30"/>
                  </a:cubicBezTo>
                  <a:cubicBezTo>
                    <a:pt x="234" y="0"/>
                    <a:pt x="234" y="0"/>
                    <a:pt x="234" y="0"/>
                  </a:cubicBezTo>
                  <a:cubicBezTo>
                    <a:pt x="204" y="0"/>
                    <a:pt x="204" y="0"/>
                    <a:pt x="204" y="0"/>
                  </a:cubicBezTo>
                  <a:cubicBezTo>
                    <a:pt x="122" y="0"/>
                    <a:pt x="122" y="0"/>
                    <a:pt x="122" y="0"/>
                  </a:cubicBezTo>
                  <a:cubicBezTo>
                    <a:pt x="122" y="0"/>
                    <a:pt x="121" y="0"/>
                    <a:pt x="121" y="0"/>
                  </a:cubicBezTo>
                  <a:cubicBezTo>
                    <a:pt x="120" y="0"/>
                    <a:pt x="119" y="0"/>
                    <a:pt x="117" y="0"/>
                  </a:cubicBezTo>
                  <a:cubicBezTo>
                    <a:pt x="53" y="0"/>
                    <a:pt x="0" y="52"/>
                    <a:pt x="0" y="117"/>
                  </a:cubicBezTo>
                  <a:cubicBezTo>
                    <a:pt x="0" y="181"/>
                    <a:pt x="53" y="234"/>
                    <a:pt x="117" y="234"/>
                  </a:cubicBezTo>
                  <a:cubicBezTo>
                    <a:pt x="182" y="234"/>
                    <a:pt x="234" y="181"/>
                    <a:pt x="234" y="117"/>
                  </a:cubicBezTo>
                  <a:cubicBezTo>
                    <a:pt x="234" y="115"/>
                    <a:pt x="234" y="112"/>
                    <a:pt x="234" y="110"/>
                  </a:cubicBezTo>
                  <a:close/>
                </a:path>
              </a:pathLst>
            </a:cu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47" name="淘宝网chenying0907出品 83"/>
            <p:cNvSpPr/>
            <p:nvPr/>
          </p:nvSpPr>
          <p:spPr>
            <a:xfrm>
              <a:off x="3491880" y="3486126"/>
              <a:ext cx="1800200" cy="246221"/>
            </a:xfrm>
            <a:prstGeom prst="rect">
              <a:avLst/>
            </a:prstGeom>
          </p:spPr>
          <p:txBody>
            <a:bodyPr wrap="square">
              <a:spAutoFit/>
            </a:bodyPr>
            <a:lstStyle/>
            <a:p>
              <a:pPr algn="just">
                <a:lnSpc>
                  <a:spcPts val="1200"/>
                </a:lnSpc>
              </a:pPr>
              <a:r>
                <a:rPr lang="en-US" altLang="zh-CN" sz="4000">
                  <a:solidFill>
                    <a:schemeClr val="bg1"/>
                  </a:solidFill>
                  <a:latin typeface="Impact" panose="020b0806030902050204" pitchFamily="34" charset="0"/>
                  <a:ea typeface="微软雅黑" panose="020b0503020204020204" pitchFamily="34" charset="-122"/>
                </a:rPr>
                <a:t>35%</a:t>
              </a:r>
              <a:endParaRPr lang="en-US" altLang="zh-CN" sz="4000">
                <a:solidFill>
                  <a:schemeClr val="bg1"/>
                </a:solidFill>
                <a:latin typeface="Impact" panose="020b0806030902050204" pitchFamily="34" charset="0"/>
                <a:ea typeface="微软雅黑" panose="020b0503020204020204" pitchFamily="34" charset="-122"/>
              </a:endParaRPr>
            </a:p>
          </p:txBody>
        </p:sp>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pSp>
        <p:nvGrpSpPr>
          <p:cNvPr id="10" name="组合 29"/>
          <p:cNvGrpSpPr/>
          <p:nvPr/>
        </p:nvGrpSpPr>
        <p:grpSpPr>
          <a:xfrm>
            <a:off x="3291663" y="1850232"/>
            <a:ext cx="2464594" cy="869156"/>
            <a:chOff x="3038475" y="2625725"/>
            <a:chExt cx="3286125" cy="1158875"/>
          </a:xfrm>
          <a:solidFill>
            <a:schemeClr val="accent2"/>
          </a:solidFill>
        </p:grpSpPr>
        <p:sp>
          <p:nvSpPr>
            <p:cNvPr id="2" name="任意多边形 47"/>
            <p:cNvSpPr/>
            <p:nvPr/>
          </p:nvSpPr>
          <p:spPr bwMode="auto">
            <a:xfrm rot="21480000" flipH="1">
              <a:off x="3038475" y="2651125"/>
              <a:ext cx="1901825" cy="1133475"/>
            </a:xfrm>
            <a:custGeom>
              <a:gdLst>
                <a:gd name="T0" fmla="*/ 0 w 2262142"/>
                <a:gd name="T1" fmla="*/ 0 h 1396256"/>
                <a:gd name="T2" fmla="*/ 74770 w 2262142"/>
                <a:gd name="T3" fmla="*/ 1396256 h 1396256"/>
                <a:gd name="T4" fmla="*/ 2262142 w 2262142"/>
                <a:gd name="T5" fmla="*/ 1396256 h 1396256"/>
                <a:gd name="T6" fmla="*/ 0 w 2262142"/>
                <a:gd name="T7" fmla="*/ 0 h 1396256"/>
                <a:gd name="T8" fmla="*/ 2262142 w 2262142"/>
                <a:gd name="T9" fmla="*/ 1396256 h 1396256"/>
              </a:gdLst>
              <a:cxnLst>
                <a:cxn ang="0">
                  <a:pos x="T0" y="T1"/>
                </a:cxn>
                <a:cxn ang="0">
                  <a:pos x="T2" y="T3"/>
                </a:cxn>
                <a:cxn ang="0">
                  <a:pos x="T4" y="T5"/>
                </a:cxn>
              </a:cxnLst>
              <a:rect l="T6" t="T7" r="T8" b="T9"/>
              <a:pathLst>
                <a:path w="2262142" h="1396256">
                  <a:moveTo>
                    <a:pt x="0" y="0"/>
                  </a:moveTo>
                  <a:lnTo>
                    <a:pt x="74770" y="1396256"/>
                  </a:lnTo>
                  <a:lnTo>
                    <a:pt x="2262142" y="1396256"/>
                  </a:lnTo>
                  <a:close/>
                </a:path>
              </a:pathLst>
            </a:custGeom>
            <a:grpFill/>
            <a:ln>
              <a:noFill/>
            </a:ln>
          </p:spPr>
          <p:txBody>
            <a:bodyPr anchor="ctr"/>
            <a:lstStyle/>
            <a:p>
              <a:endParaRPr lang="zh-CN" altLang="en-US" sz="1015"/>
            </a:p>
          </p:txBody>
        </p:sp>
        <p:sp>
          <p:nvSpPr>
            <p:cNvPr id="3" name="任意多边形 51"/>
            <p:cNvSpPr/>
            <p:nvPr/>
          </p:nvSpPr>
          <p:spPr bwMode="auto">
            <a:xfrm>
              <a:off x="4895850" y="2625725"/>
              <a:ext cx="1428750" cy="1133475"/>
            </a:xfrm>
            <a:custGeom>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cxnLst>
                <a:cxn ang="0">
                  <a:pos x="T0" y="T1"/>
                </a:cxn>
                <a:cxn ang="0">
                  <a:pos x="T2" y="T3"/>
                </a:cxn>
                <a:cxn ang="0">
                  <a:pos x="T4" y="T5"/>
                </a:cxn>
                <a:cxn ang="0">
                  <a:pos x="T6" y="T7"/>
                </a:cxn>
                <a:cxn ang="0">
                  <a:pos x="T8" y="T9"/>
                </a:cxn>
                <a:cxn ang="0">
                  <a:pos x="T10" y="T11"/>
                </a:cxn>
              </a:cxnLst>
              <a:rect l="T12" t="T13" r="T14" b="T15"/>
              <a:pathLst>
                <a:path w="1699398"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1015"/>
            </a:p>
          </p:txBody>
        </p:sp>
      </p:grpSp>
      <p:grpSp>
        <p:nvGrpSpPr>
          <p:cNvPr id="11" name="组合 30"/>
          <p:cNvGrpSpPr/>
          <p:nvPr/>
        </p:nvGrpSpPr>
        <p:grpSpPr>
          <a:xfrm>
            <a:off x="3291664" y="2762251"/>
            <a:ext cx="2451497" cy="859631"/>
            <a:chOff x="3038475" y="3841750"/>
            <a:chExt cx="3268663" cy="1146175"/>
          </a:xfrm>
          <a:solidFill>
            <a:schemeClr val="accent3"/>
          </a:solidFill>
        </p:grpSpPr>
        <p:sp>
          <p:nvSpPr>
            <p:cNvPr id="4" name="任意多边形 63"/>
            <p:cNvSpPr/>
            <p:nvPr/>
          </p:nvSpPr>
          <p:spPr bwMode="auto">
            <a:xfrm rot="120000" flipH="1" flipV="1">
              <a:off x="3038475" y="3841750"/>
              <a:ext cx="1901825" cy="1128713"/>
            </a:xfrm>
            <a:custGeom>
              <a:gdLst>
                <a:gd name="T0" fmla="*/ 1901961 w 1901961"/>
                <a:gd name="T1" fmla="*/ 1128526 h 1128526"/>
                <a:gd name="T2" fmla="*/ 62575 w 1901961"/>
                <a:gd name="T3" fmla="*/ 1128526 h 1128526"/>
                <a:gd name="T4" fmla="*/ 0 w 1901961"/>
                <a:gd name="T5" fmla="*/ 290 h 1128526"/>
                <a:gd name="T6" fmla="*/ 8289 w 1901961"/>
                <a:gd name="T7" fmla="*/ 0 h 1128526"/>
                <a:gd name="T8" fmla="*/ 0 w 1901961"/>
                <a:gd name="T9" fmla="*/ 0 h 1128526"/>
                <a:gd name="T10" fmla="*/ 1901961 w 1901961"/>
                <a:gd name="T11" fmla="*/ 1128526 h 1128526"/>
              </a:gdLst>
              <a:cxnLst>
                <a:cxn ang="0">
                  <a:pos x="T0" y="T1"/>
                </a:cxn>
                <a:cxn ang="0">
                  <a:pos x="T2" y="T3"/>
                </a:cxn>
                <a:cxn ang="0">
                  <a:pos x="T4" y="T5"/>
                </a:cxn>
                <a:cxn ang="0">
                  <a:pos x="T6" y="T7"/>
                </a:cxn>
              </a:cxnLst>
              <a:rect l="T8" t="T9" r="T10" b="T11"/>
              <a:pathLst>
                <a:path w="1901960" h="1128526">
                  <a:moveTo>
                    <a:pt x="1901961" y="1128526"/>
                  </a:moveTo>
                  <a:lnTo>
                    <a:pt x="62575" y="1128526"/>
                  </a:lnTo>
                  <a:lnTo>
                    <a:pt x="0" y="290"/>
                  </a:lnTo>
                  <a:lnTo>
                    <a:pt x="8289" y="0"/>
                  </a:lnTo>
                  <a:close/>
                </a:path>
              </a:pathLst>
            </a:custGeom>
            <a:grpFill/>
            <a:ln>
              <a:noFill/>
            </a:ln>
          </p:spPr>
          <p:txBody>
            <a:bodyPr anchor="ctr"/>
            <a:lstStyle/>
            <a:p>
              <a:endParaRPr lang="zh-CN" altLang="en-US" sz="1015"/>
            </a:p>
          </p:txBody>
        </p:sp>
        <p:sp>
          <p:nvSpPr>
            <p:cNvPr id="5" name="任意多边形 53"/>
            <p:cNvSpPr/>
            <p:nvPr/>
          </p:nvSpPr>
          <p:spPr bwMode="auto">
            <a:xfrm flipV="1">
              <a:off x="4878388" y="3867150"/>
              <a:ext cx="1428750" cy="1120775"/>
            </a:xfrm>
            <a:custGeom>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cxnLst>
                <a:cxn ang="0">
                  <a:pos x="T0" y="T1"/>
                </a:cxn>
                <a:cxn ang="0">
                  <a:pos x="T2" y="T3"/>
                </a:cxn>
                <a:cxn ang="0">
                  <a:pos x="T4" y="T5"/>
                </a:cxn>
                <a:cxn ang="0">
                  <a:pos x="T6" y="T7"/>
                </a:cxn>
                <a:cxn ang="0">
                  <a:pos x="T8" y="T9"/>
                </a:cxn>
                <a:cxn ang="0">
                  <a:pos x="T10" y="T11"/>
                </a:cxn>
              </a:cxnLst>
              <a:rect l="T12" t="T13" r="T14" b="T15"/>
              <a:pathLst>
                <a:path w="1699398"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1015"/>
            </a:p>
          </p:txBody>
        </p:sp>
      </p:grpSp>
      <p:grpSp>
        <p:nvGrpSpPr>
          <p:cNvPr id="20" name="组合 31"/>
          <p:cNvGrpSpPr/>
          <p:nvPr/>
        </p:nvGrpSpPr>
        <p:grpSpPr>
          <a:xfrm>
            <a:off x="2893994" y="3283744"/>
            <a:ext cx="2849166" cy="1270397"/>
            <a:chOff x="2508250" y="4537075"/>
            <a:chExt cx="3798888" cy="1693863"/>
          </a:xfrm>
          <a:solidFill>
            <a:schemeClr val="accent4"/>
          </a:solidFill>
        </p:grpSpPr>
        <p:sp>
          <p:nvSpPr>
            <p:cNvPr id="6" name="任意多边形 55"/>
            <p:cNvSpPr/>
            <p:nvPr/>
          </p:nvSpPr>
          <p:spPr bwMode="auto">
            <a:xfrm rot="13105210" flipV="1">
              <a:off x="2508250" y="4537075"/>
              <a:ext cx="3000375" cy="879475"/>
            </a:xfrm>
            <a:custGeom>
              <a:gdLst>
                <a:gd name="T0" fmla="*/ 0 w 3567861"/>
                <a:gd name="T1" fmla="*/ 1045825 h 1045825"/>
                <a:gd name="T2" fmla="*/ 829510 w 3567861"/>
                <a:gd name="T3" fmla="*/ 0 h 1045825"/>
                <a:gd name="T4" fmla="*/ 3567861 w 3567861"/>
                <a:gd name="T5" fmla="*/ 116658 h 1045825"/>
                <a:gd name="T6" fmla="*/ 0 w 3567861"/>
                <a:gd name="T7" fmla="*/ 1045825 h 1045825"/>
                <a:gd name="T8" fmla="*/ 0 w 3567861"/>
                <a:gd name="T9" fmla="*/ 0 h 1045825"/>
                <a:gd name="T10" fmla="*/ 3567861 w 3567861"/>
                <a:gd name="T11" fmla="*/ 1045825 h 1045825"/>
              </a:gdLst>
              <a:cxnLst>
                <a:cxn ang="0">
                  <a:pos x="T0" y="T1"/>
                </a:cxn>
                <a:cxn ang="0">
                  <a:pos x="T2" y="T3"/>
                </a:cxn>
                <a:cxn ang="0">
                  <a:pos x="T4" y="T5"/>
                </a:cxn>
                <a:cxn ang="0">
                  <a:pos x="T6" y="T7"/>
                </a:cxn>
              </a:cxnLst>
              <a:rect l="T8" t="T9" r="T10" b="T11"/>
              <a:pathLst>
                <a:path w="3567861" h="1045825">
                  <a:moveTo>
                    <a:pt x="0" y="1045825"/>
                  </a:moveTo>
                  <a:lnTo>
                    <a:pt x="829510" y="0"/>
                  </a:lnTo>
                  <a:lnTo>
                    <a:pt x="3567861" y="116658"/>
                  </a:lnTo>
                  <a:cubicBezTo>
                    <a:pt x="2354936" y="465266"/>
                    <a:pt x="1212925" y="697217"/>
                    <a:pt x="0" y="1045825"/>
                  </a:cubicBezTo>
                  <a:close/>
                </a:path>
              </a:pathLst>
            </a:custGeom>
            <a:grpFill/>
            <a:ln>
              <a:noFill/>
            </a:ln>
            <a:effectLst>
              <a:outerShdw blurRad="50800" dist="38100" dir="2700000" algn="tl" rotWithShape="0">
                <a:prstClr val="black">
                  <a:alpha val="40000"/>
                </a:prstClr>
              </a:outerShdw>
            </a:effectLst>
          </p:spPr>
          <p:txBody>
            <a:bodyPr/>
            <a:lstStyle/>
            <a:p>
              <a:endParaRPr lang="zh-CN" altLang="en-US" sz="1500"/>
            </a:p>
          </p:txBody>
        </p:sp>
        <p:sp>
          <p:nvSpPr>
            <p:cNvPr id="7" name="任意多边形 56"/>
            <p:cNvSpPr/>
            <p:nvPr/>
          </p:nvSpPr>
          <p:spPr bwMode="auto">
            <a:xfrm flipV="1">
              <a:off x="4878388" y="5114925"/>
              <a:ext cx="1428750" cy="1116013"/>
            </a:xfrm>
            <a:custGeom>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cxnLst>
                <a:cxn ang="0">
                  <a:pos x="T0" y="T1"/>
                </a:cxn>
                <a:cxn ang="0">
                  <a:pos x="T2" y="T3"/>
                </a:cxn>
                <a:cxn ang="0">
                  <a:pos x="T4" y="T5"/>
                </a:cxn>
                <a:cxn ang="0">
                  <a:pos x="T6" y="T7"/>
                </a:cxn>
                <a:cxn ang="0">
                  <a:pos x="T8" y="T9"/>
                </a:cxn>
                <a:cxn ang="0">
                  <a:pos x="T10" y="T11"/>
                </a:cxn>
              </a:cxnLst>
              <a:rect l="T12" t="T13" r="T14" b="T15"/>
              <a:pathLst>
                <a:path w="1699398"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a:effectLst>
              <a:outerShdw blurRad="50800" dist="38100" dir="2700000" algn="tl" rotWithShape="0">
                <a:prstClr val="black">
                  <a:alpha val="40000"/>
                </a:prstClr>
              </a:outerShdw>
            </a:effectLst>
          </p:spPr>
          <p:txBody>
            <a:bodyPr/>
            <a:lstStyle/>
            <a:p>
              <a:endParaRPr lang="zh-CN" altLang="en-US" sz="1500"/>
            </a:p>
          </p:txBody>
        </p:sp>
      </p:grpSp>
      <p:grpSp>
        <p:nvGrpSpPr>
          <p:cNvPr id="21" name="组合 28"/>
          <p:cNvGrpSpPr/>
          <p:nvPr/>
        </p:nvGrpSpPr>
        <p:grpSpPr>
          <a:xfrm>
            <a:off x="2893994" y="912019"/>
            <a:ext cx="2862263" cy="1276350"/>
            <a:chOff x="2508250" y="1374775"/>
            <a:chExt cx="3816350" cy="1701800"/>
          </a:xfrm>
        </p:grpSpPr>
        <p:sp>
          <p:nvSpPr>
            <p:cNvPr id="8" name="任意多边形 58"/>
            <p:cNvSpPr/>
            <p:nvPr/>
          </p:nvSpPr>
          <p:spPr bwMode="auto">
            <a:xfrm rot="8494790">
              <a:off x="2508250" y="2197100"/>
              <a:ext cx="3000375" cy="879475"/>
            </a:xfrm>
            <a:custGeom>
              <a:gdLst>
                <a:gd name="T0" fmla="*/ 0 w 3567861"/>
                <a:gd name="T1" fmla="*/ 1045825 h 1045825"/>
                <a:gd name="T2" fmla="*/ 829510 w 3567861"/>
                <a:gd name="T3" fmla="*/ 0 h 1045825"/>
                <a:gd name="T4" fmla="*/ 3567861 w 3567861"/>
                <a:gd name="T5" fmla="*/ 116658 h 1045825"/>
                <a:gd name="T6" fmla="*/ 0 w 3567861"/>
                <a:gd name="T7" fmla="*/ 1045825 h 1045825"/>
                <a:gd name="T8" fmla="*/ 0 w 3567861"/>
                <a:gd name="T9" fmla="*/ 0 h 1045825"/>
                <a:gd name="T10" fmla="*/ 3567861 w 3567861"/>
                <a:gd name="T11" fmla="*/ 1045825 h 1045825"/>
              </a:gdLst>
              <a:cxnLst>
                <a:cxn ang="0">
                  <a:pos x="T0" y="T1"/>
                </a:cxn>
                <a:cxn ang="0">
                  <a:pos x="T2" y="T3"/>
                </a:cxn>
                <a:cxn ang="0">
                  <a:pos x="T4" y="T5"/>
                </a:cxn>
                <a:cxn ang="0">
                  <a:pos x="T6" y="T7"/>
                </a:cxn>
              </a:cxnLst>
              <a:rect l="T8" t="T9" r="T10" b="T11"/>
              <a:pathLst>
                <a:path w="3567861" h="1045825">
                  <a:moveTo>
                    <a:pt x="0" y="1045825"/>
                  </a:moveTo>
                  <a:lnTo>
                    <a:pt x="829510" y="0"/>
                  </a:lnTo>
                  <a:lnTo>
                    <a:pt x="3567861" y="116658"/>
                  </a:lnTo>
                  <a:cubicBezTo>
                    <a:pt x="2354936" y="465266"/>
                    <a:pt x="1212925" y="697217"/>
                    <a:pt x="0" y="1045825"/>
                  </a:cubicBezTo>
                  <a:close/>
                </a:path>
              </a:pathLst>
            </a:custGeom>
            <a:solidFill>
              <a:schemeClr val="accent1"/>
            </a:solidFill>
            <a:ln>
              <a:noFill/>
            </a:ln>
          </p:spPr>
          <p:txBody>
            <a:bodyPr anchor="ctr"/>
            <a:lstStyle/>
            <a:p>
              <a:endParaRPr lang="zh-CN" altLang="en-US" sz="1015"/>
            </a:p>
          </p:txBody>
        </p:sp>
        <p:sp>
          <p:nvSpPr>
            <p:cNvPr id="9" name="任意多边形 59"/>
            <p:cNvSpPr/>
            <p:nvPr/>
          </p:nvSpPr>
          <p:spPr bwMode="auto">
            <a:xfrm>
              <a:off x="4895850" y="1374775"/>
              <a:ext cx="1428750" cy="1117600"/>
            </a:xfrm>
            <a:custGeom>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cxnLst>
                <a:cxn ang="0">
                  <a:pos x="T0" y="T1"/>
                </a:cxn>
                <a:cxn ang="0">
                  <a:pos x="T2" y="T3"/>
                </a:cxn>
                <a:cxn ang="0">
                  <a:pos x="T4" y="T5"/>
                </a:cxn>
                <a:cxn ang="0">
                  <a:pos x="T6" y="T7"/>
                </a:cxn>
                <a:cxn ang="0">
                  <a:pos x="T8" y="T9"/>
                </a:cxn>
                <a:cxn ang="0">
                  <a:pos x="T10" y="T11"/>
                </a:cxn>
              </a:cxnLst>
              <a:rect l="T12" t="T13" r="T14" b="T15"/>
              <a:pathLst>
                <a:path w="1699398"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solidFill>
              <a:schemeClr val="accent1"/>
            </a:solidFill>
            <a:ln>
              <a:noFill/>
            </a:ln>
          </p:spPr>
          <p:txBody>
            <a:bodyPr anchor="ctr"/>
            <a:lstStyle/>
            <a:p>
              <a:endParaRPr lang="zh-CN" altLang="en-US" sz="1015"/>
            </a:p>
          </p:txBody>
        </p:sp>
      </p:grpSp>
      <p:grpSp>
        <p:nvGrpSpPr>
          <p:cNvPr id="22" name="组合 27"/>
          <p:cNvGrpSpPr/>
          <p:nvPr/>
        </p:nvGrpSpPr>
        <p:grpSpPr>
          <a:xfrm>
            <a:off x="2299873" y="2312194"/>
            <a:ext cx="1026319" cy="1031081"/>
            <a:chExt cx="1375837" cy="1380067"/>
          </a:xfrm>
          <a:solidFill>
            <a:schemeClr val="accent1"/>
          </a:solidFill>
        </p:grpSpPr>
        <p:grpSp>
          <p:nvGrpSpPr>
            <p:cNvPr id="23" name="组合 25"/>
            <p:cNvGrpSpPr/>
            <p:nvPr/>
          </p:nvGrpSpPr>
          <p:grpSpPr>
            <a:xfrm>
              <a:off x="0" y="0"/>
              <a:ext cx="1375837" cy="1380067"/>
              <a:chExt cx="1375837" cy="1380067"/>
            </a:xfrm>
            <a:grpFill/>
          </p:grpSpPr>
          <p:sp>
            <p:nvSpPr>
              <p:cNvPr id="13" name="矩形 11"/>
              <p:cNvSpPr>
                <a:spLocks noChangeArrowheads="1"/>
              </p:cNvSpPr>
              <p:nvPr/>
            </p:nvSpPr>
            <p:spPr bwMode="auto">
              <a:xfrm>
                <a:off x="0" y="254000"/>
                <a:ext cx="795866" cy="626533"/>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zh-CN" altLang="en-US" sz="1015">
                  <a:sym typeface="宋体" panose="02010600030101010101" pitchFamily="2" charset="-122"/>
                </a:endParaRPr>
              </a:p>
            </p:txBody>
          </p:sp>
          <p:sp>
            <p:nvSpPr>
              <p:cNvPr id="14" name="矩形 12"/>
              <p:cNvSpPr>
                <a:spLocks noChangeArrowheads="1"/>
              </p:cNvSpPr>
              <p:nvPr/>
            </p:nvSpPr>
            <p:spPr bwMode="auto">
              <a:xfrm>
                <a:off x="0" y="0"/>
                <a:ext cx="559857" cy="254000"/>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zh-CN" altLang="en-US" sz="1015">
                  <a:sym typeface="宋体" panose="02010600030101010101" pitchFamily="2" charset="-122"/>
                </a:endParaRPr>
              </a:p>
            </p:txBody>
          </p:sp>
          <p:sp>
            <p:nvSpPr>
              <p:cNvPr id="15" name="矩形 13"/>
              <p:cNvSpPr>
                <a:spLocks noChangeArrowheads="1"/>
              </p:cNvSpPr>
              <p:nvPr/>
            </p:nvSpPr>
            <p:spPr bwMode="auto">
              <a:xfrm>
                <a:off x="829733" y="287867"/>
                <a:ext cx="295406" cy="567266"/>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zh-CN" altLang="en-US" sz="1015">
                  <a:sym typeface="宋体" panose="02010600030101010101" pitchFamily="2" charset="-122"/>
                </a:endParaRPr>
              </a:p>
            </p:txBody>
          </p:sp>
          <p:sp>
            <p:nvSpPr>
              <p:cNvPr id="16" name="任意多边形 18"/>
              <p:cNvSpPr/>
              <p:nvPr/>
            </p:nvSpPr>
            <p:spPr bwMode="auto">
              <a:xfrm>
                <a:off x="1156761" y="143317"/>
                <a:ext cx="219076" cy="839485"/>
              </a:xfrm>
              <a:custGeom>
                <a:gdLst>
                  <a:gd name="T0" fmla="*/ 215619 w 215619"/>
                  <a:gd name="T1" fmla="*/ 0 h 839485"/>
                  <a:gd name="T2" fmla="*/ 215619 w 215619"/>
                  <a:gd name="T3" fmla="*/ 839485 h 839485"/>
                  <a:gd name="T4" fmla="*/ 0 w 215619"/>
                  <a:gd name="T5" fmla="*/ 691923 h 839485"/>
                  <a:gd name="T6" fmla="*/ 0 w 215619"/>
                  <a:gd name="T7" fmla="*/ 147562 h 839485"/>
                  <a:gd name="T8" fmla="*/ 0 w 215619"/>
                  <a:gd name="T9" fmla="*/ 0 h 839485"/>
                  <a:gd name="T10" fmla="*/ 215619 w 215619"/>
                  <a:gd name="T11" fmla="*/ 839485 h 839485"/>
                </a:gdLst>
                <a:cxnLst>
                  <a:cxn ang="0">
                    <a:pos x="T0" y="T1"/>
                  </a:cxn>
                  <a:cxn ang="0">
                    <a:pos x="T2" y="T3"/>
                  </a:cxn>
                  <a:cxn ang="0">
                    <a:pos x="T4" y="T5"/>
                  </a:cxn>
                  <a:cxn ang="0">
                    <a:pos x="T6" y="T7"/>
                  </a:cxn>
                </a:cxnLst>
                <a:rect l="T8" t="T9" r="T10" b="T11"/>
                <a:pathLst>
                  <a:path w="215619" h="839485">
                    <a:moveTo>
                      <a:pt x="215619" y="0"/>
                    </a:moveTo>
                    <a:lnTo>
                      <a:pt x="215619" y="839485"/>
                    </a:lnTo>
                    <a:lnTo>
                      <a:pt x="0" y="691923"/>
                    </a:lnTo>
                    <a:lnTo>
                      <a:pt x="0" y="147562"/>
                    </a:lnTo>
                    <a:close/>
                  </a:path>
                </a:pathLst>
              </a:cu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zh-CN" altLang="en-US" sz="1015"/>
              </a:p>
            </p:txBody>
          </p:sp>
          <p:sp>
            <p:nvSpPr>
              <p:cNvPr id="17" name="任意多边形 21"/>
              <p:cNvSpPr/>
              <p:nvPr/>
            </p:nvSpPr>
            <p:spPr bwMode="auto">
              <a:xfrm>
                <a:off x="92709" y="821266"/>
                <a:ext cx="431799" cy="558801"/>
              </a:xfrm>
              <a:custGeom>
                <a:gdLst>
                  <a:gd name="T0" fmla="*/ 62411 w 431799"/>
                  <a:gd name="T1" fmla="*/ 80767 h 558801"/>
                  <a:gd name="T2" fmla="*/ 62411 w 431799"/>
                  <a:gd name="T3" fmla="*/ 478032 h 558801"/>
                  <a:gd name="T4" fmla="*/ 369387 w 431799"/>
                  <a:gd name="T5" fmla="*/ 478032 h 558801"/>
                  <a:gd name="T6" fmla="*/ 369387 w 431799"/>
                  <a:gd name="T7" fmla="*/ 80767 h 558801"/>
                  <a:gd name="T8" fmla="*/ 0 w 431799"/>
                  <a:gd name="T9" fmla="*/ 0 h 558801"/>
                  <a:gd name="T10" fmla="*/ 431799 w 431799"/>
                  <a:gd name="T11" fmla="*/ 0 h 558801"/>
                  <a:gd name="T12" fmla="*/ 431799 w 431799"/>
                  <a:gd name="T13" fmla="*/ 558801 h 558801"/>
                  <a:gd name="T14" fmla="*/ 0 w 431799"/>
                  <a:gd name="T15" fmla="*/ 558801 h 558801"/>
                  <a:gd name="T16" fmla="*/ 0 w 431799"/>
                  <a:gd name="T17" fmla="*/ 0 h 558801"/>
                  <a:gd name="T18" fmla="*/ 431799 w 431799"/>
                  <a:gd name="T19" fmla="*/ 558801 h 558801"/>
                </a:gd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431799" h="558801">
                    <a:moveTo>
                      <a:pt x="62411" y="80767"/>
                    </a:moveTo>
                    <a:lnTo>
                      <a:pt x="62411" y="478032"/>
                    </a:lnTo>
                    <a:lnTo>
                      <a:pt x="369387" y="478032"/>
                    </a:lnTo>
                    <a:lnTo>
                      <a:pt x="369387" y="80767"/>
                    </a:lnTo>
                    <a:close/>
                    <a:moveTo>
                      <a:pt x="0" y="0"/>
                    </a:moveTo>
                    <a:lnTo>
                      <a:pt x="431799" y="0"/>
                    </a:lnTo>
                    <a:lnTo>
                      <a:pt x="431799" y="558801"/>
                    </a:lnTo>
                    <a:lnTo>
                      <a:pt x="0" y="558801"/>
                    </a:lnTo>
                    <a:close/>
                  </a:path>
                </a:pathLst>
              </a:cu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zh-CN" altLang="en-US" sz="1015"/>
              </a:p>
            </p:txBody>
          </p:sp>
          <p:sp>
            <p:nvSpPr>
              <p:cNvPr id="18" name="椭圆 22"/>
              <p:cNvSpPr>
                <a:spLocks noChangeArrowheads="1"/>
              </p:cNvSpPr>
              <p:nvPr/>
            </p:nvSpPr>
            <p:spPr bwMode="auto">
              <a:xfrm>
                <a:off x="470600" y="1004001"/>
                <a:ext cx="376066" cy="376066"/>
              </a:xfrm>
              <a:prstGeom prst="ellipse">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zh-CN" altLang="en-US" sz="1015">
                  <a:sym typeface="宋体" panose="02010600030101010101" pitchFamily="2" charset="-122"/>
                </a:endParaRPr>
              </a:p>
            </p:txBody>
          </p:sp>
          <p:sp>
            <p:nvSpPr>
              <p:cNvPr id="19" name="矩形 23"/>
              <p:cNvSpPr>
                <a:spLocks noChangeArrowheads="1"/>
              </p:cNvSpPr>
              <p:nvPr/>
            </p:nvSpPr>
            <p:spPr bwMode="auto">
              <a:xfrm>
                <a:off x="476797" y="812801"/>
                <a:ext cx="167786" cy="567266"/>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zh-CN" altLang="en-US" sz="1015">
                  <a:sym typeface="宋体" panose="02010600030101010101" pitchFamily="2" charset="-122"/>
                </a:endParaRPr>
              </a:p>
            </p:txBody>
          </p:sp>
        </p:grpSp>
        <p:sp>
          <p:nvSpPr>
            <p:cNvPr id="12" name="椭圆 26"/>
            <p:cNvSpPr>
              <a:spLocks noChangeAspect="1" noChangeArrowheads="1"/>
            </p:cNvSpPr>
            <p:nvPr/>
          </p:nvSpPr>
          <p:spPr bwMode="auto">
            <a:xfrm>
              <a:off x="535892" y="1071836"/>
              <a:ext cx="252000" cy="252000"/>
            </a:xfrm>
            <a:prstGeom prst="ellipse">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Autofit/>
            </a:bodyPr>
            <a:lstStyle/>
            <a:p>
              <a:pPr algn="ctr"/>
              <a:endParaRPr lang="zh-CN" altLang="en-US" sz="1015">
                <a:sym typeface="宋体" panose="02010600030101010101" pitchFamily="2" charset="-122"/>
              </a:endParaRPr>
            </a:p>
          </p:txBody>
        </p:sp>
      </p:grpSp>
      <p:sp>
        <p:nvSpPr>
          <p:cNvPr id="33" name="矩形 32"/>
          <p:cNvSpPr/>
          <p:nvPr/>
        </p:nvSpPr>
        <p:spPr>
          <a:xfrm>
            <a:off x="6274081" y="991856"/>
            <a:ext cx="1659899" cy="248209"/>
          </a:xfrm>
          <a:prstGeom prst="rect">
            <a:avLst/>
          </a:prstGeom>
        </p:spPr>
        <p:txBody>
          <a:bodyPr wrap="square">
            <a:spAutoFit/>
          </a:bodyPr>
          <a:lstStyle/>
          <a:p>
            <a:pPr lvl="0"/>
            <a:r>
              <a:rPr lang="zh-CN" altLang="en-US" sz="1015" b="1">
                <a:solidFill>
                  <a:schemeClr val="bg1">
                    <a:lumMod val="50000"/>
                  </a:schemeClr>
                </a:solidFill>
                <a:latin typeface="微软雅黑" panose="020b0503020204020204" pitchFamily="34" charset="-122"/>
                <a:ea typeface="微软雅黑" panose="020b0503020204020204" pitchFamily="34" charset="-122"/>
              </a:rPr>
              <a:t>请添加您的内容</a:t>
            </a:r>
            <a:endParaRPr lang="zh-CN" altLang="en-US" sz="1015" b="1">
              <a:solidFill>
                <a:schemeClr val="bg1">
                  <a:lumMod val="50000"/>
                </a:schemeClr>
              </a:solidFill>
              <a:latin typeface="微软雅黑" panose="020b0503020204020204" pitchFamily="34" charset="-122"/>
              <a:ea typeface="微软雅黑" panose="020b0503020204020204" pitchFamily="34" charset="-122"/>
            </a:endParaRPr>
          </a:p>
        </p:txBody>
      </p:sp>
      <p:sp>
        <p:nvSpPr>
          <p:cNvPr id="34" name="矩形 33"/>
          <p:cNvSpPr/>
          <p:nvPr/>
        </p:nvSpPr>
        <p:spPr>
          <a:xfrm>
            <a:off x="6268839" y="1236565"/>
            <a:ext cx="1961667" cy="674031"/>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可通过右键选择只保留文本来粘贴您的内容。</a:t>
            </a: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pP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p:txBody>
      </p:sp>
      <p:sp>
        <p:nvSpPr>
          <p:cNvPr id="35" name="矩形 34"/>
          <p:cNvSpPr/>
          <p:nvPr/>
        </p:nvSpPr>
        <p:spPr>
          <a:xfrm>
            <a:off x="4875808" y="1193702"/>
            <a:ext cx="889286" cy="415498"/>
          </a:xfrm>
          <a:prstGeom prst="rect">
            <a:avLst/>
          </a:prstGeom>
        </p:spPr>
        <p:txBody>
          <a:bodyPr wrap="square">
            <a:spAutoFit/>
          </a:bodyPr>
          <a:lstStyle/>
          <a:p>
            <a:pPr lvl="0"/>
            <a:r>
              <a:rPr lang="zh-CN" altLang="en-US" sz="2100" b="1">
                <a:solidFill>
                  <a:schemeClr val="bg1"/>
                </a:solidFill>
                <a:latin typeface="微软雅黑" panose="020b0503020204020204" pitchFamily="34" charset="-122"/>
                <a:ea typeface="微软雅黑" panose="020b0503020204020204" pitchFamily="34" charset="-122"/>
              </a:rPr>
              <a:t>地产</a:t>
            </a:r>
            <a:endParaRPr lang="zh-CN" altLang="en-US" sz="2100" b="1">
              <a:solidFill>
                <a:schemeClr val="bg1"/>
              </a:solidFill>
              <a:latin typeface="微软雅黑" panose="020b0503020204020204" pitchFamily="34" charset="-122"/>
              <a:ea typeface="微软雅黑" panose="020b0503020204020204" pitchFamily="34" charset="-122"/>
            </a:endParaRPr>
          </a:p>
        </p:txBody>
      </p:sp>
      <p:sp>
        <p:nvSpPr>
          <p:cNvPr id="36" name="矩形 35"/>
          <p:cNvSpPr/>
          <p:nvPr/>
        </p:nvSpPr>
        <p:spPr>
          <a:xfrm>
            <a:off x="6298917" y="1877230"/>
            <a:ext cx="1659899" cy="248209"/>
          </a:xfrm>
          <a:prstGeom prst="rect">
            <a:avLst/>
          </a:prstGeom>
        </p:spPr>
        <p:txBody>
          <a:bodyPr wrap="square">
            <a:spAutoFit/>
          </a:bodyPr>
          <a:lstStyle/>
          <a:p>
            <a:pPr lvl="0"/>
            <a:r>
              <a:rPr lang="zh-CN" altLang="en-US" sz="1015" b="1">
                <a:solidFill>
                  <a:schemeClr val="bg1">
                    <a:lumMod val="50000"/>
                  </a:schemeClr>
                </a:solidFill>
                <a:latin typeface="微软雅黑" panose="020b0503020204020204" pitchFamily="34" charset="-122"/>
                <a:ea typeface="微软雅黑" panose="020b0503020204020204" pitchFamily="34" charset="-122"/>
              </a:rPr>
              <a:t>请添加您的内容</a:t>
            </a:r>
            <a:endParaRPr lang="zh-CN" altLang="en-US" sz="1015" b="1">
              <a:solidFill>
                <a:schemeClr val="bg1">
                  <a:lumMod val="50000"/>
                </a:schemeClr>
              </a:solidFill>
              <a:latin typeface="微软雅黑" panose="020b0503020204020204" pitchFamily="34" charset="-122"/>
              <a:ea typeface="微软雅黑" panose="020b0503020204020204" pitchFamily="34" charset="-122"/>
            </a:endParaRPr>
          </a:p>
        </p:txBody>
      </p:sp>
      <p:sp>
        <p:nvSpPr>
          <p:cNvPr id="37" name="矩形 36"/>
          <p:cNvSpPr/>
          <p:nvPr/>
        </p:nvSpPr>
        <p:spPr>
          <a:xfrm>
            <a:off x="6293675" y="2121940"/>
            <a:ext cx="1961667" cy="674031"/>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可通过右键选择只保留文本来粘贴您的内容。</a:t>
            </a: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pP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p:txBody>
      </p:sp>
      <p:sp>
        <p:nvSpPr>
          <p:cNvPr id="38" name="矩形 37"/>
          <p:cNvSpPr/>
          <p:nvPr/>
        </p:nvSpPr>
        <p:spPr>
          <a:xfrm>
            <a:off x="4900643" y="2079076"/>
            <a:ext cx="889286" cy="415498"/>
          </a:xfrm>
          <a:prstGeom prst="rect">
            <a:avLst/>
          </a:prstGeom>
        </p:spPr>
        <p:txBody>
          <a:bodyPr wrap="square">
            <a:spAutoFit/>
          </a:bodyPr>
          <a:lstStyle/>
          <a:p>
            <a:pPr lvl="0"/>
            <a:r>
              <a:rPr lang="zh-CN" altLang="en-US" sz="2100" b="1">
                <a:solidFill>
                  <a:schemeClr val="bg1"/>
                </a:solidFill>
                <a:latin typeface="微软雅黑" panose="020b0503020204020204" pitchFamily="34" charset="-122"/>
                <a:ea typeface="微软雅黑" panose="020b0503020204020204" pitchFamily="34" charset="-122"/>
              </a:rPr>
              <a:t>金融</a:t>
            </a:r>
            <a:endParaRPr lang="zh-CN" altLang="en-US" sz="2100" b="1">
              <a:solidFill>
                <a:schemeClr val="bg1"/>
              </a:solidFill>
              <a:latin typeface="微软雅黑" panose="020b0503020204020204" pitchFamily="34" charset="-122"/>
              <a:ea typeface="微软雅黑" panose="020b0503020204020204" pitchFamily="34" charset="-122"/>
            </a:endParaRPr>
          </a:p>
        </p:txBody>
      </p:sp>
      <p:sp>
        <p:nvSpPr>
          <p:cNvPr id="39" name="矩形 38"/>
          <p:cNvSpPr/>
          <p:nvPr/>
        </p:nvSpPr>
        <p:spPr>
          <a:xfrm>
            <a:off x="6298917" y="2820020"/>
            <a:ext cx="1659899" cy="248209"/>
          </a:xfrm>
          <a:prstGeom prst="rect">
            <a:avLst/>
          </a:prstGeom>
        </p:spPr>
        <p:txBody>
          <a:bodyPr wrap="square">
            <a:spAutoFit/>
          </a:bodyPr>
          <a:lstStyle/>
          <a:p>
            <a:pPr lvl="0"/>
            <a:r>
              <a:rPr lang="zh-CN" altLang="en-US" sz="1015" b="1">
                <a:solidFill>
                  <a:schemeClr val="bg1">
                    <a:lumMod val="50000"/>
                  </a:schemeClr>
                </a:solidFill>
                <a:latin typeface="微软雅黑" panose="020b0503020204020204" pitchFamily="34" charset="-122"/>
                <a:ea typeface="微软雅黑" panose="020b0503020204020204" pitchFamily="34" charset="-122"/>
              </a:rPr>
              <a:t>请添加您的内容</a:t>
            </a:r>
            <a:endParaRPr lang="zh-CN" altLang="en-US" sz="1015" b="1">
              <a:solidFill>
                <a:schemeClr val="bg1">
                  <a:lumMod val="50000"/>
                </a:schemeClr>
              </a:solidFill>
              <a:latin typeface="微软雅黑" panose="020b0503020204020204" pitchFamily="34" charset="-122"/>
              <a:ea typeface="微软雅黑" panose="020b0503020204020204" pitchFamily="34" charset="-122"/>
            </a:endParaRPr>
          </a:p>
        </p:txBody>
      </p:sp>
      <p:sp>
        <p:nvSpPr>
          <p:cNvPr id="40" name="矩形 39"/>
          <p:cNvSpPr/>
          <p:nvPr/>
        </p:nvSpPr>
        <p:spPr>
          <a:xfrm>
            <a:off x="6293675" y="3064729"/>
            <a:ext cx="1961667" cy="674031"/>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可通过右键选择只保留文本来粘贴您的内容。</a:t>
            </a: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pP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p:txBody>
      </p:sp>
      <p:sp>
        <p:nvSpPr>
          <p:cNvPr id="41" name="矩形 40"/>
          <p:cNvSpPr/>
          <p:nvPr/>
        </p:nvSpPr>
        <p:spPr>
          <a:xfrm>
            <a:off x="4900643" y="3021866"/>
            <a:ext cx="889286" cy="415498"/>
          </a:xfrm>
          <a:prstGeom prst="rect">
            <a:avLst/>
          </a:prstGeom>
        </p:spPr>
        <p:txBody>
          <a:bodyPr wrap="square">
            <a:spAutoFit/>
          </a:bodyPr>
          <a:lstStyle/>
          <a:p>
            <a:pPr lvl="0"/>
            <a:r>
              <a:rPr lang="zh-CN" altLang="en-US" sz="2100" b="1">
                <a:solidFill>
                  <a:schemeClr val="bg1"/>
                </a:solidFill>
                <a:latin typeface="微软雅黑" panose="020b0503020204020204" pitchFamily="34" charset="-122"/>
                <a:ea typeface="微软雅黑" panose="020b0503020204020204" pitchFamily="34" charset="-122"/>
              </a:rPr>
              <a:t>娱乐</a:t>
            </a:r>
            <a:endParaRPr lang="zh-CN" altLang="en-US" sz="2100" b="1">
              <a:solidFill>
                <a:schemeClr val="bg1"/>
              </a:solidFill>
              <a:latin typeface="微软雅黑" panose="020b0503020204020204" pitchFamily="34" charset="-122"/>
              <a:ea typeface="微软雅黑" panose="020b0503020204020204" pitchFamily="34" charset="-122"/>
            </a:endParaRPr>
          </a:p>
        </p:txBody>
      </p:sp>
      <p:sp>
        <p:nvSpPr>
          <p:cNvPr id="42" name="矩形 41"/>
          <p:cNvSpPr/>
          <p:nvPr/>
        </p:nvSpPr>
        <p:spPr>
          <a:xfrm>
            <a:off x="6312609" y="3737582"/>
            <a:ext cx="1659899" cy="248209"/>
          </a:xfrm>
          <a:prstGeom prst="rect">
            <a:avLst/>
          </a:prstGeom>
        </p:spPr>
        <p:txBody>
          <a:bodyPr wrap="square">
            <a:spAutoFit/>
          </a:bodyPr>
          <a:lstStyle/>
          <a:p>
            <a:pPr lvl="0"/>
            <a:r>
              <a:rPr lang="zh-CN" altLang="en-US" sz="1015" b="1">
                <a:solidFill>
                  <a:schemeClr val="bg1">
                    <a:lumMod val="50000"/>
                  </a:schemeClr>
                </a:solidFill>
                <a:latin typeface="微软雅黑" panose="020b0503020204020204" pitchFamily="34" charset="-122"/>
                <a:ea typeface="微软雅黑" panose="020b0503020204020204" pitchFamily="34" charset="-122"/>
              </a:rPr>
              <a:t>请添加您的内容</a:t>
            </a:r>
            <a:endParaRPr lang="zh-CN" altLang="en-US" sz="1015" b="1">
              <a:solidFill>
                <a:schemeClr val="bg1">
                  <a:lumMod val="50000"/>
                </a:schemeClr>
              </a:solidFill>
              <a:latin typeface="微软雅黑" panose="020b0503020204020204" pitchFamily="34" charset="-122"/>
              <a:ea typeface="微软雅黑" panose="020b0503020204020204" pitchFamily="34" charset="-122"/>
            </a:endParaRPr>
          </a:p>
        </p:txBody>
      </p:sp>
      <p:sp>
        <p:nvSpPr>
          <p:cNvPr id="43" name="矩形 42"/>
          <p:cNvSpPr/>
          <p:nvPr/>
        </p:nvSpPr>
        <p:spPr>
          <a:xfrm>
            <a:off x="6307367" y="3982291"/>
            <a:ext cx="1961667" cy="674031"/>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可通过右键选择只保留文本来粘贴您的内容。</a:t>
            </a: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pP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p:txBody>
      </p:sp>
      <p:sp>
        <p:nvSpPr>
          <p:cNvPr id="44" name="矩形 43"/>
          <p:cNvSpPr/>
          <p:nvPr/>
        </p:nvSpPr>
        <p:spPr>
          <a:xfrm>
            <a:off x="4914335" y="3939428"/>
            <a:ext cx="889286" cy="415498"/>
          </a:xfrm>
          <a:prstGeom prst="rect">
            <a:avLst/>
          </a:prstGeom>
        </p:spPr>
        <p:txBody>
          <a:bodyPr wrap="square">
            <a:spAutoFit/>
          </a:bodyPr>
          <a:lstStyle/>
          <a:p>
            <a:pPr lvl="0"/>
            <a:r>
              <a:rPr lang="zh-CN" altLang="en-US" sz="2100" b="1">
                <a:solidFill>
                  <a:schemeClr val="bg1"/>
                </a:solidFill>
                <a:latin typeface="微软雅黑" panose="020b0503020204020204" pitchFamily="34" charset="-122"/>
                <a:ea typeface="微软雅黑" panose="020b0503020204020204" pitchFamily="34" charset="-122"/>
              </a:rPr>
              <a:t>汽车</a:t>
            </a:r>
            <a:endParaRPr lang="zh-CN" altLang="en-US" sz="2100" b="1">
              <a:solidFill>
                <a:schemeClr val="bg1"/>
              </a:solidFill>
              <a:latin typeface="微软雅黑" panose="020b0503020204020204" pitchFamily="34" charset="-122"/>
              <a:ea typeface="微软雅黑" panose="020b0503020204020204" pitchFamily="34" charset="-122"/>
            </a:endParaRPr>
          </a:p>
        </p:txBody>
      </p:sp>
      <p:sp>
        <p:nvSpPr>
          <p:cNvPr id="45" name="矩形 44"/>
          <p:cNvSpPr/>
          <p:nvPr/>
        </p:nvSpPr>
        <p:spPr>
          <a:xfrm>
            <a:off x="742816" y="2310738"/>
            <a:ext cx="1374155" cy="323165"/>
          </a:xfrm>
          <a:prstGeom prst="rect">
            <a:avLst/>
          </a:prstGeom>
        </p:spPr>
        <p:txBody>
          <a:bodyPr wrap="square">
            <a:spAutoFit/>
          </a:bodyPr>
          <a:lstStyle/>
          <a:p>
            <a:pPr lvl="0"/>
            <a:r>
              <a:rPr lang="zh-CN" altLang="en-US" sz="1500" b="1">
                <a:solidFill>
                  <a:schemeClr val="bg1">
                    <a:lumMod val="50000"/>
                  </a:schemeClr>
                </a:solidFill>
                <a:latin typeface="微软雅黑" panose="020b0503020204020204" pitchFamily="34" charset="-122"/>
                <a:ea typeface="微软雅黑" panose="020b0503020204020204" pitchFamily="34" charset="-122"/>
              </a:rPr>
              <a:t>请添加内容</a:t>
            </a:r>
            <a:endParaRPr lang="zh-CN" altLang="en-US" sz="1500" b="1">
              <a:solidFill>
                <a:schemeClr val="bg1">
                  <a:lumMod val="50000"/>
                </a:schemeClr>
              </a:solidFill>
              <a:latin typeface="微软雅黑" panose="020b0503020204020204" pitchFamily="34" charset="-122"/>
              <a:ea typeface="微软雅黑" panose="020b0503020204020204" pitchFamily="34" charset="-122"/>
            </a:endParaRPr>
          </a:p>
        </p:txBody>
      </p:sp>
      <p:sp>
        <p:nvSpPr>
          <p:cNvPr id="46" name="矩形 45"/>
          <p:cNvSpPr/>
          <p:nvPr/>
        </p:nvSpPr>
        <p:spPr>
          <a:xfrm>
            <a:off x="683568" y="2653006"/>
            <a:ext cx="1379397" cy="867930"/>
          </a:xfrm>
          <a:prstGeom prst="rect">
            <a:avLst/>
          </a:prstGeom>
        </p:spPr>
        <p:txBody>
          <a:bodyPr wrap="square">
            <a:spAutoFit/>
          </a:bodyPr>
          <a:lstStyle/>
          <a:p>
            <a:pPr>
              <a:lnSpc>
                <a:spcPct val="120000"/>
              </a:lnSpc>
            </a:pPr>
            <a:r>
              <a:rPr lang="zh-CN" altLang="en-US" sz="1050">
                <a:solidFill>
                  <a:schemeClr val="bg1">
                    <a:lumMod val="50000"/>
                  </a:schemeClr>
                </a:solidFill>
                <a:latin typeface="微软雅黑" panose="020b0503020204020204" pitchFamily="34" charset="-122"/>
                <a:ea typeface="微软雅黑" panose="020b0503020204020204" pitchFamily="34" charset="-122"/>
              </a:rPr>
              <a:t>可通过右键选择只保留文本来粘贴您的内容。</a:t>
            </a: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a:p>
            <a:pPr>
              <a:lnSpc>
                <a:spcPct val="120000"/>
              </a:lnSpc>
            </a:pPr>
            <a:endParaRPr lang="zh-CN" altLang="en-US" sz="105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3" presetClass="entr" presetSubtype="16" fill="hold" grpId="0" nodeType="afterEffect">
                                  <p:stCondLst>
                                    <p:cond delay="0"/>
                                  </p:stCondLst>
                                  <p:iterate type="lt">
                                    <p:tmPct val="10000"/>
                                  </p:iterate>
                                  <p:childTnLst>
                                    <p:set>
                                      <p:cBhvr>
                                        <p:cTn id="6" dur="1" fill="hold">
                                          <p:stCondLst>
                                            <p:cond delay="0"/>
                                          </p:stCondLst>
                                        </p:cTn>
                                        <p:tgtEl>
                                          <p:spTgt spid="45"/>
                                        </p:tgtEl>
                                        <p:attrNameLst>
                                          <p:attrName>style.visibility</p:attrName>
                                        </p:attrNameLst>
                                      </p:cBhvr>
                                      <p:to>
                                        <p:strVal val="visible"/>
                                      </p:to>
                                    </p:set>
                                    <p:anim calcmode="lin" valueType="num">
                                      <p:cBhvr>
                                        <p:cTn id="7" dur="500" fill="hold"/>
                                        <p:tgtEl>
                                          <p:spTgt spid="45"/>
                                        </p:tgtEl>
                                        <p:attrNameLst>
                                          <p:attrName>ppt_w</p:attrName>
                                        </p:attrNameLst>
                                      </p:cBhvr>
                                      <p:tavLst>
                                        <p:tav tm="0">
                                          <p:val>
                                            <p:fltVal val="0"/>
                                          </p:val>
                                        </p:tav>
                                        <p:tav tm="100000">
                                          <p:val>
                                            <p:strVal val="#ppt_w"/>
                                          </p:val>
                                        </p:tav>
                                      </p:tavLst>
                                    </p:anim>
                                    <p:anim calcmode="lin" valueType="num">
                                      <p:cBhvr>
                                        <p:cTn id="8" dur="500" fill="hold"/>
                                        <p:tgtEl>
                                          <p:spTgt spid="45"/>
                                        </p:tgtEl>
                                        <p:attrNameLst>
                                          <p:attrName>ppt_h</p:attrName>
                                        </p:attrNameLst>
                                      </p:cBhvr>
                                      <p:tavLst>
                                        <p:tav tm="0">
                                          <p:val>
                                            <p:fltVal val="0"/>
                                          </p:val>
                                        </p:tav>
                                        <p:tav tm="100000">
                                          <p:val>
                                            <p:strVal val="#ppt_h"/>
                                          </p:val>
                                        </p:tav>
                                      </p:tavLst>
                                    </p:anim>
                                  </p:childTnLst>
                                </p:cTn>
                              </p:par>
                            </p:childTnLst>
                          </p:cTn>
                        </p:par>
                        <p:par>
                          <p:cTn id="9" fill="hold" nodeType="afterGroup">
                            <p:stCondLst>
                              <p:cond delay="500"/>
                            </p:stCondLst>
                            <p:childTnLst>
                              <p:par>
                                <p:cTn id="10" presetID="14" presetClass="entr" presetSubtype="10" fill="hold" grpId="0" nodeType="after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randombar(horizontal)">
                                      <p:cBhvr>
                                        <p:cTn id="12" dur="250"/>
                                        <p:tgtEl>
                                          <p:spTgt spid="46"/>
                                        </p:tgtEl>
                                      </p:cBhvr>
                                    </p:animEffect>
                                  </p:childTnLst>
                                </p:cTn>
                              </p:par>
                            </p:childTnLst>
                          </p:cTn>
                        </p:par>
                        <p:par>
                          <p:cTn id="13" fill="hold" nodeType="afterGroup">
                            <p:stCondLst>
                              <p:cond delay="750"/>
                            </p:stCondLst>
                            <p:childTnLst>
                              <p:par>
                                <p:cTn id="14" presetID="2" presetClass="entr" presetSubtype="8" fill="hold" nodeType="afterEffect">
                                  <p:stCondLst>
                                    <p:cond delay="0"/>
                                  </p:stCondLst>
                                  <p:childTnLst>
                                    <p:set>
                                      <p:cBhvr>
                                        <p:cTn id="15" dur="1" fill="hold">
                                          <p:stCondLst>
                                            <p:cond delay="0"/>
                                          </p:stCondLst>
                                        </p:cTn>
                                        <p:tgtEl>
                                          <p:spTgt spid="22"/>
                                        </p:tgtEl>
                                        <p:attrNameLst>
                                          <p:attrName>style.visibility</p:attrName>
                                        </p:attrNameLst>
                                      </p:cBhvr>
                                      <p:to>
                                        <p:strVal val="visible"/>
                                      </p:to>
                                    </p:set>
                                    <p:anim calcmode="lin" valueType="num">
                                      <p:cBhvr additive="base">
                                        <p:cTn id="16" dur="500" fill="hold"/>
                                        <p:tgtEl>
                                          <p:spTgt spid="22"/>
                                        </p:tgtEl>
                                        <p:attrNameLst>
                                          <p:attrName>ppt_x</p:attrName>
                                        </p:attrNameLst>
                                      </p:cBhvr>
                                      <p:tavLst>
                                        <p:tav tm="0">
                                          <p:val>
                                            <p:strVal val="0-#ppt_w/2"/>
                                          </p:val>
                                        </p:tav>
                                        <p:tav tm="100000">
                                          <p:val>
                                            <p:strVal val="#ppt_x"/>
                                          </p:val>
                                        </p:tav>
                                      </p:tavLst>
                                    </p:anim>
                                    <p:anim calcmode="lin" valueType="num">
                                      <p:cBhvr additive="base">
                                        <p:cTn id="17" dur="500" fill="hold"/>
                                        <p:tgtEl>
                                          <p:spTgt spid="22"/>
                                        </p:tgtEl>
                                        <p:attrNameLst>
                                          <p:attrName>ppt_y</p:attrName>
                                        </p:attrNameLst>
                                      </p:cBhvr>
                                      <p:tavLst>
                                        <p:tav tm="0">
                                          <p:val>
                                            <p:strVal val="#ppt_y"/>
                                          </p:val>
                                        </p:tav>
                                        <p:tav tm="100000">
                                          <p:val>
                                            <p:strVal val="#ppt_y"/>
                                          </p:val>
                                        </p:tav>
                                      </p:tavLst>
                                    </p:anim>
                                  </p:childTnLst>
                                </p:cTn>
                              </p:par>
                            </p:childTnLst>
                          </p:cTn>
                        </p:par>
                        <p:par>
                          <p:cTn id="18" fill="hold" nodeType="afterGroup">
                            <p:stCondLst>
                              <p:cond delay="1250"/>
                            </p:stCondLst>
                            <p:childTnLst>
                              <p:par>
                                <p:cTn id="19" presetID="22" presetClass="entr" presetSubtype="8" fill="hold"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ipe(left)">
                                      <p:cBhvr>
                                        <p:cTn id="21" dur="500"/>
                                        <p:tgtEl>
                                          <p:spTgt spid="21"/>
                                        </p:tgtEl>
                                      </p:cBhvr>
                                    </p:animEffect>
                                  </p:childTnLst>
                                </p:cTn>
                              </p:par>
                            </p:childTnLst>
                          </p:cTn>
                        </p:par>
                        <p:par>
                          <p:cTn id="22" fill="hold" nodeType="afterGroup">
                            <p:stCondLst>
                              <p:cond delay="1750"/>
                            </p:stCondLst>
                            <p:childTnLst>
                              <p:par>
                                <p:cTn id="23" presetID="23" presetClass="entr" presetSubtype="16" fill="hold" grpId="0" nodeType="afterEffect">
                                  <p:stCondLst>
                                    <p:cond delay="0"/>
                                  </p:stCondLst>
                                  <p:iterate type="lt">
                                    <p:tmPct val="10000"/>
                                  </p:iterate>
                                  <p:childTnLst>
                                    <p:set>
                                      <p:cBhvr>
                                        <p:cTn id="24" dur="1" fill="hold">
                                          <p:stCondLst>
                                            <p:cond delay="0"/>
                                          </p:stCondLst>
                                        </p:cTn>
                                        <p:tgtEl>
                                          <p:spTgt spid="35"/>
                                        </p:tgtEl>
                                        <p:attrNameLst>
                                          <p:attrName>style.visibility</p:attrName>
                                        </p:attrNameLst>
                                      </p:cBhvr>
                                      <p:to>
                                        <p:strVal val="visible"/>
                                      </p:to>
                                    </p:set>
                                    <p:anim calcmode="lin" valueType="num">
                                      <p:cBhvr>
                                        <p:cTn id="25" dur="500" fill="hold"/>
                                        <p:tgtEl>
                                          <p:spTgt spid="35"/>
                                        </p:tgtEl>
                                        <p:attrNameLst>
                                          <p:attrName>ppt_w</p:attrName>
                                        </p:attrNameLst>
                                      </p:cBhvr>
                                      <p:tavLst>
                                        <p:tav tm="0">
                                          <p:val>
                                            <p:fltVal val="0"/>
                                          </p:val>
                                        </p:tav>
                                        <p:tav tm="100000">
                                          <p:val>
                                            <p:strVal val="#ppt_w"/>
                                          </p:val>
                                        </p:tav>
                                      </p:tavLst>
                                    </p:anim>
                                    <p:anim calcmode="lin" valueType="num">
                                      <p:cBhvr>
                                        <p:cTn id="26" dur="500" fill="hold"/>
                                        <p:tgtEl>
                                          <p:spTgt spid="35"/>
                                        </p:tgtEl>
                                        <p:attrNameLst>
                                          <p:attrName>ppt_h</p:attrName>
                                        </p:attrNameLst>
                                      </p:cBhvr>
                                      <p:tavLst>
                                        <p:tav tm="0">
                                          <p:val>
                                            <p:fltVal val="0"/>
                                          </p:val>
                                        </p:tav>
                                        <p:tav tm="100000">
                                          <p:val>
                                            <p:strVal val="#ppt_h"/>
                                          </p:val>
                                        </p:tav>
                                      </p:tavLst>
                                    </p:anim>
                                  </p:childTnLst>
                                </p:cTn>
                              </p:par>
                            </p:childTnLst>
                          </p:cTn>
                        </p:par>
                        <p:par>
                          <p:cTn id="27" fill="hold" nodeType="afterGroup">
                            <p:stCondLst>
                              <p:cond delay="2250"/>
                            </p:stCondLst>
                            <p:childTnLst>
                              <p:par>
                                <p:cTn id="28" presetID="23" presetClass="entr" presetSubtype="16" fill="hold" grpId="0" nodeType="afterEffect">
                                  <p:stCondLst>
                                    <p:cond delay="0"/>
                                  </p:stCondLst>
                                  <p:iterate type="lt">
                                    <p:tmPct val="10000"/>
                                  </p:iterate>
                                  <p:childTnLst>
                                    <p:set>
                                      <p:cBhvr>
                                        <p:cTn id="29" dur="1" fill="hold">
                                          <p:stCondLst>
                                            <p:cond delay="0"/>
                                          </p:stCondLst>
                                        </p:cTn>
                                        <p:tgtEl>
                                          <p:spTgt spid="33"/>
                                        </p:tgtEl>
                                        <p:attrNameLst>
                                          <p:attrName>style.visibility</p:attrName>
                                        </p:attrNameLst>
                                      </p:cBhvr>
                                      <p:to>
                                        <p:strVal val="visible"/>
                                      </p:to>
                                    </p:set>
                                    <p:anim calcmode="lin" valueType="num">
                                      <p:cBhvr>
                                        <p:cTn id="30" dur="250" fill="hold"/>
                                        <p:tgtEl>
                                          <p:spTgt spid="33"/>
                                        </p:tgtEl>
                                        <p:attrNameLst>
                                          <p:attrName>ppt_w</p:attrName>
                                        </p:attrNameLst>
                                      </p:cBhvr>
                                      <p:tavLst>
                                        <p:tav tm="0">
                                          <p:val>
                                            <p:fltVal val="0"/>
                                          </p:val>
                                        </p:tav>
                                        <p:tav tm="100000">
                                          <p:val>
                                            <p:strVal val="#ppt_w"/>
                                          </p:val>
                                        </p:tav>
                                      </p:tavLst>
                                    </p:anim>
                                    <p:anim calcmode="lin" valueType="num">
                                      <p:cBhvr>
                                        <p:cTn id="31" dur="250" fill="hold"/>
                                        <p:tgtEl>
                                          <p:spTgt spid="33"/>
                                        </p:tgtEl>
                                        <p:attrNameLst>
                                          <p:attrName>ppt_h</p:attrName>
                                        </p:attrNameLst>
                                      </p:cBhvr>
                                      <p:tavLst>
                                        <p:tav tm="0">
                                          <p:val>
                                            <p:fltVal val="0"/>
                                          </p:val>
                                        </p:tav>
                                        <p:tav tm="100000">
                                          <p:val>
                                            <p:strVal val="#ppt_h"/>
                                          </p:val>
                                        </p:tav>
                                      </p:tavLst>
                                    </p:anim>
                                  </p:childTnLst>
                                </p:cTn>
                              </p:par>
                            </p:childTnLst>
                          </p:cTn>
                        </p:par>
                        <p:par>
                          <p:cTn id="32" fill="hold" nodeType="afterGroup">
                            <p:stCondLst>
                              <p:cond delay="2500"/>
                            </p:stCondLst>
                            <p:childTnLst>
                              <p:par>
                                <p:cTn id="33" presetID="14" presetClass="entr" presetSubtype="10" fill="hold" grpId="0"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randombar(horizontal)">
                                      <p:cBhvr>
                                        <p:cTn id="35" dur="250"/>
                                        <p:tgtEl>
                                          <p:spTgt spid="34"/>
                                        </p:tgtEl>
                                      </p:cBhvr>
                                    </p:animEffect>
                                  </p:childTnLst>
                                </p:cTn>
                              </p:par>
                            </p:childTnLst>
                          </p:cTn>
                        </p:par>
                        <p:par>
                          <p:cTn id="36" fill="hold" nodeType="afterGroup">
                            <p:stCondLst>
                              <p:cond delay="2750"/>
                            </p:stCondLst>
                            <p:childTnLst>
                              <p:par>
                                <p:cTn id="37" presetID="22" presetClass="entr" presetSubtype="8" fill="hold"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wipe(left)">
                                      <p:cBhvr>
                                        <p:cTn id="39" dur="500"/>
                                        <p:tgtEl>
                                          <p:spTgt spid="10"/>
                                        </p:tgtEl>
                                      </p:cBhvr>
                                    </p:animEffect>
                                  </p:childTnLst>
                                </p:cTn>
                              </p:par>
                            </p:childTnLst>
                          </p:cTn>
                        </p:par>
                        <p:par>
                          <p:cTn id="40" fill="hold" nodeType="afterGroup">
                            <p:stCondLst>
                              <p:cond delay="3250"/>
                            </p:stCondLst>
                            <p:childTnLst>
                              <p:par>
                                <p:cTn id="41" presetID="23" presetClass="entr" presetSubtype="16" fill="hold" grpId="0" nodeType="afterEffect">
                                  <p:stCondLst>
                                    <p:cond delay="0"/>
                                  </p:stCondLst>
                                  <p:iterate type="lt">
                                    <p:tmPct val="10000"/>
                                  </p:iterate>
                                  <p:childTnLst>
                                    <p:set>
                                      <p:cBhvr>
                                        <p:cTn id="42" dur="1" fill="hold">
                                          <p:stCondLst>
                                            <p:cond delay="0"/>
                                          </p:stCondLst>
                                        </p:cTn>
                                        <p:tgtEl>
                                          <p:spTgt spid="38"/>
                                        </p:tgtEl>
                                        <p:attrNameLst>
                                          <p:attrName>style.visibility</p:attrName>
                                        </p:attrNameLst>
                                      </p:cBhvr>
                                      <p:to>
                                        <p:strVal val="visible"/>
                                      </p:to>
                                    </p:set>
                                    <p:anim calcmode="lin" valueType="num">
                                      <p:cBhvr>
                                        <p:cTn id="43" dur="500" fill="hold"/>
                                        <p:tgtEl>
                                          <p:spTgt spid="38"/>
                                        </p:tgtEl>
                                        <p:attrNameLst>
                                          <p:attrName>ppt_w</p:attrName>
                                        </p:attrNameLst>
                                      </p:cBhvr>
                                      <p:tavLst>
                                        <p:tav tm="0">
                                          <p:val>
                                            <p:fltVal val="0"/>
                                          </p:val>
                                        </p:tav>
                                        <p:tav tm="100000">
                                          <p:val>
                                            <p:strVal val="#ppt_w"/>
                                          </p:val>
                                        </p:tav>
                                      </p:tavLst>
                                    </p:anim>
                                    <p:anim calcmode="lin" valueType="num">
                                      <p:cBhvr>
                                        <p:cTn id="44" dur="500" fill="hold"/>
                                        <p:tgtEl>
                                          <p:spTgt spid="38"/>
                                        </p:tgtEl>
                                        <p:attrNameLst>
                                          <p:attrName>ppt_h</p:attrName>
                                        </p:attrNameLst>
                                      </p:cBhvr>
                                      <p:tavLst>
                                        <p:tav tm="0">
                                          <p:val>
                                            <p:fltVal val="0"/>
                                          </p:val>
                                        </p:tav>
                                        <p:tav tm="100000">
                                          <p:val>
                                            <p:strVal val="#ppt_h"/>
                                          </p:val>
                                        </p:tav>
                                      </p:tavLst>
                                    </p:anim>
                                  </p:childTnLst>
                                </p:cTn>
                              </p:par>
                            </p:childTnLst>
                          </p:cTn>
                        </p:par>
                        <p:par>
                          <p:cTn id="45" fill="hold" nodeType="afterGroup">
                            <p:stCondLst>
                              <p:cond delay="3750"/>
                            </p:stCondLst>
                            <p:childTnLst>
                              <p:par>
                                <p:cTn id="46" presetID="23" presetClass="entr" presetSubtype="16" fill="hold" grpId="0" nodeType="afterEffect">
                                  <p:stCondLst>
                                    <p:cond delay="0"/>
                                  </p:stCondLst>
                                  <p:iterate type="lt">
                                    <p:tmPct val="10000"/>
                                  </p:iterate>
                                  <p:childTnLst>
                                    <p:set>
                                      <p:cBhvr>
                                        <p:cTn id="47" dur="1" fill="hold">
                                          <p:stCondLst>
                                            <p:cond delay="0"/>
                                          </p:stCondLst>
                                        </p:cTn>
                                        <p:tgtEl>
                                          <p:spTgt spid="36"/>
                                        </p:tgtEl>
                                        <p:attrNameLst>
                                          <p:attrName>style.visibility</p:attrName>
                                        </p:attrNameLst>
                                      </p:cBhvr>
                                      <p:to>
                                        <p:strVal val="visible"/>
                                      </p:to>
                                    </p:set>
                                    <p:anim calcmode="lin" valueType="num">
                                      <p:cBhvr>
                                        <p:cTn id="48" dur="250" fill="hold"/>
                                        <p:tgtEl>
                                          <p:spTgt spid="36"/>
                                        </p:tgtEl>
                                        <p:attrNameLst>
                                          <p:attrName>ppt_w</p:attrName>
                                        </p:attrNameLst>
                                      </p:cBhvr>
                                      <p:tavLst>
                                        <p:tav tm="0">
                                          <p:val>
                                            <p:fltVal val="0"/>
                                          </p:val>
                                        </p:tav>
                                        <p:tav tm="100000">
                                          <p:val>
                                            <p:strVal val="#ppt_w"/>
                                          </p:val>
                                        </p:tav>
                                      </p:tavLst>
                                    </p:anim>
                                    <p:anim calcmode="lin" valueType="num">
                                      <p:cBhvr>
                                        <p:cTn id="49" dur="250" fill="hold"/>
                                        <p:tgtEl>
                                          <p:spTgt spid="36"/>
                                        </p:tgtEl>
                                        <p:attrNameLst>
                                          <p:attrName>ppt_h</p:attrName>
                                        </p:attrNameLst>
                                      </p:cBhvr>
                                      <p:tavLst>
                                        <p:tav tm="0">
                                          <p:val>
                                            <p:fltVal val="0"/>
                                          </p:val>
                                        </p:tav>
                                        <p:tav tm="100000">
                                          <p:val>
                                            <p:strVal val="#ppt_h"/>
                                          </p:val>
                                        </p:tav>
                                      </p:tavLst>
                                    </p:anim>
                                  </p:childTnLst>
                                </p:cTn>
                              </p:par>
                            </p:childTnLst>
                          </p:cTn>
                        </p:par>
                        <p:par>
                          <p:cTn id="50" fill="hold" nodeType="afterGroup">
                            <p:stCondLst>
                              <p:cond delay="4000"/>
                            </p:stCondLst>
                            <p:childTnLst>
                              <p:par>
                                <p:cTn id="51" presetID="14" presetClass="entr" presetSubtype="10" fill="hold" grpId="0" nodeType="after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randombar(horizontal)">
                                      <p:cBhvr>
                                        <p:cTn id="53" dur="250"/>
                                        <p:tgtEl>
                                          <p:spTgt spid="37"/>
                                        </p:tgtEl>
                                      </p:cBhvr>
                                    </p:animEffect>
                                  </p:childTnLst>
                                </p:cTn>
                              </p:par>
                            </p:childTnLst>
                          </p:cTn>
                        </p:par>
                        <p:par>
                          <p:cTn id="54" fill="hold" nodeType="afterGroup">
                            <p:stCondLst>
                              <p:cond delay="4250"/>
                            </p:stCondLst>
                            <p:childTnLst>
                              <p:par>
                                <p:cTn id="55" presetID="22" presetClass="entr" presetSubtype="8" fill="hold" nodeType="afterEffect">
                                  <p:stCondLst>
                                    <p:cond delay="0"/>
                                  </p:stCondLst>
                                  <p:childTnLst>
                                    <p:set>
                                      <p:cBhvr>
                                        <p:cTn id="56" dur="1" fill="hold">
                                          <p:stCondLst>
                                            <p:cond delay="0"/>
                                          </p:stCondLst>
                                        </p:cTn>
                                        <p:tgtEl>
                                          <p:spTgt spid="11"/>
                                        </p:tgtEl>
                                        <p:attrNameLst>
                                          <p:attrName>style.visibility</p:attrName>
                                        </p:attrNameLst>
                                      </p:cBhvr>
                                      <p:to>
                                        <p:strVal val="visible"/>
                                      </p:to>
                                    </p:set>
                                    <p:animEffect transition="in" filter="wipe(left)">
                                      <p:cBhvr>
                                        <p:cTn id="57" dur="500"/>
                                        <p:tgtEl>
                                          <p:spTgt spid="11"/>
                                        </p:tgtEl>
                                      </p:cBhvr>
                                    </p:animEffect>
                                  </p:childTnLst>
                                </p:cTn>
                              </p:par>
                            </p:childTnLst>
                          </p:cTn>
                        </p:par>
                        <p:par>
                          <p:cTn id="58" fill="hold" nodeType="afterGroup">
                            <p:stCondLst>
                              <p:cond delay="4750"/>
                            </p:stCondLst>
                            <p:childTnLst>
                              <p:par>
                                <p:cTn id="59" presetID="23" presetClass="entr" presetSubtype="16" fill="hold" grpId="0" nodeType="afterEffect">
                                  <p:stCondLst>
                                    <p:cond delay="0"/>
                                  </p:stCondLst>
                                  <p:iterate type="lt">
                                    <p:tmPct val="10000"/>
                                  </p:iterate>
                                  <p:childTnLst>
                                    <p:set>
                                      <p:cBhvr>
                                        <p:cTn id="60" dur="1" fill="hold">
                                          <p:stCondLst>
                                            <p:cond delay="0"/>
                                          </p:stCondLst>
                                        </p:cTn>
                                        <p:tgtEl>
                                          <p:spTgt spid="41"/>
                                        </p:tgtEl>
                                        <p:attrNameLst>
                                          <p:attrName>style.visibility</p:attrName>
                                        </p:attrNameLst>
                                      </p:cBhvr>
                                      <p:to>
                                        <p:strVal val="visible"/>
                                      </p:to>
                                    </p:set>
                                    <p:anim calcmode="lin" valueType="num">
                                      <p:cBhvr>
                                        <p:cTn id="61" dur="500" fill="hold"/>
                                        <p:tgtEl>
                                          <p:spTgt spid="41"/>
                                        </p:tgtEl>
                                        <p:attrNameLst>
                                          <p:attrName>ppt_w</p:attrName>
                                        </p:attrNameLst>
                                      </p:cBhvr>
                                      <p:tavLst>
                                        <p:tav tm="0">
                                          <p:val>
                                            <p:fltVal val="0"/>
                                          </p:val>
                                        </p:tav>
                                        <p:tav tm="100000">
                                          <p:val>
                                            <p:strVal val="#ppt_w"/>
                                          </p:val>
                                        </p:tav>
                                      </p:tavLst>
                                    </p:anim>
                                    <p:anim calcmode="lin" valueType="num">
                                      <p:cBhvr>
                                        <p:cTn id="62" dur="500" fill="hold"/>
                                        <p:tgtEl>
                                          <p:spTgt spid="41"/>
                                        </p:tgtEl>
                                        <p:attrNameLst>
                                          <p:attrName>ppt_h</p:attrName>
                                        </p:attrNameLst>
                                      </p:cBhvr>
                                      <p:tavLst>
                                        <p:tav tm="0">
                                          <p:val>
                                            <p:fltVal val="0"/>
                                          </p:val>
                                        </p:tav>
                                        <p:tav tm="100000">
                                          <p:val>
                                            <p:strVal val="#ppt_h"/>
                                          </p:val>
                                        </p:tav>
                                      </p:tavLst>
                                    </p:anim>
                                  </p:childTnLst>
                                </p:cTn>
                              </p:par>
                            </p:childTnLst>
                          </p:cTn>
                        </p:par>
                        <p:par>
                          <p:cTn id="63" fill="hold" nodeType="afterGroup">
                            <p:stCondLst>
                              <p:cond delay="5250"/>
                            </p:stCondLst>
                            <p:childTnLst>
                              <p:par>
                                <p:cTn id="64" presetID="23" presetClass="entr" presetSubtype="16" fill="hold" grpId="0" nodeType="afterEffect">
                                  <p:stCondLst>
                                    <p:cond delay="0"/>
                                  </p:stCondLst>
                                  <p:iterate type="lt">
                                    <p:tmPct val="10000"/>
                                  </p:iterate>
                                  <p:childTnLst>
                                    <p:set>
                                      <p:cBhvr>
                                        <p:cTn id="65" dur="1" fill="hold">
                                          <p:stCondLst>
                                            <p:cond delay="0"/>
                                          </p:stCondLst>
                                        </p:cTn>
                                        <p:tgtEl>
                                          <p:spTgt spid="39"/>
                                        </p:tgtEl>
                                        <p:attrNameLst>
                                          <p:attrName>style.visibility</p:attrName>
                                        </p:attrNameLst>
                                      </p:cBhvr>
                                      <p:to>
                                        <p:strVal val="visible"/>
                                      </p:to>
                                    </p:set>
                                    <p:anim calcmode="lin" valueType="num">
                                      <p:cBhvr>
                                        <p:cTn id="66" dur="250" fill="hold"/>
                                        <p:tgtEl>
                                          <p:spTgt spid="39"/>
                                        </p:tgtEl>
                                        <p:attrNameLst>
                                          <p:attrName>ppt_w</p:attrName>
                                        </p:attrNameLst>
                                      </p:cBhvr>
                                      <p:tavLst>
                                        <p:tav tm="0">
                                          <p:val>
                                            <p:fltVal val="0"/>
                                          </p:val>
                                        </p:tav>
                                        <p:tav tm="100000">
                                          <p:val>
                                            <p:strVal val="#ppt_w"/>
                                          </p:val>
                                        </p:tav>
                                      </p:tavLst>
                                    </p:anim>
                                    <p:anim calcmode="lin" valueType="num">
                                      <p:cBhvr>
                                        <p:cTn id="67" dur="250" fill="hold"/>
                                        <p:tgtEl>
                                          <p:spTgt spid="39"/>
                                        </p:tgtEl>
                                        <p:attrNameLst>
                                          <p:attrName>ppt_h</p:attrName>
                                        </p:attrNameLst>
                                      </p:cBhvr>
                                      <p:tavLst>
                                        <p:tav tm="0">
                                          <p:val>
                                            <p:fltVal val="0"/>
                                          </p:val>
                                        </p:tav>
                                        <p:tav tm="100000">
                                          <p:val>
                                            <p:strVal val="#ppt_h"/>
                                          </p:val>
                                        </p:tav>
                                      </p:tavLst>
                                    </p:anim>
                                  </p:childTnLst>
                                </p:cTn>
                              </p:par>
                            </p:childTnLst>
                          </p:cTn>
                        </p:par>
                        <p:par>
                          <p:cTn id="68" fill="hold" nodeType="afterGroup">
                            <p:stCondLst>
                              <p:cond delay="5500"/>
                            </p:stCondLst>
                            <p:childTnLst>
                              <p:par>
                                <p:cTn id="69" presetID="14" presetClass="entr" presetSubtype="10" fill="hold" grpId="0" nodeType="afterEffect">
                                  <p:stCondLst>
                                    <p:cond delay="0"/>
                                  </p:stCondLst>
                                  <p:childTnLst>
                                    <p:set>
                                      <p:cBhvr>
                                        <p:cTn id="70" dur="1" fill="hold">
                                          <p:stCondLst>
                                            <p:cond delay="0"/>
                                          </p:stCondLst>
                                        </p:cTn>
                                        <p:tgtEl>
                                          <p:spTgt spid="40"/>
                                        </p:tgtEl>
                                        <p:attrNameLst>
                                          <p:attrName>style.visibility</p:attrName>
                                        </p:attrNameLst>
                                      </p:cBhvr>
                                      <p:to>
                                        <p:strVal val="visible"/>
                                      </p:to>
                                    </p:set>
                                    <p:animEffect transition="in" filter="randombar(horizontal)">
                                      <p:cBhvr>
                                        <p:cTn id="71" dur="250"/>
                                        <p:tgtEl>
                                          <p:spTgt spid="40"/>
                                        </p:tgtEl>
                                      </p:cBhvr>
                                    </p:animEffect>
                                  </p:childTnLst>
                                </p:cTn>
                              </p:par>
                            </p:childTnLst>
                          </p:cTn>
                        </p:par>
                        <p:par>
                          <p:cTn id="72" fill="hold" nodeType="afterGroup">
                            <p:stCondLst>
                              <p:cond delay="5750"/>
                            </p:stCondLst>
                            <p:childTnLst>
                              <p:par>
                                <p:cTn id="73" presetID="22" presetClass="entr" presetSubtype="8" fill="hold"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wipe(left)">
                                      <p:cBhvr>
                                        <p:cTn id="75" dur="500"/>
                                        <p:tgtEl>
                                          <p:spTgt spid="20"/>
                                        </p:tgtEl>
                                      </p:cBhvr>
                                    </p:animEffect>
                                  </p:childTnLst>
                                </p:cTn>
                              </p:par>
                            </p:childTnLst>
                          </p:cTn>
                        </p:par>
                        <p:par>
                          <p:cTn id="76" fill="hold" nodeType="afterGroup">
                            <p:stCondLst>
                              <p:cond delay="6250"/>
                            </p:stCondLst>
                            <p:childTnLst>
                              <p:par>
                                <p:cTn id="77" presetID="23" presetClass="entr" presetSubtype="16" fill="hold" grpId="0" nodeType="afterEffect">
                                  <p:stCondLst>
                                    <p:cond delay="0"/>
                                  </p:stCondLst>
                                  <p:iterate type="lt">
                                    <p:tmPct val="10000"/>
                                  </p:iterate>
                                  <p:childTnLst>
                                    <p:set>
                                      <p:cBhvr>
                                        <p:cTn id="78" dur="1" fill="hold">
                                          <p:stCondLst>
                                            <p:cond delay="0"/>
                                          </p:stCondLst>
                                        </p:cTn>
                                        <p:tgtEl>
                                          <p:spTgt spid="44"/>
                                        </p:tgtEl>
                                        <p:attrNameLst>
                                          <p:attrName>style.visibility</p:attrName>
                                        </p:attrNameLst>
                                      </p:cBhvr>
                                      <p:to>
                                        <p:strVal val="visible"/>
                                      </p:to>
                                    </p:set>
                                    <p:anim calcmode="lin" valueType="num">
                                      <p:cBhvr>
                                        <p:cTn id="79" dur="500" fill="hold"/>
                                        <p:tgtEl>
                                          <p:spTgt spid="44"/>
                                        </p:tgtEl>
                                        <p:attrNameLst>
                                          <p:attrName>ppt_w</p:attrName>
                                        </p:attrNameLst>
                                      </p:cBhvr>
                                      <p:tavLst>
                                        <p:tav tm="0">
                                          <p:val>
                                            <p:fltVal val="0"/>
                                          </p:val>
                                        </p:tav>
                                        <p:tav tm="100000">
                                          <p:val>
                                            <p:strVal val="#ppt_w"/>
                                          </p:val>
                                        </p:tav>
                                      </p:tavLst>
                                    </p:anim>
                                    <p:anim calcmode="lin" valueType="num">
                                      <p:cBhvr>
                                        <p:cTn id="80" dur="500" fill="hold"/>
                                        <p:tgtEl>
                                          <p:spTgt spid="44"/>
                                        </p:tgtEl>
                                        <p:attrNameLst>
                                          <p:attrName>ppt_h</p:attrName>
                                        </p:attrNameLst>
                                      </p:cBhvr>
                                      <p:tavLst>
                                        <p:tav tm="0">
                                          <p:val>
                                            <p:fltVal val="0"/>
                                          </p:val>
                                        </p:tav>
                                        <p:tav tm="100000">
                                          <p:val>
                                            <p:strVal val="#ppt_h"/>
                                          </p:val>
                                        </p:tav>
                                      </p:tavLst>
                                    </p:anim>
                                  </p:childTnLst>
                                </p:cTn>
                              </p:par>
                            </p:childTnLst>
                          </p:cTn>
                        </p:par>
                        <p:par>
                          <p:cTn id="81" fill="hold" nodeType="afterGroup">
                            <p:stCondLst>
                              <p:cond delay="6750"/>
                            </p:stCondLst>
                            <p:childTnLst>
                              <p:par>
                                <p:cTn id="82" presetID="23" presetClass="entr" presetSubtype="16" fill="hold" grpId="0" nodeType="afterEffect">
                                  <p:stCondLst>
                                    <p:cond delay="0"/>
                                  </p:stCondLst>
                                  <p:iterate type="lt">
                                    <p:tmPct val="10000"/>
                                  </p:iterate>
                                  <p:childTnLst>
                                    <p:set>
                                      <p:cBhvr>
                                        <p:cTn id="83" dur="1" fill="hold">
                                          <p:stCondLst>
                                            <p:cond delay="0"/>
                                          </p:stCondLst>
                                        </p:cTn>
                                        <p:tgtEl>
                                          <p:spTgt spid="42"/>
                                        </p:tgtEl>
                                        <p:attrNameLst>
                                          <p:attrName>style.visibility</p:attrName>
                                        </p:attrNameLst>
                                      </p:cBhvr>
                                      <p:to>
                                        <p:strVal val="visible"/>
                                      </p:to>
                                    </p:set>
                                    <p:anim calcmode="lin" valueType="num">
                                      <p:cBhvr>
                                        <p:cTn id="84" dur="250" fill="hold"/>
                                        <p:tgtEl>
                                          <p:spTgt spid="42"/>
                                        </p:tgtEl>
                                        <p:attrNameLst>
                                          <p:attrName>ppt_w</p:attrName>
                                        </p:attrNameLst>
                                      </p:cBhvr>
                                      <p:tavLst>
                                        <p:tav tm="0">
                                          <p:val>
                                            <p:fltVal val="0"/>
                                          </p:val>
                                        </p:tav>
                                        <p:tav tm="100000">
                                          <p:val>
                                            <p:strVal val="#ppt_w"/>
                                          </p:val>
                                        </p:tav>
                                      </p:tavLst>
                                    </p:anim>
                                    <p:anim calcmode="lin" valueType="num">
                                      <p:cBhvr>
                                        <p:cTn id="85" dur="250" fill="hold"/>
                                        <p:tgtEl>
                                          <p:spTgt spid="42"/>
                                        </p:tgtEl>
                                        <p:attrNameLst>
                                          <p:attrName>ppt_h</p:attrName>
                                        </p:attrNameLst>
                                      </p:cBhvr>
                                      <p:tavLst>
                                        <p:tav tm="0">
                                          <p:val>
                                            <p:fltVal val="0"/>
                                          </p:val>
                                        </p:tav>
                                        <p:tav tm="100000">
                                          <p:val>
                                            <p:strVal val="#ppt_h"/>
                                          </p:val>
                                        </p:tav>
                                      </p:tavLst>
                                    </p:anim>
                                  </p:childTnLst>
                                </p:cTn>
                              </p:par>
                            </p:childTnLst>
                          </p:cTn>
                        </p:par>
                        <p:par>
                          <p:cTn id="86" fill="hold" nodeType="afterGroup">
                            <p:stCondLst>
                              <p:cond delay="7000"/>
                            </p:stCondLst>
                            <p:childTnLst>
                              <p:par>
                                <p:cTn id="87" presetID="14" presetClass="entr" presetSubtype="10" fill="hold" grpId="0" nodeType="afterEffect">
                                  <p:stCondLst>
                                    <p:cond delay="0"/>
                                  </p:stCondLst>
                                  <p:childTnLst>
                                    <p:set>
                                      <p:cBhvr>
                                        <p:cTn id="88" dur="1" fill="hold">
                                          <p:stCondLst>
                                            <p:cond delay="0"/>
                                          </p:stCondLst>
                                        </p:cTn>
                                        <p:tgtEl>
                                          <p:spTgt spid="43"/>
                                        </p:tgtEl>
                                        <p:attrNameLst>
                                          <p:attrName>style.visibility</p:attrName>
                                        </p:attrNameLst>
                                      </p:cBhvr>
                                      <p:to>
                                        <p:strVal val="visible"/>
                                      </p:to>
                                    </p:set>
                                    <p:animEffect transition="in" filter="randombar(horizontal)">
                                      <p:cBhvr>
                                        <p:cTn id="89" dur="25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Lst>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6" name="图片占位符 5"/>
          <p:cNvPicPr>
            <a:picLocks noGrp="1" noChangeAspect="1"/>
          </p:cNvPicPr>
          <p:nvPr>
            <p:ph type="pic" sz="quarter" idx="4294967295"/>
          </p:nvPr>
        </p:nvPicPr>
        <p:blipFill>
          <a:blip r:embed="rId4">
            <a:extLst>
              <a:ext uri="{28A0092B-C50C-407E-A947-70E740481C1C}">
                <a14:useLocalDpi xmlns:a14="http://schemas.microsoft.com/office/drawing/2010/main" val="0"/>
              </a:ext>
            </a:extLst>
          </a:blip>
          <a:stretch>
            <a:fillRect/>
          </a:stretch>
        </p:blipFill>
        <p:spPr>
          <a:xfrm>
            <a:off x="4089400" y="760666"/>
            <a:ext cx="5054600" cy="2628392"/>
          </a:xfrm>
          <a:blipFill dpi="0" rotWithShape="1">
            <a:blip r:embed="rId3">
              <a:extLst>
                <a:ext uri="{28A0092B-C50C-407E-A947-70E740481C1C}">
                  <a14:useLocalDpi xmlns:a14="http://schemas.microsoft.com/office/drawing/2010/main" val="0"/>
                </a:ext>
              </a:extLst>
            </a:blip>
            <a:stretch>
              <a:fillRect/>
            </a:stretch>
          </a:blipFill>
        </p:spPr>
      </p:pic>
      <p:grpSp>
        <p:nvGrpSpPr>
          <p:cNvPr id="2" name="组合 21"/>
          <p:cNvGrpSpPr/>
          <p:nvPr/>
        </p:nvGrpSpPr>
        <p:grpSpPr>
          <a:xfrm>
            <a:off x="733924" y="1877735"/>
            <a:ext cx="3334020" cy="2276454"/>
            <a:chOff x="978565" y="2503646"/>
            <a:chExt cx="4838035" cy="3035271"/>
          </a:xfrm>
        </p:grpSpPr>
        <p:cxnSp>
          <p:nvCxnSpPr>
            <p:cNvPr id="14" name="直接连接符 13"/>
            <p:cNvCxnSpPr/>
            <p:nvPr/>
          </p:nvCxnSpPr>
          <p:spPr>
            <a:xfrm>
              <a:off x="1126672" y="3037338"/>
              <a:ext cx="8418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978565" y="3158972"/>
              <a:ext cx="4838035" cy="1390381"/>
            </a:xfrm>
            <a:prstGeom prst="rect">
              <a:avLst/>
            </a:prstGeom>
          </p:spPr>
          <p:txBody>
            <a:bodyPr wrap="square">
              <a:spAutoFit/>
            </a:bodyPr>
            <a:lstStyle/>
            <a:p>
              <a:pPr algn="just">
                <a:lnSpc>
                  <a:spcPct val="120000"/>
                </a:lnSpc>
              </a:pPr>
              <a:r>
                <a:rPr lang="zh-CN" altLang="en-US" sz="1050">
                  <a:solidFill>
                    <a:schemeClr val="bg1">
                      <a:lumMod val="50000"/>
                    </a:schemeClr>
                  </a:solidFill>
                </a:rPr>
                <a:t>用户可以在投影仪或者计算机上进行演示，也可以将演示文稿打印出来，制作成胶片，以便应用到更广泛的领域中。利用</a:t>
              </a:r>
              <a:r>
                <a:rPr lang="en-US" altLang="zh-CN" sz="1050">
                  <a:solidFill>
                    <a:schemeClr val="bg1">
                      <a:lumMod val="50000"/>
                    </a:schemeClr>
                  </a:solidFill>
                </a:rPr>
                <a:t>Microsoft Office PowerPoint</a:t>
              </a:r>
              <a:r>
                <a:rPr lang="zh-CN" altLang="en-US" sz="1050">
                  <a:solidFill>
                    <a:schemeClr val="bg1">
                      <a:lumMod val="50000"/>
                    </a:schemeClr>
                  </a:solidFill>
                </a:rPr>
                <a:t>不仅可以创建演示文稿，还可以在互联网上召开面对面会议、远程会议或在网上给观众展示演示文稿</a:t>
              </a:r>
              <a:endParaRPr lang="zh-CN" altLang="en-US" sz="1050">
                <a:solidFill>
                  <a:schemeClr val="bg1">
                    <a:lumMod val="50000"/>
                  </a:schemeClr>
                </a:solidFill>
              </a:endParaRPr>
            </a:p>
          </p:txBody>
        </p:sp>
        <p:sp>
          <p:nvSpPr>
            <p:cNvPr id="16" name="矩形 15"/>
            <p:cNvSpPr/>
            <p:nvPr/>
          </p:nvSpPr>
          <p:spPr>
            <a:xfrm>
              <a:off x="978565" y="2503646"/>
              <a:ext cx="2804222" cy="434051"/>
            </a:xfrm>
            <a:prstGeom prst="rect">
              <a:avLst/>
            </a:prstGeom>
          </p:spPr>
          <p:txBody>
            <a:bodyPr wrap="square">
              <a:spAutoFit/>
            </a:bodyPr>
            <a:lstStyle/>
            <a:p>
              <a:pPr algn="just">
                <a:lnSpc>
                  <a:spcPct val="120000"/>
                </a:lnSpc>
              </a:pPr>
              <a:r>
                <a:rPr lang="zh-CN" altLang="en-US" sz="1400" b="1">
                  <a:solidFill>
                    <a:schemeClr val="bg1">
                      <a:lumMod val="50000"/>
                    </a:schemeClr>
                  </a:solidFill>
                </a:rPr>
                <a:t>标题文字添加</a:t>
              </a:r>
              <a:endParaRPr lang="zh-CN" altLang="en-US" sz="1400" b="1">
                <a:solidFill>
                  <a:schemeClr val="bg1">
                    <a:lumMod val="50000"/>
                  </a:schemeClr>
                </a:solidFill>
              </a:endParaRPr>
            </a:p>
          </p:txBody>
        </p:sp>
        <p:sp>
          <p:nvSpPr>
            <p:cNvPr id="17" name="矩形 16"/>
            <p:cNvSpPr/>
            <p:nvPr/>
          </p:nvSpPr>
          <p:spPr>
            <a:xfrm>
              <a:off x="978565" y="4665600"/>
              <a:ext cx="4838035" cy="873317"/>
            </a:xfrm>
            <a:prstGeom prst="rect">
              <a:avLst/>
            </a:prstGeom>
          </p:spPr>
          <p:txBody>
            <a:bodyPr wrap="square">
              <a:spAutoFit/>
            </a:bodyPr>
            <a:lstStyle/>
            <a:p>
              <a:pPr algn="just">
                <a:lnSpc>
                  <a:spcPct val="120000"/>
                </a:lnSpc>
              </a:pPr>
              <a:r>
                <a:rPr lang="zh-CN" altLang="en-US" sz="1050">
                  <a:solidFill>
                    <a:schemeClr val="bg1">
                      <a:lumMod val="50000"/>
                    </a:schemeClr>
                  </a:solidFill>
                </a:rPr>
                <a:t>用户可以在投影仪或者计算机上进行演示，也可以将演示文稿打印出来，制作成胶片，以便应用到更广泛的领域中利用</a:t>
              </a:r>
              <a:r>
                <a:rPr lang="en-US" altLang="zh-CN" sz="1050">
                  <a:solidFill>
                    <a:schemeClr val="bg1">
                      <a:lumMod val="50000"/>
                    </a:schemeClr>
                  </a:solidFill>
                </a:rPr>
                <a:t>Microsoft Office PowerPoint</a:t>
              </a:r>
              <a:r>
                <a:rPr lang="zh-CN" altLang="en-US" sz="1050">
                  <a:solidFill>
                    <a:schemeClr val="bg1">
                      <a:lumMod val="50000"/>
                    </a:schemeClr>
                  </a:solidFill>
                </a:rPr>
                <a:t>不仅可以创建演</a:t>
              </a:r>
              <a:endParaRPr lang="zh-CN" altLang="en-US" sz="1050">
                <a:solidFill>
                  <a:schemeClr val="bg1">
                    <a:lumMod val="50000"/>
                  </a:schemeClr>
                </a:solidFill>
              </a:endParaRPr>
            </a:p>
          </p:txBody>
        </p:sp>
      </p:grpSp>
      <p:grpSp>
        <p:nvGrpSpPr>
          <p:cNvPr id="4" name="组合 20"/>
          <p:cNvGrpSpPr/>
          <p:nvPr/>
        </p:nvGrpSpPr>
        <p:grpSpPr>
          <a:xfrm>
            <a:off x="5218039" y="3123988"/>
            <a:ext cx="1466850" cy="1466850"/>
            <a:chOff x="6957385" y="4165317"/>
            <a:chExt cx="1955800" cy="1955800"/>
          </a:xfrm>
        </p:grpSpPr>
        <p:sp>
          <p:nvSpPr>
            <p:cNvPr id="18" name="椭圆 17"/>
            <p:cNvSpPr/>
            <p:nvPr/>
          </p:nvSpPr>
          <p:spPr>
            <a:xfrm>
              <a:off x="6957385" y="4165317"/>
              <a:ext cx="1955800" cy="195580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statistics-on-laptop_82095"/>
            <p:cNvSpPr>
              <a:spLocks noChangeAspect="1"/>
            </p:cNvSpPr>
            <p:nvPr/>
          </p:nvSpPr>
          <p:spPr bwMode="auto">
            <a:xfrm>
              <a:off x="7537214" y="4777786"/>
              <a:ext cx="796142" cy="730863"/>
            </a:xfrm>
            <a:custGeom>
              <a:gdLst>
                <a:gd name="connsiteX0" fmla="*/ 117399 w 337212"/>
                <a:gd name="connsiteY0" fmla="*/ 192088 h 309563"/>
                <a:gd name="connsiteX1" fmla="*/ 130099 w 337212"/>
                <a:gd name="connsiteY1" fmla="*/ 196036 h 309563"/>
                <a:gd name="connsiteX2" fmla="*/ 130099 w 337212"/>
                <a:gd name="connsiteY2" fmla="*/ 278941 h 309563"/>
                <a:gd name="connsiteX3" fmla="*/ 117399 w 337212"/>
                <a:gd name="connsiteY3" fmla="*/ 292101 h 309563"/>
                <a:gd name="connsiteX4" fmla="*/ 176137 w 337212"/>
                <a:gd name="connsiteY4" fmla="*/ 187325 h 309563"/>
                <a:gd name="connsiteX5" fmla="*/ 187250 w 337212"/>
                <a:gd name="connsiteY5" fmla="*/ 191271 h 309563"/>
                <a:gd name="connsiteX6" fmla="*/ 187250 w 337212"/>
                <a:gd name="connsiteY6" fmla="*/ 267562 h 309563"/>
                <a:gd name="connsiteX7" fmla="*/ 176137 w 337212"/>
                <a:gd name="connsiteY7" fmla="*/ 279400 h 309563"/>
                <a:gd name="connsiteX8" fmla="*/ 176137 w 337212"/>
                <a:gd name="connsiteY8" fmla="*/ 187325 h 309563"/>
                <a:gd name="connsiteX9" fmla="*/ 231699 w 337212"/>
                <a:gd name="connsiteY9" fmla="*/ 180975 h 309563"/>
                <a:gd name="connsiteX10" fmla="*/ 239637 w 337212"/>
                <a:gd name="connsiteY10" fmla="*/ 184982 h 309563"/>
                <a:gd name="connsiteX11" fmla="*/ 239637 w 337212"/>
                <a:gd name="connsiteY11" fmla="*/ 254429 h 309563"/>
                <a:gd name="connsiteX12" fmla="*/ 231699 w 337212"/>
                <a:gd name="connsiteY12" fmla="*/ 265113 h 309563"/>
                <a:gd name="connsiteX13" fmla="*/ 277737 w 337212"/>
                <a:gd name="connsiteY13" fmla="*/ 177800 h 309563"/>
                <a:gd name="connsiteX14" fmla="*/ 287262 w 337212"/>
                <a:gd name="connsiteY14" fmla="*/ 180398 h 309563"/>
                <a:gd name="connsiteX15" fmla="*/ 287262 w 337212"/>
                <a:gd name="connsiteY15" fmla="*/ 238847 h 309563"/>
                <a:gd name="connsiteX16" fmla="*/ 277737 w 337212"/>
                <a:gd name="connsiteY16" fmla="*/ 249238 h 309563"/>
                <a:gd name="connsiteX17" fmla="*/ 280912 w 337212"/>
                <a:gd name="connsiteY17" fmla="*/ 92075 h 309563"/>
                <a:gd name="connsiteX18" fmla="*/ 307493 w 337212"/>
                <a:gd name="connsiteY18" fmla="*/ 92075 h 309563"/>
                <a:gd name="connsiteX19" fmla="*/ 315468 w 337212"/>
                <a:gd name="connsiteY19" fmla="*/ 97314 h 309563"/>
                <a:gd name="connsiteX20" fmla="*/ 336733 w 337212"/>
                <a:gd name="connsiteY20" fmla="*/ 158869 h 309563"/>
                <a:gd name="connsiteX21" fmla="*/ 331417 w 337212"/>
                <a:gd name="connsiteY21" fmla="*/ 169347 h 309563"/>
                <a:gd name="connsiteX22" fmla="*/ 320784 w 337212"/>
                <a:gd name="connsiteY22" fmla="*/ 164108 h 309563"/>
                <a:gd name="connsiteX23" fmla="*/ 314139 w 337212"/>
                <a:gd name="connsiteY23" fmla="*/ 145772 h 309563"/>
                <a:gd name="connsiteX24" fmla="*/ 314139 w 337212"/>
                <a:gd name="connsiteY24" fmla="*/ 238761 h 309563"/>
                <a:gd name="connsiteX25" fmla="*/ 304835 w 337212"/>
                <a:gd name="connsiteY25" fmla="*/ 249238 h 309563"/>
                <a:gd name="connsiteX26" fmla="*/ 294203 w 337212"/>
                <a:gd name="connsiteY26" fmla="*/ 238761 h 309563"/>
                <a:gd name="connsiteX27" fmla="*/ 294203 w 337212"/>
                <a:gd name="connsiteY27" fmla="*/ 179824 h 309563"/>
                <a:gd name="connsiteX28" fmla="*/ 288886 w 337212"/>
                <a:gd name="connsiteY28" fmla="*/ 179824 h 309563"/>
                <a:gd name="connsiteX29" fmla="*/ 294203 w 337212"/>
                <a:gd name="connsiteY29" fmla="*/ 178515 h 309563"/>
                <a:gd name="connsiteX30" fmla="*/ 304835 w 337212"/>
                <a:gd name="connsiteY30" fmla="*/ 157560 h 309563"/>
                <a:gd name="connsiteX31" fmla="*/ 280912 w 337212"/>
                <a:gd name="connsiteY31" fmla="*/ 92075 h 309563"/>
                <a:gd name="connsiteX32" fmla="*/ 231699 w 337212"/>
                <a:gd name="connsiteY32" fmla="*/ 82550 h 309563"/>
                <a:gd name="connsiteX33" fmla="*/ 243745 w 337212"/>
                <a:gd name="connsiteY33" fmla="*/ 82550 h 309563"/>
                <a:gd name="connsiteX34" fmla="*/ 262484 w 337212"/>
                <a:gd name="connsiteY34" fmla="*/ 82550 h 309563"/>
                <a:gd name="connsiteX35" fmla="*/ 273192 w 337212"/>
                <a:gd name="connsiteY35" fmla="*/ 89117 h 309563"/>
                <a:gd name="connsiteX36" fmla="*/ 297285 w 337212"/>
                <a:gd name="connsiteY36" fmla="*/ 160041 h 309563"/>
                <a:gd name="connsiteX37" fmla="*/ 291931 w 337212"/>
                <a:gd name="connsiteY37" fmla="*/ 171861 h 309563"/>
                <a:gd name="connsiteX38" fmla="*/ 279885 w 337212"/>
                <a:gd name="connsiteY38" fmla="*/ 166608 h 309563"/>
                <a:gd name="connsiteX39" fmla="*/ 271854 w 337212"/>
                <a:gd name="connsiteY39" fmla="*/ 144280 h 309563"/>
                <a:gd name="connsiteX40" fmla="*/ 271854 w 337212"/>
                <a:gd name="connsiteY40" fmla="*/ 253292 h 309563"/>
                <a:gd name="connsiteX41" fmla="*/ 259807 w 337212"/>
                <a:gd name="connsiteY41" fmla="*/ 265113 h 309563"/>
                <a:gd name="connsiteX42" fmla="*/ 247761 w 337212"/>
                <a:gd name="connsiteY42" fmla="*/ 253292 h 309563"/>
                <a:gd name="connsiteX43" fmla="*/ 247761 w 337212"/>
                <a:gd name="connsiteY43" fmla="*/ 183682 h 309563"/>
                <a:gd name="connsiteX44" fmla="*/ 258469 w 337212"/>
                <a:gd name="connsiteY44" fmla="*/ 160041 h 309563"/>
                <a:gd name="connsiteX45" fmla="*/ 231699 w 337212"/>
                <a:gd name="connsiteY45" fmla="*/ 82550 h 309563"/>
                <a:gd name="connsiteX46" fmla="*/ 177724 w 337212"/>
                <a:gd name="connsiteY46" fmla="*/ 77788 h 309563"/>
                <a:gd name="connsiteX47" fmla="*/ 214510 w 337212"/>
                <a:gd name="connsiteY47" fmla="*/ 77788 h 309563"/>
                <a:gd name="connsiteX48" fmla="*/ 225021 w 337212"/>
                <a:gd name="connsiteY48" fmla="*/ 85643 h 309563"/>
                <a:gd name="connsiteX49" fmla="*/ 252610 w 337212"/>
                <a:gd name="connsiteY49" fmla="*/ 162884 h 309563"/>
                <a:gd name="connsiteX50" fmla="*/ 246041 w 337212"/>
                <a:gd name="connsiteY50" fmla="*/ 175976 h 309563"/>
                <a:gd name="connsiteX51" fmla="*/ 231590 w 337212"/>
                <a:gd name="connsiteY51" fmla="*/ 169430 h 309563"/>
                <a:gd name="connsiteX52" fmla="*/ 223707 w 337212"/>
                <a:gd name="connsiteY52" fmla="*/ 145865 h 309563"/>
                <a:gd name="connsiteX53" fmla="*/ 223707 w 337212"/>
                <a:gd name="connsiteY53" fmla="*/ 266309 h 309563"/>
                <a:gd name="connsiteX54" fmla="*/ 210569 w 337212"/>
                <a:gd name="connsiteY54" fmla="*/ 279401 h 309563"/>
                <a:gd name="connsiteX55" fmla="*/ 198745 w 337212"/>
                <a:gd name="connsiteY55" fmla="*/ 266309 h 309563"/>
                <a:gd name="connsiteX56" fmla="*/ 198745 w 337212"/>
                <a:gd name="connsiteY56" fmla="*/ 189068 h 309563"/>
                <a:gd name="connsiteX57" fmla="*/ 197759 w 337212"/>
                <a:gd name="connsiteY57" fmla="*/ 189068 h 309563"/>
                <a:gd name="connsiteX58" fmla="*/ 194803 w 337212"/>
                <a:gd name="connsiteY58" fmla="*/ 189068 h 309563"/>
                <a:gd name="connsiteX59" fmla="*/ 206628 w 337212"/>
                <a:gd name="connsiteY59" fmla="*/ 178595 h 309563"/>
                <a:gd name="connsiteX60" fmla="*/ 206628 w 337212"/>
                <a:gd name="connsiteY60" fmla="*/ 162884 h 309563"/>
                <a:gd name="connsiteX61" fmla="*/ 177724 w 337212"/>
                <a:gd name="connsiteY61" fmla="*/ 79097 h 309563"/>
                <a:gd name="connsiteX62" fmla="*/ 177724 w 337212"/>
                <a:gd name="connsiteY62" fmla="*/ 77788 h 309563"/>
                <a:gd name="connsiteX63" fmla="*/ 120574 w 337212"/>
                <a:gd name="connsiteY63" fmla="*/ 73025 h 309563"/>
                <a:gd name="connsiteX64" fmla="*/ 157008 w 337212"/>
                <a:gd name="connsiteY64" fmla="*/ 73025 h 309563"/>
                <a:gd name="connsiteX65" fmla="*/ 168720 w 337212"/>
                <a:gd name="connsiteY65" fmla="*/ 80953 h 309563"/>
                <a:gd name="connsiteX66" fmla="*/ 197347 w 337212"/>
                <a:gd name="connsiteY66" fmla="*/ 166840 h 309563"/>
                <a:gd name="connsiteX67" fmla="*/ 190840 w 337212"/>
                <a:gd name="connsiteY67" fmla="*/ 181375 h 309563"/>
                <a:gd name="connsiteX68" fmla="*/ 176527 w 337212"/>
                <a:gd name="connsiteY68" fmla="*/ 173447 h 309563"/>
                <a:gd name="connsiteX69" fmla="*/ 167418 w 337212"/>
                <a:gd name="connsiteY69" fmla="*/ 148341 h 309563"/>
                <a:gd name="connsiteX70" fmla="*/ 167418 w 337212"/>
                <a:gd name="connsiteY70" fmla="*/ 279153 h 309563"/>
                <a:gd name="connsiteX71" fmla="*/ 153105 w 337212"/>
                <a:gd name="connsiteY71" fmla="*/ 293688 h 309563"/>
                <a:gd name="connsiteX72" fmla="*/ 140093 w 337212"/>
                <a:gd name="connsiteY72" fmla="*/ 279153 h 309563"/>
                <a:gd name="connsiteX73" fmla="*/ 140093 w 337212"/>
                <a:gd name="connsiteY73" fmla="*/ 195909 h 309563"/>
                <a:gd name="connsiteX74" fmla="*/ 133586 w 337212"/>
                <a:gd name="connsiteY74" fmla="*/ 195909 h 309563"/>
                <a:gd name="connsiteX75" fmla="*/ 138791 w 337212"/>
                <a:gd name="connsiteY75" fmla="*/ 194588 h 309563"/>
                <a:gd name="connsiteX76" fmla="*/ 151804 w 337212"/>
                <a:gd name="connsiteY76" fmla="*/ 166840 h 309563"/>
                <a:gd name="connsiteX77" fmla="*/ 120574 w 337212"/>
                <a:gd name="connsiteY77" fmla="*/ 73025 h 309563"/>
                <a:gd name="connsiteX78" fmla="*/ 46220 w 337212"/>
                <a:gd name="connsiteY78" fmla="*/ 66675 h 309563"/>
                <a:gd name="connsiteX79" fmla="*/ 72821 w 337212"/>
                <a:gd name="connsiteY79" fmla="*/ 66675 h 309563"/>
                <a:gd name="connsiteX80" fmla="*/ 98092 w 337212"/>
                <a:gd name="connsiteY80" fmla="*/ 66675 h 309563"/>
                <a:gd name="connsiteX81" fmla="*/ 111393 w 337212"/>
                <a:gd name="connsiteY81" fmla="*/ 74595 h 309563"/>
                <a:gd name="connsiteX82" fmla="*/ 143315 w 337212"/>
                <a:gd name="connsiteY82" fmla="*/ 169638 h 309563"/>
                <a:gd name="connsiteX83" fmla="*/ 135334 w 337212"/>
                <a:gd name="connsiteY83" fmla="*/ 185479 h 309563"/>
                <a:gd name="connsiteX84" fmla="*/ 119374 w 337212"/>
                <a:gd name="connsiteY84" fmla="*/ 177559 h 309563"/>
                <a:gd name="connsiteX85" fmla="*/ 108733 w 337212"/>
                <a:gd name="connsiteY85" fmla="*/ 148518 h 309563"/>
                <a:gd name="connsiteX86" fmla="*/ 108733 w 337212"/>
                <a:gd name="connsiteY86" fmla="*/ 295043 h 309563"/>
                <a:gd name="connsiteX87" fmla="*/ 94102 w 337212"/>
                <a:gd name="connsiteY87" fmla="*/ 309563 h 309563"/>
                <a:gd name="connsiteX88" fmla="*/ 78141 w 337212"/>
                <a:gd name="connsiteY88" fmla="*/ 295043 h 309563"/>
                <a:gd name="connsiteX89" fmla="*/ 78141 w 337212"/>
                <a:gd name="connsiteY89" fmla="*/ 202640 h 309563"/>
                <a:gd name="connsiteX90" fmla="*/ 66171 w 337212"/>
                <a:gd name="connsiteY90" fmla="*/ 202640 h 309563"/>
                <a:gd name="connsiteX91" fmla="*/ 66171 w 337212"/>
                <a:gd name="connsiteY91" fmla="*/ 295043 h 309563"/>
                <a:gd name="connsiteX92" fmla="*/ 50210 w 337212"/>
                <a:gd name="connsiteY92" fmla="*/ 309563 h 309563"/>
                <a:gd name="connsiteX93" fmla="*/ 35579 w 337212"/>
                <a:gd name="connsiteY93" fmla="*/ 295043 h 309563"/>
                <a:gd name="connsiteX94" fmla="*/ 35579 w 337212"/>
                <a:gd name="connsiteY94" fmla="*/ 148518 h 309563"/>
                <a:gd name="connsiteX95" fmla="*/ 24938 w 337212"/>
                <a:gd name="connsiteY95" fmla="*/ 177559 h 309563"/>
                <a:gd name="connsiteX96" fmla="*/ 8978 w 337212"/>
                <a:gd name="connsiteY96" fmla="*/ 185479 h 309563"/>
                <a:gd name="connsiteX97" fmla="*/ 997 w 337212"/>
                <a:gd name="connsiteY97" fmla="*/ 169638 h 309563"/>
                <a:gd name="connsiteX98" fmla="*/ 32919 w 337212"/>
                <a:gd name="connsiteY98" fmla="*/ 74595 h 309563"/>
                <a:gd name="connsiteX99" fmla="*/ 46220 w 337212"/>
                <a:gd name="connsiteY99" fmla="*/ 66675 h 309563"/>
                <a:gd name="connsiteX100" fmla="*/ 289643 w 337212"/>
                <a:gd name="connsiteY100" fmla="*/ 49213 h 309563"/>
                <a:gd name="connsiteX101" fmla="*/ 309487 w 337212"/>
                <a:gd name="connsiteY101" fmla="*/ 68263 h 309563"/>
                <a:gd name="connsiteX102" fmla="*/ 289643 w 337212"/>
                <a:gd name="connsiteY102" fmla="*/ 87313 h 309563"/>
                <a:gd name="connsiteX103" fmla="*/ 269799 w 337212"/>
                <a:gd name="connsiteY103" fmla="*/ 68263 h 309563"/>
                <a:gd name="connsiteX104" fmla="*/ 271122 w 337212"/>
                <a:gd name="connsiteY104" fmla="*/ 68263 h 309563"/>
                <a:gd name="connsiteX105" fmla="*/ 272445 w 337212"/>
                <a:gd name="connsiteY105" fmla="*/ 59373 h 309563"/>
                <a:gd name="connsiteX106" fmla="*/ 289643 w 337212"/>
                <a:gd name="connsiteY106" fmla="*/ 49213 h 309563"/>
                <a:gd name="connsiteX107" fmla="*/ 244544 w 337212"/>
                <a:gd name="connsiteY107" fmla="*/ 33338 h 309563"/>
                <a:gd name="connsiteX108" fmla="*/ 266625 w 337212"/>
                <a:gd name="connsiteY108" fmla="*/ 55699 h 309563"/>
                <a:gd name="connsiteX109" fmla="*/ 244544 w 337212"/>
                <a:gd name="connsiteY109" fmla="*/ 79376 h 309563"/>
                <a:gd name="connsiteX110" fmla="*/ 223762 w 337212"/>
                <a:gd name="connsiteY110" fmla="*/ 63592 h 309563"/>
                <a:gd name="connsiteX111" fmla="*/ 226360 w 337212"/>
                <a:gd name="connsiteY111" fmla="*/ 49123 h 309563"/>
                <a:gd name="connsiteX112" fmla="*/ 226360 w 337212"/>
                <a:gd name="connsiteY112" fmla="*/ 43861 h 309563"/>
                <a:gd name="connsiteX113" fmla="*/ 244544 w 337212"/>
                <a:gd name="connsiteY113" fmla="*/ 33338 h 309563"/>
                <a:gd name="connsiteX114" fmla="*/ 192806 w 337212"/>
                <a:gd name="connsiteY114" fmla="*/ 23813 h 309563"/>
                <a:gd name="connsiteX115" fmla="*/ 217412 w 337212"/>
                <a:gd name="connsiteY115" fmla="*/ 48420 h 309563"/>
                <a:gd name="connsiteX116" fmla="*/ 192806 w 337212"/>
                <a:gd name="connsiteY116" fmla="*/ 73026 h 309563"/>
                <a:gd name="connsiteX117" fmla="*/ 168199 w 337212"/>
                <a:gd name="connsiteY117" fmla="*/ 51010 h 309563"/>
                <a:gd name="connsiteX118" fmla="*/ 170789 w 337212"/>
                <a:gd name="connsiteY118" fmla="*/ 39354 h 309563"/>
                <a:gd name="connsiteX119" fmla="*/ 170789 w 337212"/>
                <a:gd name="connsiteY119" fmla="*/ 38059 h 309563"/>
                <a:gd name="connsiteX120" fmla="*/ 192806 w 337212"/>
                <a:gd name="connsiteY120" fmla="*/ 23813 h 309563"/>
                <a:gd name="connsiteX121" fmla="*/ 133275 w 337212"/>
                <a:gd name="connsiteY121" fmla="*/ 12700 h 309563"/>
                <a:gd name="connsiteX122" fmla="*/ 160262 w 337212"/>
                <a:gd name="connsiteY122" fmla="*/ 39029 h 309563"/>
                <a:gd name="connsiteX123" fmla="*/ 133275 w 337212"/>
                <a:gd name="connsiteY123" fmla="*/ 66675 h 309563"/>
                <a:gd name="connsiteX124" fmla="*/ 106287 w 337212"/>
                <a:gd name="connsiteY124" fmla="*/ 48245 h 309563"/>
                <a:gd name="connsiteX125" fmla="*/ 111685 w 337212"/>
                <a:gd name="connsiteY125" fmla="*/ 29814 h 309563"/>
                <a:gd name="connsiteX126" fmla="*/ 110335 w 337212"/>
                <a:gd name="connsiteY126" fmla="*/ 23232 h 309563"/>
                <a:gd name="connsiteX127" fmla="*/ 133275 w 337212"/>
                <a:gd name="connsiteY127" fmla="*/ 12700 h 309563"/>
                <a:gd name="connsiteX128" fmla="*/ 72809 w 337212"/>
                <a:gd name="connsiteY128" fmla="*/ 0 h 309563"/>
                <a:gd name="connsiteX129" fmla="*/ 101525 w 337212"/>
                <a:gd name="connsiteY129" fmla="*/ 30163 h 309563"/>
                <a:gd name="connsiteX130" fmla="*/ 72809 w 337212"/>
                <a:gd name="connsiteY130" fmla="*/ 60325 h 309563"/>
                <a:gd name="connsiteX131" fmla="*/ 42787 w 337212"/>
                <a:gd name="connsiteY131" fmla="*/ 30163 h 309563"/>
                <a:gd name="connsiteX132" fmla="*/ 72809 w 337212"/>
                <a:gd name="connsiteY132" fmla="*/ 0 h 30956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337212" h="309563">
                  <a:moveTo>
                    <a:pt x="117399" y="192088"/>
                  </a:moveTo>
                  <a:cubicBezTo>
                    <a:pt x="121632" y="194720"/>
                    <a:pt x="125866" y="196036"/>
                    <a:pt x="130099" y="196036"/>
                  </a:cubicBezTo>
                  <a:cubicBezTo>
                    <a:pt x="130099" y="196036"/>
                    <a:pt x="130099" y="196036"/>
                    <a:pt x="130099" y="278941"/>
                  </a:cubicBezTo>
                  <a:cubicBezTo>
                    <a:pt x="130099" y="285521"/>
                    <a:pt x="124455" y="290785"/>
                    <a:pt x="117399" y="292101"/>
                  </a:cubicBezTo>
                  <a:close/>
                  <a:moveTo>
                    <a:pt x="176137" y="187325"/>
                  </a:moveTo>
                  <a:cubicBezTo>
                    <a:pt x="179841" y="189956"/>
                    <a:pt x="183546" y="191271"/>
                    <a:pt x="187250" y="191271"/>
                  </a:cubicBezTo>
                  <a:cubicBezTo>
                    <a:pt x="187250" y="191271"/>
                    <a:pt x="187250" y="191271"/>
                    <a:pt x="187250" y="267562"/>
                  </a:cubicBezTo>
                  <a:cubicBezTo>
                    <a:pt x="187250" y="274139"/>
                    <a:pt x="182311" y="279400"/>
                    <a:pt x="176137" y="279400"/>
                  </a:cubicBezTo>
                  <a:cubicBezTo>
                    <a:pt x="176137" y="279400"/>
                    <a:pt x="176137" y="279400"/>
                    <a:pt x="176137" y="187325"/>
                  </a:cubicBezTo>
                  <a:close/>
                  <a:moveTo>
                    <a:pt x="231699" y="180975"/>
                  </a:moveTo>
                  <a:cubicBezTo>
                    <a:pt x="233967" y="183646"/>
                    <a:pt x="236235" y="183646"/>
                    <a:pt x="239637" y="184982"/>
                  </a:cubicBezTo>
                  <a:cubicBezTo>
                    <a:pt x="239637" y="184982"/>
                    <a:pt x="239637" y="184982"/>
                    <a:pt x="239637" y="254429"/>
                  </a:cubicBezTo>
                  <a:cubicBezTo>
                    <a:pt x="239637" y="259771"/>
                    <a:pt x="236235" y="263778"/>
                    <a:pt x="231699" y="265113"/>
                  </a:cubicBezTo>
                  <a:close/>
                  <a:moveTo>
                    <a:pt x="277737" y="177800"/>
                  </a:moveTo>
                  <a:cubicBezTo>
                    <a:pt x="280458" y="179099"/>
                    <a:pt x="283180" y="180398"/>
                    <a:pt x="287262" y="180398"/>
                  </a:cubicBezTo>
                  <a:cubicBezTo>
                    <a:pt x="287262" y="180398"/>
                    <a:pt x="287262" y="180398"/>
                    <a:pt x="287262" y="238847"/>
                  </a:cubicBezTo>
                  <a:cubicBezTo>
                    <a:pt x="287262" y="244043"/>
                    <a:pt x="283180" y="247939"/>
                    <a:pt x="277737" y="249238"/>
                  </a:cubicBezTo>
                  <a:close/>
                  <a:moveTo>
                    <a:pt x="280912" y="92075"/>
                  </a:moveTo>
                  <a:cubicBezTo>
                    <a:pt x="282241" y="92075"/>
                    <a:pt x="306164" y="92075"/>
                    <a:pt x="307493" y="92075"/>
                  </a:cubicBezTo>
                  <a:cubicBezTo>
                    <a:pt x="311481" y="92075"/>
                    <a:pt x="314139" y="94694"/>
                    <a:pt x="315468" y="97314"/>
                  </a:cubicBezTo>
                  <a:cubicBezTo>
                    <a:pt x="315468" y="97314"/>
                    <a:pt x="315468" y="97314"/>
                    <a:pt x="336733" y="158869"/>
                  </a:cubicBezTo>
                  <a:cubicBezTo>
                    <a:pt x="338062" y="162798"/>
                    <a:pt x="336733" y="168037"/>
                    <a:pt x="331417" y="169347"/>
                  </a:cubicBezTo>
                  <a:cubicBezTo>
                    <a:pt x="327430" y="170657"/>
                    <a:pt x="322113" y="168037"/>
                    <a:pt x="320784" y="164108"/>
                  </a:cubicBezTo>
                  <a:cubicBezTo>
                    <a:pt x="320784" y="164108"/>
                    <a:pt x="320784" y="164108"/>
                    <a:pt x="314139" y="145772"/>
                  </a:cubicBezTo>
                  <a:cubicBezTo>
                    <a:pt x="314139" y="145772"/>
                    <a:pt x="314139" y="145772"/>
                    <a:pt x="314139" y="238761"/>
                  </a:cubicBezTo>
                  <a:cubicBezTo>
                    <a:pt x="314139" y="243999"/>
                    <a:pt x="310152" y="249238"/>
                    <a:pt x="304835" y="249238"/>
                  </a:cubicBezTo>
                  <a:cubicBezTo>
                    <a:pt x="299519" y="249238"/>
                    <a:pt x="294203" y="243999"/>
                    <a:pt x="294203" y="238761"/>
                  </a:cubicBezTo>
                  <a:cubicBezTo>
                    <a:pt x="294203" y="238761"/>
                    <a:pt x="294203" y="238761"/>
                    <a:pt x="294203" y="179824"/>
                  </a:cubicBezTo>
                  <a:cubicBezTo>
                    <a:pt x="294203" y="179824"/>
                    <a:pt x="294203" y="179824"/>
                    <a:pt x="288886" y="179824"/>
                  </a:cubicBezTo>
                  <a:cubicBezTo>
                    <a:pt x="291545" y="179824"/>
                    <a:pt x="292874" y="179824"/>
                    <a:pt x="294203" y="178515"/>
                  </a:cubicBezTo>
                  <a:cubicBezTo>
                    <a:pt x="302177" y="175895"/>
                    <a:pt x="307493" y="166727"/>
                    <a:pt x="304835" y="157560"/>
                  </a:cubicBezTo>
                  <a:cubicBezTo>
                    <a:pt x="304835" y="157560"/>
                    <a:pt x="304835" y="157560"/>
                    <a:pt x="280912" y="92075"/>
                  </a:cubicBezTo>
                  <a:close/>
                  <a:moveTo>
                    <a:pt x="231699" y="82550"/>
                  </a:moveTo>
                  <a:cubicBezTo>
                    <a:pt x="235715" y="82550"/>
                    <a:pt x="239730" y="82550"/>
                    <a:pt x="243745" y="82550"/>
                  </a:cubicBezTo>
                  <a:cubicBezTo>
                    <a:pt x="253115" y="82550"/>
                    <a:pt x="262484" y="82550"/>
                    <a:pt x="262484" y="82550"/>
                  </a:cubicBezTo>
                  <a:cubicBezTo>
                    <a:pt x="267838" y="82550"/>
                    <a:pt x="271854" y="85177"/>
                    <a:pt x="273192" y="89117"/>
                  </a:cubicBezTo>
                  <a:cubicBezTo>
                    <a:pt x="273192" y="89117"/>
                    <a:pt x="273192" y="89117"/>
                    <a:pt x="297285" y="160041"/>
                  </a:cubicBezTo>
                  <a:cubicBezTo>
                    <a:pt x="299962" y="165294"/>
                    <a:pt x="297285" y="170548"/>
                    <a:pt x="291931" y="171861"/>
                  </a:cubicBezTo>
                  <a:cubicBezTo>
                    <a:pt x="286577" y="174488"/>
                    <a:pt x="281223" y="170548"/>
                    <a:pt x="279885" y="166608"/>
                  </a:cubicBezTo>
                  <a:cubicBezTo>
                    <a:pt x="279885" y="166608"/>
                    <a:pt x="279885" y="166608"/>
                    <a:pt x="271854" y="144280"/>
                  </a:cubicBezTo>
                  <a:cubicBezTo>
                    <a:pt x="271854" y="144280"/>
                    <a:pt x="271854" y="144280"/>
                    <a:pt x="271854" y="253292"/>
                  </a:cubicBezTo>
                  <a:cubicBezTo>
                    <a:pt x="271854" y="259859"/>
                    <a:pt x="266500" y="265113"/>
                    <a:pt x="259807" y="265113"/>
                  </a:cubicBezTo>
                  <a:cubicBezTo>
                    <a:pt x="253115" y="265113"/>
                    <a:pt x="247761" y="259859"/>
                    <a:pt x="247761" y="253292"/>
                  </a:cubicBezTo>
                  <a:cubicBezTo>
                    <a:pt x="247761" y="253292"/>
                    <a:pt x="247761" y="253292"/>
                    <a:pt x="247761" y="183682"/>
                  </a:cubicBezTo>
                  <a:cubicBezTo>
                    <a:pt x="257130" y="179742"/>
                    <a:pt x="262484" y="169235"/>
                    <a:pt x="258469" y="160041"/>
                  </a:cubicBezTo>
                  <a:cubicBezTo>
                    <a:pt x="258469" y="160041"/>
                    <a:pt x="258469" y="160041"/>
                    <a:pt x="231699" y="82550"/>
                  </a:cubicBezTo>
                  <a:close/>
                  <a:moveTo>
                    <a:pt x="177724" y="77788"/>
                  </a:moveTo>
                  <a:cubicBezTo>
                    <a:pt x="177724" y="77788"/>
                    <a:pt x="213196" y="77788"/>
                    <a:pt x="214510" y="77788"/>
                  </a:cubicBezTo>
                  <a:cubicBezTo>
                    <a:pt x="219765" y="77788"/>
                    <a:pt x="223707" y="80406"/>
                    <a:pt x="225021" y="85643"/>
                  </a:cubicBezTo>
                  <a:cubicBezTo>
                    <a:pt x="225021" y="85643"/>
                    <a:pt x="225021" y="85643"/>
                    <a:pt x="252610" y="162884"/>
                  </a:cubicBezTo>
                  <a:cubicBezTo>
                    <a:pt x="253924" y="168121"/>
                    <a:pt x="251296" y="174667"/>
                    <a:pt x="246041" y="175976"/>
                  </a:cubicBezTo>
                  <a:cubicBezTo>
                    <a:pt x="239472" y="178595"/>
                    <a:pt x="234217" y="175976"/>
                    <a:pt x="231590" y="169430"/>
                  </a:cubicBezTo>
                  <a:cubicBezTo>
                    <a:pt x="231590" y="169430"/>
                    <a:pt x="231590" y="169430"/>
                    <a:pt x="223707" y="145865"/>
                  </a:cubicBezTo>
                  <a:cubicBezTo>
                    <a:pt x="223707" y="145865"/>
                    <a:pt x="223707" y="145865"/>
                    <a:pt x="223707" y="266309"/>
                  </a:cubicBezTo>
                  <a:cubicBezTo>
                    <a:pt x="223707" y="272855"/>
                    <a:pt x="218452" y="279401"/>
                    <a:pt x="210569" y="279401"/>
                  </a:cubicBezTo>
                  <a:cubicBezTo>
                    <a:pt x="204000" y="279401"/>
                    <a:pt x="198745" y="272855"/>
                    <a:pt x="198745" y="266309"/>
                  </a:cubicBezTo>
                  <a:cubicBezTo>
                    <a:pt x="198745" y="266309"/>
                    <a:pt x="198745" y="266309"/>
                    <a:pt x="198745" y="189068"/>
                  </a:cubicBezTo>
                  <a:cubicBezTo>
                    <a:pt x="198745" y="189068"/>
                    <a:pt x="198745" y="189068"/>
                    <a:pt x="197759" y="189068"/>
                  </a:cubicBezTo>
                  <a:lnTo>
                    <a:pt x="194803" y="189068"/>
                  </a:lnTo>
                  <a:cubicBezTo>
                    <a:pt x="200059" y="187759"/>
                    <a:pt x="204000" y="183831"/>
                    <a:pt x="206628" y="178595"/>
                  </a:cubicBezTo>
                  <a:cubicBezTo>
                    <a:pt x="209255" y="173358"/>
                    <a:pt x="209255" y="168121"/>
                    <a:pt x="206628" y="162884"/>
                  </a:cubicBezTo>
                  <a:cubicBezTo>
                    <a:pt x="206628" y="162884"/>
                    <a:pt x="206628" y="162884"/>
                    <a:pt x="177724" y="79097"/>
                  </a:cubicBezTo>
                  <a:cubicBezTo>
                    <a:pt x="177724" y="79097"/>
                    <a:pt x="177724" y="77788"/>
                    <a:pt x="177724" y="77788"/>
                  </a:cubicBezTo>
                  <a:close/>
                  <a:moveTo>
                    <a:pt x="120574" y="73025"/>
                  </a:moveTo>
                  <a:cubicBezTo>
                    <a:pt x="120574" y="73025"/>
                    <a:pt x="157008" y="73025"/>
                    <a:pt x="157008" y="73025"/>
                  </a:cubicBezTo>
                  <a:cubicBezTo>
                    <a:pt x="162213" y="73025"/>
                    <a:pt x="167418" y="75668"/>
                    <a:pt x="168720" y="80953"/>
                  </a:cubicBezTo>
                  <a:cubicBezTo>
                    <a:pt x="168720" y="80953"/>
                    <a:pt x="168720" y="80953"/>
                    <a:pt x="197347" y="166840"/>
                  </a:cubicBezTo>
                  <a:cubicBezTo>
                    <a:pt x="199949" y="172125"/>
                    <a:pt x="197347" y="178732"/>
                    <a:pt x="190840" y="181375"/>
                  </a:cubicBezTo>
                  <a:cubicBezTo>
                    <a:pt x="184334" y="184017"/>
                    <a:pt x="177828" y="180053"/>
                    <a:pt x="176527" y="173447"/>
                  </a:cubicBezTo>
                  <a:lnTo>
                    <a:pt x="167418" y="148341"/>
                  </a:lnTo>
                  <a:cubicBezTo>
                    <a:pt x="167418" y="148341"/>
                    <a:pt x="167418" y="148341"/>
                    <a:pt x="167418" y="279153"/>
                  </a:cubicBezTo>
                  <a:cubicBezTo>
                    <a:pt x="167418" y="287081"/>
                    <a:pt x="160912" y="293688"/>
                    <a:pt x="153105" y="293688"/>
                  </a:cubicBezTo>
                  <a:cubicBezTo>
                    <a:pt x="145297" y="293688"/>
                    <a:pt x="140093" y="287081"/>
                    <a:pt x="140093" y="279153"/>
                  </a:cubicBezTo>
                  <a:cubicBezTo>
                    <a:pt x="140093" y="279153"/>
                    <a:pt x="140093" y="279153"/>
                    <a:pt x="140093" y="195909"/>
                  </a:cubicBezTo>
                  <a:cubicBezTo>
                    <a:pt x="140093" y="195909"/>
                    <a:pt x="140093" y="195909"/>
                    <a:pt x="133586" y="195909"/>
                  </a:cubicBezTo>
                  <a:cubicBezTo>
                    <a:pt x="134888" y="195909"/>
                    <a:pt x="136189" y="195909"/>
                    <a:pt x="138791" y="194588"/>
                  </a:cubicBezTo>
                  <a:cubicBezTo>
                    <a:pt x="150502" y="190624"/>
                    <a:pt x="155707" y="177411"/>
                    <a:pt x="151804" y="166840"/>
                  </a:cubicBezTo>
                  <a:cubicBezTo>
                    <a:pt x="151804" y="166840"/>
                    <a:pt x="151804" y="166840"/>
                    <a:pt x="120574" y="73025"/>
                  </a:cubicBezTo>
                  <a:close/>
                  <a:moveTo>
                    <a:pt x="46220" y="66675"/>
                  </a:moveTo>
                  <a:cubicBezTo>
                    <a:pt x="47550" y="66675"/>
                    <a:pt x="59520" y="66675"/>
                    <a:pt x="72821" y="66675"/>
                  </a:cubicBezTo>
                  <a:cubicBezTo>
                    <a:pt x="84792" y="66675"/>
                    <a:pt x="96762" y="66675"/>
                    <a:pt x="98092" y="66675"/>
                  </a:cubicBezTo>
                  <a:cubicBezTo>
                    <a:pt x="103413" y="66675"/>
                    <a:pt x="108733" y="69315"/>
                    <a:pt x="111393" y="74595"/>
                  </a:cubicBezTo>
                  <a:cubicBezTo>
                    <a:pt x="111393" y="74595"/>
                    <a:pt x="111393" y="74595"/>
                    <a:pt x="143315" y="169638"/>
                  </a:cubicBezTo>
                  <a:cubicBezTo>
                    <a:pt x="145975" y="176239"/>
                    <a:pt x="143315" y="184159"/>
                    <a:pt x="135334" y="185479"/>
                  </a:cubicBezTo>
                  <a:cubicBezTo>
                    <a:pt x="128684" y="188119"/>
                    <a:pt x="122034" y="184159"/>
                    <a:pt x="119374" y="177559"/>
                  </a:cubicBezTo>
                  <a:cubicBezTo>
                    <a:pt x="119374" y="177559"/>
                    <a:pt x="119374" y="177559"/>
                    <a:pt x="108733" y="148518"/>
                  </a:cubicBezTo>
                  <a:cubicBezTo>
                    <a:pt x="108733" y="148518"/>
                    <a:pt x="108733" y="148518"/>
                    <a:pt x="108733" y="295043"/>
                  </a:cubicBezTo>
                  <a:cubicBezTo>
                    <a:pt x="108733" y="302963"/>
                    <a:pt x="102083" y="309563"/>
                    <a:pt x="94102" y="309563"/>
                  </a:cubicBezTo>
                  <a:cubicBezTo>
                    <a:pt x="84792" y="309563"/>
                    <a:pt x="78141" y="302963"/>
                    <a:pt x="78141" y="295043"/>
                  </a:cubicBezTo>
                  <a:cubicBezTo>
                    <a:pt x="78141" y="295043"/>
                    <a:pt x="78141" y="295043"/>
                    <a:pt x="78141" y="202640"/>
                  </a:cubicBezTo>
                  <a:cubicBezTo>
                    <a:pt x="78141" y="202640"/>
                    <a:pt x="78141" y="202640"/>
                    <a:pt x="66171" y="202640"/>
                  </a:cubicBezTo>
                  <a:cubicBezTo>
                    <a:pt x="66171" y="202640"/>
                    <a:pt x="66171" y="202640"/>
                    <a:pt x="66171" y="295043"/>
                  </a:cubicBezTo>
                  <a:cubicBezTo>
                    <a:pt x="66171" y="302963"/>
                    <a:pt x="59520" y="309563"/>
                    <a:pt x="50210" y="309563"/>
                  </a:cubicBezTo>
                  <a:cubicBezTo>
                    <a:pt x="42229" y="309563"/>
                    <a:pt x="35579" y="302963"/>
                    <a:pt x="35579" y="295043"/>
                  </a:cubicBezTo>
                  <a:cubicBezTo>
                    <a:pt x="35579" y="295043"/>
                    <a:pt x="35579" y="295043"/>
                    <a:pt x="35579" y="148518"/>
                  </a:cubicBezTo>
                  <a:cubicBezTo>
                    <a:pt x="35579" y="148518"/>
                    <a:pt x="35579" y="148518"/>
                    <a:pt x="24938" y="177559"/>
                  </a:cubicBezTo>
                  <a:cubicBezTo>
                    <a:pt x="22278" y="184159"/>
                    <a:pt x="15628" y="188119"/>
                    <a:pt x="8978" y="185479"/>
                  </a:cubicBezTo>
                  <a:cubicBezTo>
                    <a:pt x="997" y="184159"/>
                    <a:pt x="-1663" y="176239"/>
                    <a:pt x="997" y="169638"/>
                  </a:cubicBezTo>
                  <a:cubicBezTo>
                    <a:pt x="997" y="169638"/>
                    <a:pt x="997" y="169638"/>
                    <a:pt x="32919" y="74595"/>
                  </a:cubicBezTo>
                  <a:cubicBezTo>
                    <a:pt x="35579" y="69315"/>
                    <a:pt x="40899" y="66675"/>
                    <a:pt x="46220" y="66675"/>
                  </a:cubicBezTo>
                  <a:close/>
                  <a:moveTo>
                    <a:pt x="289643" y="49213"/>
                  </a:moveTo>
                  <a:cubicBezTo>
                    <a:pt x="301549" y="49213"/>
                    <a:pt x="309487" y="58103"/>
                    <a:pt x="309487" y="68263"/>
                  </a:cubicBezTo>
                  <a:cubicBezTo>
                    <a:pt x="309487" y="79693"/>
                    <a:pt x="300227" y="87313"/>
                    <a:pt x="289643" y="87313"/>
                  </a:cubicBezTo>
                  <a:cubicBezTo>
                    <a:pt x="280383" y="87313"/>
                    <a:pt x="269799" y="79693"/>
                    <a:pt x="269799" y="68263"/>
                  </a:cubicBezTo>
                  <a:cubicBezTo>
                    <a:pt x="269799" y="68263"/>
                    <a:pt x="271122" y="68263"/>
                    <a:pt x="271122" y="68263"/>
                  </a:cubicBezTo>
                  <a:cubicBezTo>
                    <a:pt x="271122" y="65723"/>
                    <a:pt x="272445" y="63183"/>
                    <a:pt x="272445" y="59373"/>
                  </a:cubicBezTo>
                  <a:cubicBezTo>
                    <a:pt x="276414" y="54293"/>
                    <a:pt x="283028" y="49213"/>
                    <a:pt x="289643" y="49213"/>
                  </a:cubicBezTo>
                  <a:close/>
                  <a:moveTo>
                    <a:pt x="244544" y="33338"/>
                  </a:moveTo>
                  <a:cubicBezTo>
                    <a:pt x="257533" y="33338"/>
                    <a:pt x="266625" y="43861"/>
                    <a:pt x="266625" y="55699"/>
                  </a:cubicBezTo>
                  <a:cubicBezTo>
                    <a:pt x="266625" y="68853"/>
                    <a:pt x="256234" y="79376"/>
                    <a:pt x="244544" y="79376"/>
                  </a:cubicBezTo>
                  <a:cubicBezTo>
                    <a:pt x="235452" y="79376"/>
                    <a:pt x="226360" y="72799"/>
                    <a:pt x="223762" y="63592"/>
                  </a:cubicBezTo>
                  <a:cubicBezTo>
                    <a:pt x="225061" y="59645"/>
                    <a:pt x="226360" y="54384"/>
                    <a:pt x="226360" y="49123"/>
                  </a:cubicBezTo>
                  <a:cubicBezTo>
                    <a:pt x="226360" y="47807"/>
                    <a:pt x="226360" y="46492"/>
                    <a:pt x="226360" y="43861"/>
                  </a:cubicBezTo>
                  <a:cubicBezTo>
                    <a:pt x="230256" y="37284"/>
                    <a:pt x="236751" y="33338"/>
                    <a:pt x="244544" y="33338"/>
                  </a:cubicBezTo>
                  <a:close/>
                  <a:moveTo>
                    <a:pt x="192806" y="23813"/>
                  </a:moveTo>
                  <a:cubicBezTo>
                    <a:pt x="205756" y="23813"/>
                    <a:pt x="217412" y="35469"/>
                    <a:pt x="217412" y="48420"/>
                  </a:cubicBezTo>
                  <a:cubicBezTo>
                    <a:pt x="217412" y="62665"/>
                    <a:pt x="205756" y="73026"/>
                    <a:pt x="192806" y="73026"/>
                  </a:cubicBezTo>
                  <a:cubicBezTo>
                    <a:pt x="179855" y="73026"/>
                    <a:pt x="169494" y="63961"/>
                    <a:pt x="168199" y="51010"/>
                  </a:cubicBezTo>
                  <a:cubicBezTo>
                    <a:pt x="169494" y="48420"/>
                    <a:pt x="170789" y="44534"/>
                    <a:pt x="170789" y="39354"/>
                  </a:cubicBezTo>
                  <a:cubicBezTo>
                    <a:pt x="170789" y="39354"/>
                    <a:pt x="170789" y="39354"/>
                    <a:pt x="170789" y="38059"/>
                  </a:cubicBezTo>
                  <a:cubicBezTo>
                    <a:pt x="174674" y="30288"/>
                    <a:pt x="182445" y="23813"/>
                    <a:pt x="192806" y="23813"/>
                  </a:cubicBezTo>
                  <a:close/>
                  <a:moveTo>
                    <a:pt x="133275" y="12700"/>
                  </a:moveTo>
                  <a:cubicBezTo>
                    <a:pt x="148118" y="12700"/>
                    <a:pt x="160262" y="24548"/>
                    <a:pt x="160262" y="39029"/>
                  </a:cubicBezTo>
                  <a:cubicBezTo>
                    <a:pt x="160262" y="54827"/>
                    <a:pt x="148118" y="66675"/>
                    <a:pt x="133275" y="66675"/>
                  </a:cubicBezTo>
                  <a:cubicBezTo>
                    <a:pt x="121130" y="66675"/>
                    <a:pt x="110335" y="60093"/>
                    <a:pt x="106287" y="48245"/>
                  </a:cubicBezTo>
                  <a:cubicBezTo>
                    <a:pt x="108986" y="42979"/>
                    <a:pt x="111685" y="36396"/>
                    <a:pt x="111685" y="29814"/>
                  </a:cubicBezTo>
                  <a:cubicBezTo>
                    <a:pt x="111685" y="27181"/>
                    <a:pt x="110335" y="25865"/>
                    <a:pt x="110335" y="23232"/>
                  </a:cubicBezTo>
                  <a:cubicBezTo>
                    <a:pt x="115733" y="16649"/>
                    <a:pt x="123829" y="12700"/>
                    <a:pt x="133275" y="12700"/>
                  </a:cubicBezTo>
                  <a:close/>
                  <a:moveTo>
                    <a:pt x="72809" y="0"/>
                  </a:moveTo>
                  <a:cubicBezTo>
                    <a:pt x="88472" y="0"/>
                    <a:pt x="101525" y="14426"/>
                    <a:pt x="101525" y="30163"/>
                  </a:cubicBezTo>
                  <a:cubicBezTo>
                    <a:pt x="101525" y="47211"/>
                    <a:pt x="87167" y="60325"/>
                    <a:pt x="72809" y="60325"/>
                  </a:cubicBezTo>
                  <a:cubicBezTo>
                    <a:pt x="57145" y="60325"/>
                    <a:pt x="42787" y="47211"/>
                    <a:pt x="42787" y="30163"/>
                  </a:cubicBezTo>
                  <a:cubicBezTo>
                    <a:pt x="42787" y="14426"/>
                    <a:pt x="55840" y="0"/>
                    <a:pt x="72809" y="0"/>
                  </a:cubicBezTo>
                  <a:close/>
                </a:path>
              </a:pathLst>
            </a:custGeom>
            <a:solidFill>
              <a:schemeClr val="bg1"/>
            </a:solidFill>
            <a:ln>
              <a:noFill/>
            </a:ln>
          </p:spPr>
          <p:txBody>
            <a:bodyPr/>
            <a:lstStyle/>
            <a:p>
              <a:endParaRPr lang="zh-CN" altLang="en-US"/>
            </a:p>
          </p:txBody>
        </p:sp>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53" presetClass="entr" presetSubtype="16"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childTnLst>
                          </p:cTn>
                        </p:par>
                        <p:par>
                          <p:cTn id="15" fill="hold" nodeType="afterGroup">
                            <p:stCondLst>
                              <p:cond delay="1000"/>
                            </p:stCondLst>
                            <p:childTnLst>
                              <p:par>
                                <p:cTn id="16" presetID="2" presetClass="entr" presetSubtype="8"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 calcmode="lin" valueType="num">
                                      <p:cBhvr additive="base">
                                        <p:cTn id="18" dur="1000" fill="hold"/>
                                        <p:tgtEl>
                                          <p:spTgt spid="2"/>
                                        </p:tgtEl>
                                        <p:attrNameLst>
                                          <p:attrName>ppt_x</p:attrName>
                                        </p:attrNameLst>
                                      </p:cBhvr>
                                      <p:tavLst>
                                        <p:tav tm="0">
                                          <p:val>
                                            <p:strVal val="0-#ppt_w/2"/>
                                          </p:val>
                                        </p:tav>
                                        <p:tav tm="100000">
                                          <p:val>
                                            <p:strVal val="#ppt_x"/>
                                          </p:val>
                                        </p:tav>
                                      </p:tavLst>
                                    </p:anim>
                                    <p:anim calcmode="lin" valueType="num">
                                      <p:cBhvr additive="base">
                                        <p:cTn id="19"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8" name="椭圆 7"/>
          <p:cNvSpPr/>
          <p:nvPr/>
        </p:nvSpPr>
        <p:spPr>
          <a:xfrm>
            <a:off x="395536" y="1545730"/>
            <a:ext cx="1012073" cy="1012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3100">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sz="31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9" name="MH_Entry_1"/>
          <p:cNvSpPr/>
          <p:nvPr>
            <p:custDataLst>
              <p:tags r:id="rId3"/>
            </p:custDataLst>
          </p:nvPr>
        </p:nvSpPr>
        <p:spPr>
          <a:xfrm>
            <a:off x="1668657" y="1419622"/>
            <a:ext cx="2939470" cy="615553"/>
          </a:xfrm>
          <a:custGeom>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3175" cap="sq">
            <a:no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spAutoFit/>
          </a:bodyPr>
          <a:lstStyle/>
          <a:p>
            <a:r>
              <a:rPr lang="zh-CN" altLang="en-US" sz="2800" b="1">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rPr>
              <a:t>单击输入标题</a:t>
            </a:r>
            <a:endParaRPr lang="en-US" altLang="zh-CN" sz="2800" b="1">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a:p>
            <a:r>
              <a:rPr lang="en-US" altLang="zh-CN" sz="12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rPr>
              <a:t>ANNUAL WORK SUMMARY</a:t>
            </a:r>
            <a:endParaRPr lang="zh-CN" altLang="en-US" sz="12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11"/>
          <p:cNvSpPr txBox="1"/>
          <p:nvPr/>
        </p:nvSpPr>
        <p:spPr>
          <a:xfrm>
            <a:off x="3131840" y="215968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TextBox 11"/>
          <p:cNvSpPr txBox="1"/>
          <p:nvPr/>
        </p:nvSpPr>
        <p:spPr>
          <a:xfrm>
            <a:off x="1668657" y="215968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TextBox 11"/>
          <p:cNvSpPr txBox="1"/>
          <p:nvPr/>
        </p:nvSpPr>
        <p:spPr>
          <a:xfrm>
            <a:off x="3131840" y="236582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TextBox 12"/>
          <p:cNvSpPr txBox="1"/>
          <p:nvPr/>
        </p:nvSpPr>
        <p:spPr>
          <a:xfrm>
            <a:off x="1668657" y="2365827"/>
            <a:ext cx="1046440" cy="138499"/>
          </a:xfrm>
          <a:prstGeom prst="rect">
            <a:avLst/>
          </a:prstGeom>
          <a:noFill/>
        </p:spPr>
        <p:txBody>
          <a:bodyPr wrap="none" lIns="0" tIns="0" rIns="0" bIns="0" rtlCol="0">
            <a:spAutoFit/>
          </a:bodyPr>
          <a:lstStyle/>
          <a:p>
            <a:pPr marL="121920" lvl="1" indent="-121920" algn="ctr">
              <a:buFont typeface="Arial" panose="020b0604020202020204" pitchFamily="34" charset="0"/>
              <a:buChar char="•"/>
            </a:pPr>
            <a:r>
              <a:rPr lang="zh-CN" altLang="en-US" sz="900">
                <a:solidFill>
                  <a:schemeClr val="tx1">
                    <a:lumMod val="75000"/>
                  </a:schemeClr>
                </a:solidFill>
                <a:latin typeface="Arial" panose="020b0604020202020204" pitchFamily="34" charset="0"/>
                <a:ea typeface="微软雅黑" panose="020b0503020204020204" pitchFamily="34" charset="-122"/>
                <a:cs typeface="+mn-ea"/>
                <a:sym typeface="Arial" panose="020b0604020202020204" pitchFamily="34" charset="0"/>
              </a:rPr>
              <a:t>添加相关标题文字</a:t>
            </a:r>
            <a:endParaRPr lang="en-US" altLang="zh-CN" sz="900">
              <a:solidFill>
                <a:schemeClr val="tx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Freeform 6"/>
          <p:cNvSpPr/>
          <p:nvPr/>
        </p:nvSpPr>
        <p:spPr bwMode="auto">
          <a:xfrm>
            <a:off x="252" y="3838725"/>
            <a:ext cx="9143498" cy="1304775"/>
          </a:xfrm>
          <a:custGeom>
            <a:gdLst>
              <a:gd name="T0" fmla="*/ 1115 w 5702"/>
              <a:gd name="T1" fmla="*/ 0 h 1219"/>
              <a:gd name="T2" fmla="*/ 1277 w 5702"/>
              <a:gd name="T3" fmla="*/ 0 h 1219"/>
              <a:gd name="T4" fmla="*/ 1428 w 5702"/>
              <a:gd name="T5" fmla="*/ 2 h 1219"/>
              <a:gd name="T6" fmla="*/ 1569 w 5702"/>
              <a:gd name="T7" fmla="*/ 2 h 1219"/>
              <a:gd name="T8" fmla="*/ 1698 w 5702"/>
              <a:gd name="T9" fmla="*/ 4 h 1219"/>
              <a:gd name="T10" fmla="*/ 1816 w 5702"/>
              <a:gd name="T11" fmla="*/ 6 h 1219"/>
              <a:gd name="T12" fmla="*/ 1922 w 5702"/>
              <a:gd name="T13" fmla="*/ 7 h 1219"/>
              <a:gd name="T14" fmla="*/ 2018 w 5702"/>
              <a:gd name="T15" fmla="*/ 11 h 1219"/>
              <a:gd name="T16" fmla="*/ 2102 w 5702"/>
              <a:gd name="T17" fmla="*/ 14 h 1219"/>
              <a:gd name="T18" fmla="*/ 2201 w 5702"/>
              <a:gd name="T19" fmla="*/ 20 h 1219"/>
              <a:gd name="T20" fmla="*/ 2293 w 5702"/>
              <a:gd name="T21" fmla="*/ 32 h 1219"/>
              <a:gd name="T22" fmla="*/ 2375 w 5702"/>
              <a:gd name="T23" fmla="*/ 46 h 1219"/>
              <a:gd name="T24" fmla="*/ 2452 w 5702"/>
              <a:gd name="T25" fmla="*/ 63 h 1219"/>
              <a:gd name="T26" fmla="*/ 2518 w 5702"/>
              <a:gd name="T27" fmla="*/ 84 h 1219"/>
              <a:gd name="T28" fmla="*/ 2579 w 5702"/>
              <a:gd name="T29" fmla="*/ 107 h 1219"/>
              <a:gd name="T30" fmla="*/ 2633 w 5702"/>
              <a:gd name="T31" fmla="*/ 131 h 1219"/>
              <a:gd name="T32" fmla="*/ 2680 w 5702"/>
              <a:gd name="T33" fmla="*/ 157 h 1219"/>
              <a:gd name="T34" fmla="*/ 2722 w 5702"/>
              <a:gd name="T35" fmla="*/ 185 h 1219"/>
              <a:gd name="T36" fmla="*/ 2756 w 5702"/>
              <a:gd name="T37" fmla="*/ 213 h 1219"/>
              <a:gd name="T38" fmla="*/ 2788 w 5702"/>
              <a:gd name="T39" fmla="*/ 241 h 1219"/>
              <a:gd name="T40" fmla="*/ 2812 w 5702"/>
              <a:gd name="T41" fmla="*/ 269 h 1219"/>
              <a:gd name="T42" fmla="*/ 2835 w 5702"/>
              <a:gd name="T43" fmla="*/ 295 h 1219"/>
              <a:gd name="T44" fmla="*/ 2852 w 5702"/>
              <a:gd name="T45" fmla="*/ 319 h 1219"/>
              <a:gd name="T46" fmla="*/ 2868 w 5702"/>
              <a:gd name="T47" fmla="*/ 295 h 1219"/>
              <a:gd name="T48" fmla="*/ 2891 w 5702"/>
              <a:gd name="T49" fmla="*/ 269 h 1219"/>
              <a:gd name="T50" fmla="*/ 2915 w 5702"/>
              <a:gd name="T51" fmla="*/ 241 h 1219"/>
              <a:gd name="T52" fmla="*/ 2946 w 5702"/>
              <a:gd name="T53" fmla="*/ 213 h 1219"/>
              <a:gd name="T54" fmla="*/ 2981 w 5702"/>
              <a:gd name="T55" fmla="*/ 185 h 1219"/>
              <a:gd name="T56" fmla="*/ 3023 w 5702"/>
              <a:gd name="T57" fmla="*/ 157 h 1219"/>
              <a:gd name="T58" fmla="*/ 3070 w 5702"/>
              <a:gd name="T59" fmla="*/ 131 h 1219"/>
              <a:gd name="T60" fmla="*/ 3124 w 5702"/>
              <a:gd name="T61" fmla="*/ 107 h 1219"/>
              <a:gd name="T62" fmla="*/ 3185 w 5702"/>
              <a:gd name="T63" fmla="*/ 84 h 1219"/>
              <a:gd name="T64" fmla="*/ 3253 w 5702"/>
              <a:gd name="T65" fmla="*/ 63 h 1219"/>
              <a:gd name="T66" fmla="*/ 3328 w 5702"/>
              <a:gd name="T67" fmla="*/ 46 h 1219"/>
              <a:gd name="T68" fmla="*/ 3409 w 5702"/>
              <a:gd name="T69" fmla="*/ 32 h 1219"/>
              <a:gd name="T70" fmla="*/ 3502 w 5702"/>
              <a:gd name="T71" fmla="*/ 20 h 1219"/>
              <a:gd name="T72" fmla="*/ 3601 w 5702"/>
              <a:gd name="T73" fmla="*/ 14 h 1219"/>
              <a:gd name="T74" fmla="*/ 3684 w 5702"/>
              <a:gd name="T75" fmla="*/ 11 h 1219"/>
              <a:gd name="T76" fmla="*/ 3780 w 5702"/>
              <a:gd name="T77" fmla="*/ 7 h 1219"/>
              <a:gd name="T78" fmla="*/ 3886 w 5702"/>
              <a:gd name="T79" fmla="*/ 6 h 1219"/>
              <a:gd name="T80" fmla="*/ 4005 w 5702"/>
              <a:gd name="T81" fmla="*/ 4 h 1219"/>
              <a:gd name="T82" fmla="*/ 4134 w 5702"/>
              <a:gd name="T83" fmla="*/ 2 h 1219"/>
              <a:gd name="T84" fmla="*/ 4275 w 5702"/>
              <a:gd name="T85" fmla="*/ 2 h 1219"/>
              <a:gd name="T86" fmla="*/ 4426 w 5702"/>
              <a:gd name="T87" fmla="*/ 0 h 1219"/>
              <a:gd name="T88" fmla="*/ 4588 w 5702"/>
              <a:gd name="T89" fmla="*/ 0 h 1219"/>
              <a:gd name="T90" fmla="*/ 4799 w 5702"/>
              <a:gd name="T91" fmla="*/ 0 h 1219"/>
              <a:gd name="T92" fmla="*/ 4999 w 5702"/>
              <a:gd name="T93" fmla="*/ 2 h 1219"/>
              <a:gd name="T94" fmla="*/ 5189 w 5702"/>
              <a:gd name="T95" fmla="*/ 4 h 1219"/>
              <a:gd name="T96" fmla="*/ 5368 w 5702"/>
              <a:gd name="T97" fmla="*/ 6 h 1219"/>
              <a:gd name="T98" fmla="*/ 5541 w 5702"/>
              <a:gd name="T99" fmla="*/ 7 h 1219"/>
              <a:gd name="T100" fmla="*/ 5702 w 5702"/>
              <a:gd name="T101" fmla="*/ 9 h 1219"/>
              <a:gd name="T102" fmla="*/ 5702 w 5702"/>
              <a:gd name="T103" fmla="*/ 1219 h 1219"/>
              <a:gd name="T104" fmla="*/ 0 w 5702"/>
              <a:gd name="T105" fmla="*/ 1219 h 1219"/>
              <a:gd name="T106" fmla="*/ 0 w 5702"/>
              <a:gd name="T107" fmla="*/ 9 h 1219"/>
              <a:gd name="T108" fmla="*/ 164 w 5702"/>
              <a:gd name="T109" fmla="*/ 7 h 1219"/>
              <a:gd name="T110" fmla="*/ 335 w 5702"/>
              <a:gd name="T111" fmla="*/ 6 h 1219"/>
              <a:gd name="T112" fmla="*/ 514 w 5702"/>
              <a:gd name="T113" fmla="*/ 4 h 1219"/>
              <a:gd name="T114" fmla="*/ 704 w 5702"/>
              <a:gd name="T115" fmla="*/ 2 h 1219"/>
              <a:gd name="T116" fmla="*/ 904 w 5702"/>
              <a:gd name="T117" fmla="*/ 0 h 1219"/>
              <a:gd name="T118" fmla="*/ 1115 w 5702"/>
              <a:gd name="T119" fmla="*/ 0 h 12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2" h="1219">
                <a:moveTo>
                  <a:pt x="1115" y="0"/>
                </a:moveTo>
                <a:lnTo>
                  <a:pt x="1277" y="0"/>
                </a:lnTo>
                <a:lnTo>
                  <a:pt x="1428" y="2"/>
                </a:lnTo>
                <a:lnTo>
                  <a:pt x="1569" y="2"/>
                </a:lnTo>
                <a:lnTo>
                  <a:pt x="1698" y="4"/>
                </a:lnTo>
                <a:lnTo>
                  <a:pt x="1816" y="6"/>
                </a:lnTo>
                <a:lnTo>
                  <a:pt x="1922" y="7"/>
                </a:lnTo>
                <a:lnTo>
                  <a:pt x="2018" y="11"/>
                </a:lnTo>
                <a:lnTo>
                  <a:pt x="2102" y="14"/>
                </a:lnTo>
                <a:lnTo>
                  <a:pt x="2201" y="20"/>
                </a:lnTo>
                <a:lnTo>
                  <a:pt x="2293" y="32"/>
                </a:lnTo>
                <a:lnTo>
                  <a:pt x="2375" y="46"/>
                </a:lnTo>
                <a:lnTo>
                  <a:pt x="2452" y="63"/>
                </a:lnTo>
                <a:lnTo>
                  <a:pt x="2518" y="84"/>
                </a:lnTo>
                <a:lnTo>
                  <a:pt x="2579" y="107"/>
                </a:lnTo>
                <a:lnTo>
                  <a:pt x="2633" y="131"/>
                </a:lnTo>
                <a:lnTo>
                  <a:pt x="2680" y="157"/>
                </a:lnTo>
                <a:lnTo>
                  <a:pt x="2722" y="185"/>
                </a:lnTo>
                <a:lnTo>
                  <a:pt x="2756" y="213"/>
                </a:lnTo>
                <a:lnTo>
                  <a:pt x="2788" y="241"/>
                </a:lnTo>
                <a:lnTo>
                  <a:pt x="2812" y="269"/>
                </a:lnTo>
                <a:lnTo>
                  <a:pt x="2835" y="295"/>
                </a:lnTo>
                <a:lnTo>
                  <a:pt x="2852" y="319"/>
                </a:lnTo>
                <a:lnTo>
                  <a:pt x="2868" y="295"/>
                </a:lnTo>
                <a:lnTo>
                  <a:pt x="2891" y="269"/>
                </a:lnTo>
                <a:lnTo>
                  <a:pt x="2915" y="241"/>
                </a:lnTo>
                <a:lnTo>
                  <a:pt x="2946" y="213"/>
                </a:lnTo>
                <a:lnTo>
                  <a:pt x="2981" y="185"/>
                </a:lnTo>
                <a:lnTo>
                  <a:pt x="3023" y="157"/>
                </a:lnTo>
                <a:lnTo>
                  <a:pt x="3070" y="131"/>
                </a:lnTo>
                <a:lnTo>
                  <a:pt x="3124" y="107"/>
                </a:lnTo>
                <a:lnTo>
                  <a:pt x="3185" y="84"/>
                </a:lnTo>
                <a:lnTo>
                  <a:pt x="3253" y="63"/>
                </a:lnTo>
                <a:lnTo>
                  <a:pt x="3328" y="46"/>
                </a:lnTo>
                <a:lnTo>
                  <a:pt x="3409" y="32"/>
                </a:lnTo>
                <a:lnTo>
                  <a:pt x="3502" y="20"/>
                </a:lnTo>
                <a:lnTo>
                  <a:pt x="3601" y="14"/>
                </a:lnTo>
                <a:lnTo>
                  <a:pt x="3684" y="11"/>
                </a:lnTo>
                <a:lnTo>
                  <a:pt x="3780" y="7"/>
                </a:lnTo>
                <a:lnTo>
                  <a:pt x="3886" y="6"/>
                </a:lnTo>
                <a:lnTo>
                  <a:pt x="4005" y="4"/>
                </a:lnTo>
                <a:lnTo>
                  <a:pt x="4134" y="2"/>
                </a:lnTo>
                <a:lnTo>
                  <a:pt x="4275" y="2"/>
                </a:lnTo>
                <a:lnTo>
                  <a:pt x="4426" y="0"/>
                </a:lnTo>
                <a:lnTo>
                  <a:pt x="4588" y="0"/>
                </a:lnTo>
                <a:lnTo>
                  <a:pt x="4799" y="0"/>
                </a:lnTo>
                <a:lnTo>
                  <a:pt x="4999" y="2"/>
                </a:lnTo>
                <a:lnTo>
                  <a:pt x="5189" y="4"/>
                </a:lnTo>
                <a:lnTo>
                  <a:pt x="5368" y="6"/>
                </a:lnTo>
                <a:lnTo>
                  <a:pt x="5541" y="7"/>
                </a:lnTo>
                <a:lnTo>
                  <a:pt x="5702" y="9"/>
                </a:lnTo>
                <a:lnTo>
                  <a:pt x="5702" y="1219"/>
                </a:lnTo>
                <a:lnTo>
                  <a:pt x="0" y="1219"/>
                </a:lnTo>
                <a:lnTo>
                  <a:pt x="0" y="9"/>
                </a:lnTo>
                <a:lnTo>
                  <a:pt x="164" y="7"/>
                </a:lnTo>
                <a:lnTo>
                  <a:pt x="335" y="6"/>
                </a:lnTo>
                <a:lnTo>
                  <a:pt x="514" y="4"/>
                </a:lnTo>
                <a:lnTo>
                  <a:pt x="704" y="2"/>
                </a:lnTo>
                <a:lnTo>
                  <a:pt x="904" y="0"/>
                </a:lnTo>
                <a:lnTo>
                  <a:pt x="1115" y="0"/>
                </a:lnTo>
                <a:close/>
              </a:path>
            </a:pathLst>
          </a:custGeom>
          <a:solidFill>
            <a:schemeClr val="accent2"/>
          </a:solidFill>
          <a:ln w="0">
            <a:noFill/>
            <a:prstDash val="solid"/>
            <a:round/>
          </a:ln>
        </p:spPr>
        <p:txBody>
          <a:bodyPr vert="horz" wrap="square" lIns="91433" tIns="45717" rIns="91433" bIns="45717" numCol="1" anchor="t" anchorCtr="0" compatLnSpc="1"/>
          <a:lstStyle/>
          <a:p>
            <a:endParaRPr lang="zh-CN" altLang="en-US"/>
          </a:p>
        </p:txBody>
      </p:sp>
      <p:sp>
        <p:nvSpPr>
          <p:cNvPr id="18" name="Freeform 7"/>
          <p:cNvSpPr/>
          <p:nvPr/>
        </p:nvSpPr>
        <p:spPr bwMode="auto">
          <a:xfrm>
            <a:off x="252" y="3647129"/>
            <a:ext cx="9143498" cy="421724"/>
          </a:xfrm>
          <a:custGeom>
            <a:gdLst>
              <a:gd name="T0" fmla="*/ 1184 w 5702"/>
              <a:gd name="T1" fmla="*/ 0 h 394"/>
              <a:gd name="T2" fmla="*/ 1492 w 5702"/>
              <a:gd name="T3" fmla="*/ 2 h 394"/>
              <a:gd name="T4" fmla="*/ 1754 w 5702"/>
              <a:gd name="T5" fmla="*/ 5 h 394"/>
              <a:gd name="T6" fmla="*/ 1968 w 5702"/>
              <a:gd name="T7" fmla="*/ 11 h 394"/>
              <a:gd name="T8" fmla="*/ 2156 w 5702"/>
              <a:gd name="T9" fmla="*/ 19 h 394"/>
              <a:gd name="T10" fmla="*/ 2333 w 5702"/>
              <a:gd name="T11" fmla="*/ 42 h 394"/>
              <a:gd name="T12" fmla="*/ 2480 w 5702"/>
              <a:gd name="T13" fmla="*/ 78 h 394"/>
              <a:gd name="T14" fmla="*/ 2598 w 5702"/>
              <a:gd name="T15" fmla="*/ 122 h 394"/>
              <a:gd name="T16" fmla="*/ 2690 w 5702"/>
              <a:gd name="T17" fmla="*/ 172 h 394"/>
              <a:gd name="T18" fmla="*/ 2763 w 5702"/>
              <a:gd name="T19" fmla="*/ 225 h 394"/>
              <a:gd name="T20" fmla="*/ 2816 w 5702"/>
              <a:gd name="T21" fmla="*/ 277 h 394"/>
              <a:gd name="T22" fmla="*/ 2852 w 5702"/>
              <a:gd name="T23" fmla="*/ 326 h 394"/>
              <a:gd name="T24" fmla="*/ 2887 w 5702"/>
              <a:gd name="T25" fmla="*/ 277 h 394"/>
              <a:gd name="T26" fmla="*/ 2939 w 5702"/>
              <a:gd name="T27" fmla="*/ 225 h 394"/>
              <a:gd name="T28" fmla="*/ 3012 w 5702"/>
              <a:gd name="T29" fmla="*/ 172 h 394"/>
              <a:gd name="T30" fmla="*/ 3105 w 5702"/>
              <a:gd name="T31" fmla="*/ 122 h 394"/>
              <a:gd name="T32" fmla="*/ 3223 w 5702"/>
              <a:gd name="T33" fmla="*/ 78 h 394"/>
              <a:gd name="T34" fmla="*/ 3369 w 5702"/>
              <a:gd name="T35" fmla="*/ 42 h 394"/>
              <a:gd name="T36" fmla="*/ 3547 w 5702"/>
              <a:gd name="T37" fmla="*/ 19 h 394"/>
              <a:gd name="T38" fmla="*/ 3735 w 5702"/>
              <a:gd name="T39" fmla="*/ 11 h 394"/>
              <a:gd name="T40" fmla="*/ 3949 w 5702"/>
              <a:gd name="T41" fmla="*/ 5 h 394"/>
              <a:gd name="T42" fmla="*/ 4210 w 5702"/>
              <a:gd name="T43" fmla="*/ 2 h 394"/>
              <a:gd name="T44" fmla="*/ 4519 w 5702"/>
              <a:gd name="T45" fmla="*/ 0 h 394"/>
              <a:gd name="T46" fmla="*/ 4907 w 5702"/>
              <a:gd name="T47" fmla="*/ 0 h 394"/>
              <a:gd name="T48" fmla="*/ 5318 w 5702"/>
              <a:gd name="T49" fmla="*/ 2 h 394"/>
              <a:gd name="T50" fmla="*/ 5702 w 5702"/>
              <a:gd name="T51" fmla="*/ 5 h 394"/>
              <a:gd name="T52" fmla="*/ 5513 w 5702"/>
              <a:gd name="T53" fmla="*/ 72 h 394"/>
              <a:gd name="T54" fmla="*/ 5116 w 5702"/>
              <a:gd name="T55" fmla="*/ 70 h 394"/>
              <a:gd name="T56" fmla="*/ 4689 w 5702"/>
              <a:gd name="T57" fmla="*/ 68 h 394"/>
              <a:gd name="T58" fmla="*/ 4358 w 5702"/>
              <a:gd name="T59" fmla="*/ 70 h 394"/>
              <a:gd name="T60" fmla="*/ 4073 w 5702"/>
              <a:gd name="T61" fmla="*/ 72 h 394"/>
              <a:gd name="T62" fmla="*/ 3836 w 5702"/>
              <a:gd name="T63" fmla="*/ 75 h 394"/>
              <a:gd name="T64" fmla="*/ 3648 w 5702"/>
              <a:gd name="T65" fmla="*/ 80 h 394"/>
              <a:gd name="T66" fmla="*/ 3455 w 5702"/>
              <a:gd name="T67" fmla="*/ 98 h 394"/>
              <a:gd name="T68" fmla="*/ 3293 w 5702"/>
              <a:gd name="T69" fmla="*/ 127 h 394"/>
              <a:gd name="T70" fmla="*/ 3162 w 5702"/>
              <a:gd name="T71" fmla="*/ 167 h 394"/>
              <a:gd name="T72" fmla="*/ 3056 w 5702"/>
              <a:gd name="T73" fmla="*/ 214 h 394"/>
              <a:gd name="T74" fmla="*/ 2974 w 5702"/>
              <a:gd name="T75" fmla="*/ 266 h 394"/>
              <a:gd name="T76" fmla="*/ 2911 w 5702"/>
              <a:gd name="T77" fmla="*/ 320 h 394"/>
              <a:gd name="T78" fmla="*/ 2868 w 5702"/>
              <a:gd name="T79" fmla="*/ 371 h 394"/>
              <a:gd name="T80" fmla="*/ 2835 w 5702"/>
              <a:gd name="T81" fmla="*/ 371 h 394"/>
              <a:gd name="T82" fmla="*/ 2791 w 5702"/>
              <a:gd name="T83" fmla="*/ 320 h 394"/>
              <a:gd name="T84" fmla="*/ 2730 w 5702"/>
              <a:gd name="T85" fmla="*/ 266 h 394"/>
              <a:gd name="T86" fmla="*/ 2647 w 5702"/>
              <a:gd name="T87" fmla="*/ 214 h 394"/>
              <a:gd name="T88" fmla="*/ 2542 w 5702"/>
              <a:gd name="T89" fmla="*/ 167 h 394"/>
              <a:gd name="T90" fmla="*/ 2410 w 5702"/>
              <a:gd name="T91" fmla="*/ 127 h 394"/>
              <a:gd name="T92" fmla="*/ 2248 w 5702"/>
              <a:gd name="T93" fmla="*/ 98 h 394"/>
              <a:gd name="T94" fmla="*/ 2055 w 5702"/>
              <a:gd name="T95" fmla="*/ 80 h 394"/>
              <a:gd name="T96" fmla="*/ 1867 w 5702"/>
              <a:gd name="T97" fmla="*/ 75 h 394"/>
              <a:gd name="T98" fmla="*/ 1630 w 5702"/>
              <a:gd name="T99" fmla="*/ 72 h 394"/>
              <a:gd name="T100" fmla="*/ 1344 w 5702"/>
              <a:gd name="T101" fmla="*/ 70 h 394"/>
              <a:gd name="T102" fmla="*/ 1014 w 5702"/>
              <a:gd name="T103" fmla="*/ 68 h 394"/>
              <a:gd name="T104" fmla="*/ 587 w 5702"/>
              <a:gd name="T105" fmla="*/ 70 h 394"/>
              <a:gd name="T106" fmla="*/ 190 w 5702"/>
              <a:gd name="T107" fmla="*/ 72 h 394"/>
              <a:gd name="T108" fmla="*/ 0 w 5702"/>
              <a:gd name="T109" fmla="*/ 5 h 394"/>
              <a:gd name="T110" fmla="*/ 385 w 5702"/>
              <a:gd name="T111" fmla="*/ 2 h 394"/>
              <a:gd name="T112" fmla="*/ 796 w 5702"/>
              <a:gd name="T113" fmla="*/ 0 h 39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02" h="394">
                <a:moveTo>
                  <a:pt x="1014" y="0"/>
                </a:moveTo>
                <a:lnTo>
                  <a:pt x="1184" y="0"/>
                </a:lnTo>
                <a:lnTo>
                  <a:pt x="1344" y="0"/>
                </a:lnTo>
                <a:lnTo>
                  <a:pt x="1492" y="2"/>
                </a:lnTo>
                <a:lnTo>
                  <a:pt x="1630" y="4"/>
                </a:lnTo>
                <a:lnTo>
                  <a:pt x="1754" y="5"/>
                </a:lnTo>
                <a:lnTo>
                  <a:pt x="1867" y="7"/>
                </a:lnTo>
                <a:lnTo>
                  <a:pt x="1968" y="11"/>
                </a:lnTo>
                <a:lnTo>
                  <a:pt x="2055" y="12"/>
                </a:lnTo>
                <a:lnTo>
                  <a:pt x="2156" y="19"/>
                </a:lnTo>
                <a:lnTo>
                  <a:pt x="2248" y="30"/>
                </a:lnTo>
                <a:lnTo>
                  <a:pt x="2333" y="42"/>
                </a:lnTo>
                <a:lnTo>
                  <a:pt x="2410" y="59"/>
                </a:lnTo>
                <a:lnTo>
                  <a:pt x="2480" y="78"/>
                </a:lnTo>
                <a:lnTo>
                  <a:pt x="2542" y="99"/>
                </a:lnTo>
                <a:lnTo>
                  <a:pt x="2598" y="122"/>
                </a:lnTo>
                <a:lnTo>
                  <a:pt x="2647" y="146"/>
                </a:lnTo>
                <a:lnTo>
                  <a:pt x="2690" y="172"/>
                </a:lnTo>
                <a:lnTo>
                  <a:pt x="2730" y="199"/>
                </a:lnTo>
                <a:lnTo>
                  <a:pt x="2763" y="225"/>
                </a:lnTo>
                <a:lnTo>
                  <a:pt x="2791" y="253"/>
                </a:lnTo>
                <a:lnTo>
                  <a:pt x="2816" y="277"/>
                </a:lnTo>
                <a:lnTo>
                  <a:pt x="2835" y="303"/>
                </a:lnTo>
                <a:lnTo>
                  <a:pt x="2852" y="326"/>
                </a:lnTo>
                <a:lnTo>
                  <a:pt x="2868" y="303"/>
                </a:lnTo>
                <a:lnTo>
                  <a:pt x="2887" y="277"/>
                </a:lnTo>
                <a:lnTo>
                  <a:pt x="2911" y="253"/>
                </a:lnTo>
                <a:lnTo>
                  <a:pt x="2939" y="225"/>
                </a:lnTo>
                <a:lnTo>
                  <a:pt x="2974" y="199"/>
                </a:lnTo>
                <a:lnTo>
                  <a:pt x="3012" y="172"/>
                </a:lnTo>
                <a:lnTo>
                  <a:pt x="3056" y="146"/>
                </a:lnTo>
                <a:lnTo>
                  <a:pt x="3105" y="122"/>
                </a:lnTo>
                <a:lnTo>
                  <a:pt x="3162" y="99"/>
                </a:lnTo>
                <a:lnTo>
                  <a:pt x="3223" y="78"/>
                </a:lnTo>
                <a:lnTo>
                  <a:pt x="3293" y="59"/>
                </a:lnTo>
                <a:lnTo>
                  <a:pt x="3369" y="42"/>
                </a:lnTo>
                <a:lnTo>
                  <a:pt x="3455" y="30"/>
                </a:lnTo>
                <a:lnTo>
                  <a:pt x="3547" y="19"/>
                </a:lnTo>
                <a:lnTo>
                  <a:pt x="3648" y="12"/>
                </a:lnTo>
                <a:lnTo>
                  <a:pt x="3735" y="11"/>
                </a:lnTo>
                <a:lnTo>
                  <a:pt x="3836" y="7"/>
                </a:lnTo>
                <a:lnTo>
                  <a:pt x="3949" y="5"/>
                </a:lnTo>
                <a:lnTo>
                  <a:pt x="4073" y="4"/>
                </a:lnTo>
                <a:lnTo>
                  <a:pt x="4210" y="2"/>
                </a:lnTo>
                <a:lnTo>
                  <a:pt x="4358" y="0"/>
                </a:lnTo>
                <a:lnTo>
                  <a:pt x="4519" y="0"/>
                </a:lnTo>
                <a:lnTo>
                  <a:pt x="4689" y="0"/>
                </a:lnTo>
                <a:lnTo>
                  <a:pt x="4907" y="0"/>
                </a:lnTo>
                <a:lnTo>
                  <a:pt x="5116" y="2"/>
                </a:lnTo>
                <a:lnTo>
                  <a:pt x="5318" y="2"/>
                </a:lnTo>
                <a:lnTo>
                  <a:pt x="5513" y="4"/>
                </a:lnTo>
                <a:lnTo>
                  <a:pt x="5702" y="5"/>
                </a:lnTo>
                <a:lnTo>
                  <a:pt x="5702" y="73"/>
                </a:lnTo>
                <a:lnTo>
                  <a:pt x="5513" y="72"/>
                </a:lnTo>
                <a:lnTo>
                  <a:pt x="5318" y="70"/>
                </a:lnTo>
                <a:lnTo>
                  <a:pt x="5116" y="70"/>
                </a:lnTo>
                <a:lnTo>
                  <a:pt x="4907" y="68"/>
                </a:lnTo>
                <a:lnTo>
                  <a:pt x="4689" y="68"/>
                </a:lnTo>
                <a:lnTo>
                  <a:pt x="4519" y="68"/>
                </a:lnTo>
                <a:lnTo>
                  <a:pt x="4358" y="70"/>
                </a:lnTo>
                <a:lnTo>
                  <a:pt x="4210" y="70"/>
                </a:lnTo>
                <a:lnTo>
                  <a:pt x="4073" y="72"/>
                </a:lnTo>
                <a:lnTo>
                  <a:pt x="3949" y="73"/>
                </a:lnTo>
                <a:lnTo>
                  <a:pt x="3836" y="75"/>
                </a:lnTo>
                <a:lnTo>
                  <a:pt x="3735" y="78"/>
                </a:lnTo>
                <a:lnTo>
                  <a:pt x="3648" y="80"/>
                </a:lnTo>
                <a:lnTo>
                  <a:pt x="3547" y="87"/>
                </a:lnTo>
                <a:lnTo>
                  <a:pt x="3455" y="98"/>
                </a:lnTo>
                <a:lnTo>
                  <a:pt x="3369" y="110"/>
                </a:lnTo>
                <a:lnTo>
                  <a:pt x="3293" y="127"/>
                </a:lnTo>
                <a:lnTo>
                  <a:pt x="3223" y="146"/>
                </a:lnTo>
                <a:lnTo>
                  <a:pt x="3162" y="167"/>
                </a:lnTo>
                <a:lnTo>
                  <a:pt x="3105" y="190"/>
                </a:lnTo>
                <a:lnTo>
                  <a:pt x="3056" y="214"/>
                </a:lnTo>
                <a:lnTo>
                  <a:pt x="3012" y="240"/>
                </a:lnTo>
                <a:lnTo>
                  <a:pt x="2974" y="266"/>
                </a:lnTo>
                <a:lnTo>
                  <a:pt x="2939" y="293"/>
                </a:lnTo>
                <a:lnTo>
                  <a:pt x="2911" y="320"/>
                </a:lnTo>
                <a:lnTo>
                  <a:pt x="2887" y="345"/>
                </a:lnTo>
                <a:lnTo>
                  <a:pt x="2868" y="371"/>
                </a:lnTo>
                <a:lnTo>
                  <a:pt x="2852" y="394"/>
                </a:lnTo>
                <a:lnTo>
                  <a:pt x="2835" y="371"/>
                </a:lnTo>
                <a:lnTo>
                  <a:pt x="2816" y="345"/>
                </a:lnTo>
                <a:lnTo>
                  <a:pt x="2791" y="320"/>
                </a:lnTo>
                <a:lnTo>
                  <a:pt x="2763" y="293"/>
                </a:lnTo>
                <a:lnTo>
                  <a:pt x="2730" y="266"/>
                </a:lnTo>
                <a:lnTo>
                  <a:pt x="2690" y="240"/>
                </a:lnTo>
                <a:lnTo>
                  <a:pt x="2647" y="214"/>
                </a:lnTo>
                <a:lnTo>
                  <a:pt x="2598" y="190"/>
                </a:lnTo>
                <a:lnTo>
                  <a:pt x="2542" y="167"/>
                </a:lnTo>
                <a:lnTo>
                  <a:pt x="2480" y="146"/>
                </a:lnTo>
                <a:lnTo>
                  <a:pt x="2410" y="127"/>
                </a:lnTo>
                <a:lnTo>
                  <a:pt x="2333" y="110"/>
                </a:lnTo>
                <a:lnTo>
                  <a:pt x="2248" y="98"/>
                </a:lnTo>
                <a:lnTo>
                  <a:pt x="2156" y="87"/>
                </a:lnTo>
                <a:lnTo>
                  <a:pt x="2055" y="80"/>
                </a:lnTo>
                <a:lnTo>
                  <a:pt x="1968" y="78"/>
                </a:lnTo>
                <a:lnTo>
                  <a:pt x="1867" y="75"/>
                </a:lnTo>
                <a:lnTo>
                  <a:pt x="1754" y="73"/>
                </a:lnTo>
                <a:lnTo>
                  <a:pt x="1630" y="72"/>
                </a:lnTo>
                <a:lnTo>
                  <a:pt x="1492" y="70"/>
                </a:lnTo>
                <a:lnTo>
                  <a:pt x="1344" y="70"/>
                </a:lnTo>
                <a:lnTo>
                  <a:pt x="1184" y="68"/>
                </a:lnTo>
                <a:lnTo>
                  <a:pt x="1014" y="68"/>
                </a:lnTo>
                <a:lnTo>
                  <a:pt x="796" y="68"/>
                </a:lnTo>
                <a:lnTo>
                  <a:pt x="587" y="70"/>
                </a:lnTo>
                <a:lnTo>
                  <a:pt x="385" y="70"/>
                </a:lnTo>
                <a:lnTo>
                  <a:pt x="190" y="72"/>
                </a:lnTo>
                <a:lnTo>
                  <a:pt x="0" y="73"/>
                </a:lnTo>
                <a:lnTo>
                  <a:pt x="0" y="5"/>
                </a:lnTo>
                <a:lnTo>
                  <a:pt x="190" y="4"/>
                </a:lnTo>
                <a:lnTo>
                  <a:pt x="385" y="2"/>
                </a:lnTo>
                <a:lnTo>
                  <a:pt x="587" y="2"/>
                </a:lnTo>
                <a:lnTo>
                  <a:pt x="796" y="0"/>
                </a:lnTo>
                <a:lnTo>
                  <a:pt x="1014" y="0"/>
                </a:lnTo>
                <a:close/>
              </a:path>
            </a:pathLst>
          </a:custGeom>
          <a:solidFill>
            <a:schemeClr val="accent1"/>
          </a:solidFill>
          <a:ln w="0">
            <a:noFill/>
            <a:prstDash val="solid"/>
            <a:round/>
          </a:ln>
        </p:spPr>
        <p:txBody>
          <a:bodyPr vert="horz" wrap="square" lIns="91433" tIns="45717" rIns="91433" bIns="45717" numCol="1" anchor="t" anchorCtr="0" compatLnSpc="1"/>
          <a:lstStyle/>
          <a:p>
            <a:endParaRPr lang="zh-CN" altLang="en-US"/>
          </a:p>
        </p:txBody>
      </p:sp>
      <p:grpSp>
        <p:nvGrpSpPr>
          <p:cNvPr id="14" name="组合 13"/>
          <p:cNvGrpSpPr/>
          <p:nvPr/>
        </p:nvGrpSpPr>
        <p:grpSpPr>
          <a:xfrm>
            <a:off x="0" y="167260"/>
            <a:ext cx="9144000" cy="4977523"/>
            <a:chOff x="0" y="223013"/>
            <a:chExt cx="12192000" cy="6636697"/>
          </a:xfrm>
        </p:grpSpPr>
        <p:sp>
          <p:nvSpPr>
            <p:cNvPr id="16" name="矩形 15"/>
            <p:cNvSpPr/>
            <p:nvPr/>
          </p:nvSpPr>
          <p:spPr>
            <a:xfrm>
              <a:off x="0" y="4348627"/>
              <a:ext cx="12192000" cy="2511083"/>
            </a:xfrm>
            <a:prstGeom prst="rect">
              <a:avLst/>
            </a:prstGeom>
            <a:solidFill>
              <a:srgbClr val="EE7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19" name="图片 18"/>
            <p:cNvPicPr>
              <a:picLocks noChangeAspect="1"/>
            </p:cNvPicPr>
            <p:nvPr/>
          </p:nvPicPr>
          <p:blipFill>
            <a:blip r:embed="rId4"/>
            <a:stretch>
              <a:fillRect/>
            </a:stretch>
          </p:blipFill>
          <p:spPr>
            <a:xfrm>
              <a:off x="5485668" y="223013"/>
              <a:ext cx="6457539" cy="6484862"/>
            </a:xfrm>
            <a:prstGeom prst="rect">
              <a:avLst/>
            </a:prstGeom>
          </p:spPr>
        </p:pic>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randombar(horizontal)">
                                      <p:cBhvr>
                                        <p:cTn id="7" dur="500"/>
                                        <p:tgtEl>
                                          <p:spTgt spid="14"/>
                                        </p:tgtEl>
                                      </p:cBhvr>
                                    </p:animEffect>
                                  </p:childTnLst>
                                </p:cTn>
                              </p:par>
                            </p:childTnLst>
                          </p:cTn>
                        </p:par>
                      </p:childTnLst>
                    </p:cTn>
                  </p:par>
                  <p:par>
                    <p:cTn id="8" fill="hold" nodeType="clickPar">
                      <p:stCondLst>
                        <p:cond delay="indefinite"/>
                      </p:stCondLst>
                      <p:childTnLst>
                        <p:par>
                          <p:cTn id="9" fill="hold">
                            <p:stCondLst>
                              <p:cond delay="0"/>
                            </p:stCondLst>
                            <p:childTnLst>
                              <p:par>
                                <p:cTn id="10" presetID="16" presetClass="entr" presetSubtype="37"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barn(outVertical)">
                                      <p:cBhvr>
                                        <p:cTn id="12" dur="500"/>
                                        <p:tgtEl>
                                          <p:spTgt spid="18"/>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barn(outVertical)">
                                      <p:cBhvr>
                                        <p:cTn id="15" dur="500"/>
                                        <p:tgtEl>
                                          <p:spTgt spid="17"/>
                                        </p:tgtEl>
                                      </p:cBhvr>
                                    </p:animEffect>
                                  </p:childTnLst>
                                </p:cTn>
                              </p:par>
                            </p:childTnLst>
                          </p:cTn>
                        </p:par>
                      </p:childTnLst>
                    </p:cTn>
                  </p:par>
                  <p:par>
                    <p:cTn id="16" fill="hold" nodeType="clickPar">
                      <p:stCondLst>
                        <p:cond delay="indefinite"/>
                      </p:stCondLst>
                      <p:childTnLst>
                        <p:par>
                          <p:cTn id="17" fill="hold">
                            <p:stCondLst>
                              <p:cond delay="0"/>
                            </p:stCondLst>
                            <p:childTnLst>
                              <p:par>
                                <p:cTn id="18" presetID="2" presetClass="entr" presetSubtype="4" accel="4000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1500" fill="hold"/>
                                        <p:tgtEl>
                                          <p:spTgt spid="8"/>
                                        </p:tgtEl>
                                        <p:attrNameLst>
                                          <p:attrName>ppt_x</p:attrName>
                                        </p:attrNameLst>
                                      </p:cBhvr>
                                      <p:tavLst>
                                        <p:tav tm="0">
                                          <p:val>
                                            <p:strVal val="#ppt_x"/>
                                          </p:val>
                                        </p:tav>
                                        <p:tav tm="100000">
                                          <p:val>
                                            <p:strVal val="#ppt_x"/>
                                          </p:val>
                                        </p:tav>
                                      </p:tavLst>
                                    </p:anim>
                                    <p:anim calcmode="lin" valueType="num">
                                      <p:cBhvr additive="base">
                                        <p:cTn id="21" dur="1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2" fill="hold" nodeType="clickPar">
                      <p:stCondLst>
                        <p:cond delay="indefinite"/>
                      </p:stCondLst>
                      <p:childTnLst>
                        <p:par>
                          <p:cTn id="23" fill="hold">
                            <p:stCondLst>
                              <p:cond delay="0"/>
                            </p:stCondLst>
                            <p:childTnLst>
                              <p:par>
                                <p:cTn id="24" presetID="56" presetClass="entr" presetSubtype="0" fill="hold" grpId="0" nodeType="clickEffect">
                                  <p:stCondLst>
                                    <p:cond delay="0"/>
                                  </p:stCondLst>
                                  <p:iterate type="lt">
                                    <p:tmPct val="10000"/>
                                  </p:iterate>
                                  <p:childTnLst>
                                    <p:set>
                                      <p:cBhvr>
                                        <p:cTn id="25" dur="1" fill="hold">
                                          <p:stCondLst>
                                            <p:cond delay="0"/>
                                          </p:stCondLst>
                                        </p:cTn>
                                        <p:tgtEl>
                                          <p:spTgt spid="9"/>
                                        </p:tgtEl>
                                        <p:attrNameLst>
                                          <p:attrName>style.visibility</p:attrName>
                                        </p:attrNameLst>
                                      </p:cBhvr>
                                      <p:to>
                                        <p:strVal val="visible"/>
                                      </p:to>
                                    </p:set>
                                    <p:anim by="(-#ppt_w*2)" calcmode="lin" valueType="num">
                                      <p:cBhvr rctx="PPT">
                                        <p:cTn id="26" dur="500" autoRev="1" fill="hold">
                                          <p:stCondLst>
                                            <p:cond delay="0"/>
                                          </p:stCondLst>
                                        </p:cTn>
                                        <p:tgtEl>
                                          <p:spTgt spid="9"/>
                                        </p:tgtEl>
                                        <p:attrNameLst>
                                          <p:attrName>ppt_w</p:attrName>
                                        </p:attrNameLst>
                                      </p:cBhvr>
                                    </p:anim>
                                    <p:anim by="(#ppt_w*0.50)" calcmode="lin" valueType="num">
                                      <p:cBhvr>
                                        <p:cTn id="27" dur="500" decel="50000" autoRev="1" fill="hold">
                                          <p:stCondLst>
                                            <p:cond delay="0"/>
                                          </p:stCondLst>
                                        </p:cTn>
                                        <p:tgtEl>
                                          <p:spTgt spid="9"/>
                                        </p:tgtEl>
                                        <p:attrNameLst>
                                          <p:attrName>ppt_x</p:attrName>
                                        </p:attrNameLst>
                                      </p:cBhvr>
                                    </p:anim>
                                    <p:anim from="(-#ppt_h/2)" to="(#ppt_y)" calcmode="lin" valueType="num">
                                      <p:cBhvr>
                                        <p:cTn id="28" dur="1000" fill="hold">
                                          <p:stCondLst>
                                            <p:cond delay="0"/>
                                          </p:stCondLst>
                                        </p:cTn>
                                        <p:tgtEl>
                                          <p:spTgt spid="9"/>
                                        </p:tgtEl>
                                        <p:attrNameLst>
                                          <p:attrName>ppt_y</p:attrName>
                                        </p:attrNameLst>
                                      </p:cBhvr>
                                    </p:anim>
                                    <p:animRot by="21600000">
                                      <p:cBhvr>
                                        <p:cTn id="29" dur="1000" fill="hold">
                                          <p:stCondLst>
                                            <p:cond delay="0"/>
                                          </p:stCondLst>
                                        </p:cTn>
                                        <p:tgtEl>
                                          <p:spTgt spid="9"/>
                                        </p:tgtEl>
                                        <p:attrNameLst>
                                          <p:attrName>r</p:attrName>
                                        </p:attrNameLst>
                                      </p:cBhvr>
                                    </p:animRot>
                                  </p:childTnLst>
                                </p:cTn>
                              </p:par>
                            </p:childTnLst>
                          </p:cTn>
                        </p:par>
                      </p:childTnLst>
                    </p:cTn>
                  </p:par>
                  <p:par>
                    <p:cTn id="30" fill="hold" nodeType="clickPar">
                      <p:stCondLst>
                        <p:cond delay="indefinite"/>
                      </p:stCondLst>
                      <p:childTnLst>
                        <p:par>
                          <p:cTn id="31" fill="hold">
                            <p:stCondLst>
                              <p:cond delay="0"/>
                            </p:stCondLst>
                            <p:childTnLst>
                              <p:par>
                                <p:cTn id="32" presetID="2" presetClass="entr" presetSubtype="4" fill="hold" grpId="0" nodeType="click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fill="hold"/>
                                        <p:tgtEl>
                                          <p:spTgt spid="10"/>
                                        </p:tgtEl>
                                        <p:attrNameLst>
                                          <p:attrName>ppt_x</p:attrName>
                                        </p:attrNameLst>
                                      </p:cBhvr>
                                      <p:tavLst>
                                        <p:tav tm="0">
                                          <p:val>
                                            <p:strVal val="#ppt_x"/>
                                          </p:val>
                                        </p:tav>
                                        <p:tav tm="100000">
                                          <p:val>
                                            <p:strVal val="#ppt_x"/>
                                          </p:val>
                                        </p:tav>
                                      </p:tavLst>
                                    </p:anim>
                                    <p:anim calcmode="lin" valueType="num">
                                      <p:cBhvr additive="base">
                                        <p:cTn id="35" dur="500" fill="hold"/>
                                        <p:tgtEl>
                                          <p:spTgt spid="10"/>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additive="base">
                                        <p:cTn id="38" dur="500" fill="hold"/>
                                        <p:tgtEl>
                                          <p:spTgt spid="11"/>
                                        </p:tgtEl>
                                        <p:attrNameLst>
                                          <p:attrName>ppt_x</p:attrName>
                                        </p:attrNameLst>
                                      </p:cBhvr>
                                      <p:tavLst>
                                        <p:tav tm="0">
                                          <p:val>
                                            <p:strVal val="#ppt_x"/>
                                          </p:val>
                                        </p:tav>
                                        <p:tav tm="100000">
                                          <p:val>
                                            <p:strVal val="#ppt_x"/>
                                          </p:val>
                                        </p:tav>
                                      </p:tavLst>
                                    </p:anim>
                                    <p:anim calcmode="lin" valueType="num">
                                      <p:cBhvr additive="base">
                                        <p:cTn id="39" dur="500" fill="hold"/>
                                        <p:tgtEl>
                                          <p:spTgt spid="11"/>
                                        </p:tgtEl>
                                        <p:attrNameLst>
                                          <p:attrName>ppt_y</p:attrName>
                                        </p:attrNameLst>
                                      </p:cBhvr>
                                      <p:tavLst>
                                        <p:tav tm="0">
                                          <p:val>
                                            <p:strVal val="1+#ppt_h/2"/>
                                          </p:val>
                                        </p:tav>
                                        <p:tav tm="100000">
                                          <p:val>
                                            <p:strVal val="#ppt_y"/>
                                          </p:val>
                                        </p:tav>
                                      </p:tavLst>
                                    </p:anim>
                                  </p:childTnLst>
                                </p:cTn>
                              </p:par>
                              <p:par>
                                <p:cTn id="40" presetID="2" presetClass="entr" presetSubtype="4"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additive="base">
                                        <p:cTn id="42" dur="500" fill="hold"/>
                                        <p:tgtEl>
                                          <p:spTgt spid="12"/>
                                        </p:tgtEl>
                                        <p:attrNameLst>
                                          <p:attrName>ppt_x</p:attrName>
                                        </p:attrNameLst>
                                      </p:cBhvr>
                                      <p:tavLst>
                                        <p:tav tm="0">
                                          <p:val>
                                            <p:strVal val="#ppt_x"/>
                                          </p:val>
                                        </p:tav>
                                        <p:tav tm="100000">
                                          <p:val>
                                            <p:strVal val="#ppt_x"/>
                                          </p:val>
                                        </p:tav>
                                      </p:tavLst>
                                    </p:anim>
                                    <p:anim calcmode="lin" valueType="num">
                                      <p:cBhvr additive="base">
                                        <p:cTn id="43" dur="500" fill="hold"/>
                                        <p:tgtEl>
                                          <p:spTgt spid="12"/>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13"/>
                                        </p:tgtEl>
                                        <p:attrNameLst>
                                          <p:attrName>style.visibility</p:attrName>
                                        </p:attrNameLst>
                                      </p:cBhvr>
                                      <p:to>
                                        <p:strVal val="visible"/>
                                      </p:to>
                                    </p:set>
                                    <p:anim calcmode="lin" valueType="num">
                                      <p:cBhvr additive="base">
                                        <p:cTn id="46" dur="500" fill="hold"/>
                                        <p:tgtEl>
                                          <p:spTgt spid="13"/>
                                        </p:tgtEl>
                                        <p:attrNameLst>
                                          <p:attrName>ppt_x</p:attrName>
                                        </p:attrNameLst>
                                      </p:cBhvr>
                                      <p:tavLst>
                                        <p:tav tm="0">
                                          <p:val>
                                            <p:strVal val="#ppt_x"/>
                                          </p:val>
                                        </p:tav>
                                        <p:tav tm="100000">
                                          <p:val>
                                            <p:strVal val="#ppt_x"/>
                                          </p:val>
                                        </p:tav>
                                      </p:tavLst>
                                    </p:anim>
                                    <p:anim calcmode="lin" valueType="num">
                                      <p:cBhvr additive="base">
                                        <p:cTn id="47"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p:bldP spid="11" grpId="0"/>
      <p:bldP spid="12" grpId="0"/>
      <p:bldP spid="13" grpId="0"/>
      <p:bldP spid="17" grpId="0" animBg="1"/>
      <p:bldP spid="18" grpId="0" animBg="1"/>
    </p:bldLst>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grpSp>
        <p:nvGrpSpPr>
          <p:cNvPr id="2" name="cc9c06d9-9966-4a1b-a23d-b3402f8cf150"/>
          <p:cNvGrpSpPr>
            <a:grpSpLocks noChangeAspect="1"/>
          </p:cNvGrpSpPr>
          <p:nvPr/>
        </p:nvGrpSpPr>
        <p:grpSpPr>
          <a:xfrm>
            <a:off x="364414" y="991783"/>
            <a:ext cx="8415172" cy="3327635"/>
            <a:chOff x="194105" y="1322377"/>
            <a:chExt cx="11220230" cy="4436847"/>
          </a:xfrm>
        </p:grpSpPr>
        <p:grpSp>
          <p:nvGrpSpPr>
            <p:cNvPr id="3" name="组合 3"/>
            <p:cNvGrpSpPr/>
            <p:nvPr/>
          </p:nvGrpSpPr>
          <p:grpSpPr>
            <a:xfrm>
              <a:off x="194105" y="1395450"/>
              <a:ext cx="2549181" cy="3037836"/>
              <a:chOff x="548708" y="1368464"/>
              <a:chExt cx="2549181" cy="3037836"/>
            </a:xfrm>
          </p:grpSpPr>
          <p:grpSp>
            <p:nvGrpSpPr>
              <p:cNvPr id="4" name="组合 70"/>
              <p:cNvGrpSpPr/>
              <p:nvPr/>
            </p:nvGrpSpPr>
            <p:grpSpPr>
              <a:xfrm>
                <a:off x="891818" y="2450986"/>
                <a:ext cx="1862957" cy="1955314"/>
                <a:chOff x="989461" y="1985775"/>
                <a:chExt cx="1673951" cy="1756937"/>
              </a:xfrm>
            </p:grpSpPr>
            <p:grpSp>
              <p:nvGrpSpPr>
                <p:cNvPr id="5" name="组合 74"/>
                <p:cNvGrpSpPr/>
                <p:nvPr/>
              </p:nvGrpSpPr>
              <p:grpSpPr>
                <a:xfrm>
                  <a:off x="989461" y="2099015"/>
                  <a:ext cx="1673951" cy="1643697"/>
                  <a:chOff x="1929719" y="2203878"/>
                  <a:chExt cx="2231936" cy="2191594"/>
                </a:xfrm>
              </p:grpSpPr>
              <p:sp>
                <p:nvSpPr>
                  <p:cNvPr id="81" name="任意多边形 46"/>
                  <p:cNvSpPr/>
                  <p:nvPr/>
                </p:nvSpPr>
                <p:spPr>
                  <a:xfrm rot="15099353">
                    <a:off x="1785497" y="2348100"/>
                    <a:ext cx="1247215"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82" name="任意多边形 47"/>
                  <p:cNvSpPr/>
                  <p:nvPr/>
                </p:nvSpPr>
                <p:spPr>
                  <a:xfrm rot="4304382">
                    <a:off x="2036779" y="3292479"/>
                    <a:ext cx="1247215"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83" name="任意多边形 48"/>
                  <p:cNvSpPr/>
                  <p:nvPr/>
                </p:nvSpPr>
                <p:spPr>
                  <a:xfrm rot="9623180" flipH="1" flipV="1">
                    <a:off x="2860707" y="3191723"/>
                    <a:ext cx="1251052" cy="994445"/>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462 w 1247462"/>
                      <a:gd name="connsiteY0-42" fmla="*/ 305534 h 959140"/>
                      <a:gd name="connsiteX1-43" fmla="*/ 728755 w 1247462"/>
                      <a:gd name="connsiteY1-44" fmla="*/ 866825 h 959140"/>
                      <a:gd name="connsiteX2-45" fmla="*/ 0 w 1247462"/>
                      <a:gd name="connsiteY2-46" fmla="*/ 915305 h 959140"/>
                      <a:gd name="connsiteX3-47" fmla="*/ 304370 w 1247462"/>
                      <a:gd name="connsiteY3-48" fmla="*/ 0 h 959140"/>
                      <a:gd name="connsiteX4-49" fmla="*/ 1247462 w 1247462"/>
                      <a:gd name="connsiteY4-50" fmla="*/ 305534 h 959140"/>
                      <a:gd name="connsiteX0-51" fmla="*/ 1294962 w 1294962"/>
                      <a:gd name="connsiteY0-52" fmla="*/ 305534 h 952059"/>
                      <a:gd name="connsiteX1-53" fmla="*/ 776255 w 1294962"/>
                      <a:gd name="connsiteY1-54" fmla="*/ 866825 h 952059"/>
                      <a:gd name="connsiteX2-55" fmla="*/ 0 w 1294962"/>
                      <a:gd name="connsiteY2-56" fmla="*/ 904829 h 952059"/>
                      <a:gd name="connsiteX3-57" fmla="*/ 351870 w 1294962"/>
                      <a:gd name="connsiteY3-58" fmla="*/ 0 h 952059"/>
                      <a:gd name="connsiteX4-59" fmla="*/ 1294962 w 1294962"/>
                      <a:gd name="connsiteY4-60" fmla="*/ 305534 h 95205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94962" h="952059">
                        <a:moveTo>
                          <a:pt x="1294962" y="305534"/>
                        </a:moveTo>
                        <a:cubicBezTo>
                          <a:pt x="1210416" y="548771"/>
                          <a:pt x="992082" y="766942"/>
                          <a:pt x="776255" y="866825"/>
                        </a:cubicBezTo>
                        <a:cubicBezTo>
                          <a:pt x="560428" y="966708"/>
                          <a:pt x="242552" y="978045"/>
                          <a:pt x="0" y="904829"/>
                        </a:cubicBezTo>
                        <a:lnTo>
                          <a:pt x="351870" y="0"/>
                        </a:lnTo>
                        <a:lnTo>
                          <a:pt x="1294962" y="305534"/>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84" name="任意多边形 49"/>
                  <p:cNvSpPr/>
                  <p:nvPr/>
                </p:nvSpPr>
                <p:spPr>
                  <a:xfrm rot="9660772">
                    <a:off x="2952049" y="2449507"/>
                    <a:ext cx="1209606"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grpSp>
              <p:nvGrpSpPr>
                <p:cNvPr id="6" name="组合 75"/>
                <p:cNvGrpSpPr/>
                <p:nvPr/>
              </p:nvGrpSpPr>
              <p:grpSpPr>
                <a:xfrm>
                  <a:off x="1695687" y="1985775"/>
                  <a:ext cx="316108" cy="269323"/>
                  <a:chOff x="6738973" y="2269078"/>
                  <a:chExt cx="1114524" cy="949566"/>
                </a:xfrm>
                <a:solidFill>
                  <a:schemeClr val="accent3"/>
                </a:solidFill>
              </p:grpSpPr>
              <p:sp>
                <p:nvSpPr>
                  <p:cNvPr id="77" name="矩形 76"/>
                  <p:cNvSpPr/>
                  <p:nvPr/>
                </p:nvSpPr>
                <p:spPr>
                  <a:xfrm>
                    <a:off x="6738973" y="2476583"/>
                    <a:ext cx="361536" cy="535055"/>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78" name="流程图: 手动操作 77"/>
                  <p:cNvSpPr/>
                  <p:nvPr/>
                </p:nvSpPr>
                <p:spPr>
                  <a:xfrm rot="16200000" flipV="1">
                    <a:off x="6771938" y="2625600"/>
                    <a:ext cx="893737" cy="236520"/>
                  </a:xfrm>
                  <a:prstGeom prst="flowChartManualOperation">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79" name="弦形 78"/>
                  <p:cNvSpPr/>
                  <p:nvPr/>
                </p:nvSpPr>
                <p:spPr>
                  <a:xfrm rot="12166380">
                    <a:off x="7225500" y="2500908"/>
                    <a:ext cx="445772" cy="445772"/>
                  </a:xfrm>
                  <a:prstGeom prst="chord">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80" name="空心弧 79"/>
                  <p:cNvSpPr/>
                  <p:nvPr/>
                </p:nvSpPr>
                <p:spPr>
                  <a:xfrm rot="5574077">
                    <a:off x="6903931" y="2269078"/>
                    <a:ext cx="949566" cy="949566"/>
                  </a:xfrm>
                  <a:prstGeom prst="blockArc">
                    <a:avLst>
                      <a:gd name="adj1" fmla="val 10800000"/>
                      <a:gd name="adj2" fmla="val 21371602"/>
                      <a:gd name="adj3" fmla="val 8832"/>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grpSp>
          <p:grpSp>
            <p:nvGrpSpPr>
              <p:cNvPr id="7" name="组合 71"/>
              <p:cNvGrpSpPr/>
              <p:nvPr/>
            </p:nvGrpSpPr>
            <p:grpSpPr>
              <a:xfrm>
                <a:off x="548708" y="1368464"/>
                <a:ext cx="2549181" cy="776023"/>
                <a:chOff x="1762632" y="1197195"/>
                <a:chExt cx="2549181" cy="776023"/>
              </a:xfrm>
            </p:grpSpPr>
            <p:sp>
              <p:nvSpPr>
                <p:cNvPr id="73" name="文本框 17"/>
                <p:cNvSpPr txBox="1"/>
                <p:nvPr/>
              </p:nvSpPr>
              <p:spPr>
                <a:xfrm>
                  <a:off x="1762632" y="1197195"/>
                  <a:ext cx="2549181" cy="388226"/>
                </a:xfrm>
                <a:prstGeom prst="rect">
                  <a:avLst/>
                </a:prstGeom>
                <a:noFill/>
              </p:spPr>
              <p:txBody>
                <a:bodyPr wrap="none" lIns="0" tIns="0" rIns="0" bIns="0" anchor="ctr" anchorCtr="1">
                  <a:normAutofit/>
                </a:bodyPr>
                <a:lstStyle/>
                <a:p>
                  <a:pPr algn="ctr"/>
                  <a:r>
                    <a:rPr lang="zh-CN" altLang="en-US" sz="1400" b="1">
                      <a:solidFill>
                        <a:schemeClr val="bg1">
                          <a:lumMod val="50000"/>
                        </a:schemeClr>
                      </a:solidFill>
                      <a:latin typeface="+mj-ea"/>
                      <a:ea typeface="+mj-ea"/>
                    </a:rPr>
                    <a:t>标题文本预设</a:t>
                  </a:r>
                  <a:endParaRPr lang="zh-CN" altLang="en-US" sz="1400" b="1">
                    <a:solidFill>
                      <a:schemeClr val="bg1">
                        <a:lumMod val="50000"/>
                      </a:schemeClr>
                    </a:solidFill>
                    <a:latin typeface="+mj-ea"/>
                    <a:ea typeface="+mj-ea"/>
                  </a:endParaRPr>
                </a:p>
              </p:txBody>
            </p:sp>
            <p:sp>
              <p:nvSpPr>
                <p:cNvPr id="74" name="文本框 18"/>
                <p:cNvSpPr txBox="1"/>
                <p:nvPr/>
              </p:nvSpPr>
              <p:spPr>
                <a:xfrm>
                  <a:off x="1762632" y="1585420"/>
                  <a:ext cx="2549181" cy="387798"/>
                </a:xfrm>
                <a:prstGeom prst="rect">
                  <a:avLst/>
                </a:prstGeom>
              </p:spPr>
              <p:txBody>
                <a:bodyPr vert="horz" wrap="square" lIns="0" tIns="0" rIns="0" bIns="0" anchor="t" anchorCtr="1">
                  <a:noAutofit/>
                </a:bodyPr>
                <a:lstStyle/>
                <a:p>
                  <a:pPr algn="ctr">
                    <a:lnSpc>
                      <a:spcPct val="120000"/>
                    </a:lnSpc>
                  </a:pPr>
                  <a:r>
                    <a:rPr lang="zh-CN" altLang="en-US" sz="800">
                      <a:solidFill>
                        <a:schemeClr val="bg1">
                          <a:lumMod val="50000"/>
                        </a:schemeClr>
                      </a:solidFill>
                      <a:latin typeface="+mj-ea"/>
                      <a:ea typeface="+mj-ea"/>
                    </a:rPr>
                    <a:t>此部分内容作为文字排版占位显示 </a:t>
                  </a:r>
                  <a:br>
                    <a:rPr lang="zh-CN" altLang="en-US" sz="800">
                      <a:solidFill>
                        <a:schemeClr val="bg1">
                          <a:lumMod val="50000"/>
                        </a:schemeClr>
                      </a:solidFill>
                      <a:latin typeface="+mj-ea"/>
                      <a:ea typeface="+mj-ea"/>
                    </a:rPr>
                  </a:br>
                  <a:r>
                    <a:rPr lang="zh-CN" altLang="en-US" sz="800">
                      <a:solidFill>
                        <a:schemeClr val="bg1">
                          <a:lumMod val="50000"/>
                        </a:schemeClr>
                      </a:solidFill>
                      <a:latin typeface="+mj-ea"/>
                      <a:ea typeface="+mj-ea"/>
                    </a:rPr>
                    <a:t>（建议使用主题字体）</a:t>
                  </a:r>
                  <a:endParaRPr lang="zh-CN" altLang="en-US" sz="800">
                    <a:solidFill>
                      <a:schemeClr val="bg1">
                        <a:lumMod val="50000"/>
                      </a:schemeClr>
                    </a:solidFill>
                    <a:latin typeface="+mj-ea"/>
                    <a:ea typeface="+mj-ea"/>
                  </a:endParaRPr>
                </a:p>
              </p:txBody>
            </p:sp>
          </p:grpSp>
        </p:grpSp>
        <p:grpSp>
          <p:nvGrpSpPr>
            <p:cNvPr id="8" name="组合 4"/>
            <p:cNvGrpSpPr/>
            <p:nvPr/>
          </p:nvGrpSpPr>
          <p:grpSpPr>
            <a:xfrm>
              <a:off x="3662525" y="1322377"/>
              <a:ext cx="2549181" cy="3108405"/>
              <a:chOff x="4585767" y="1285385"/>
              <a:chExt cx="2549181" cy="3108405"/>
            </a:xfrm>
          </p:grpSpPr>
          <p:grpSp>
            <p:nvGrpSpPr>
              <p:cNvPr id="9" name="组合 58"/>
              <p:cNvGrpSpPr/>
              <p:nvPr/>
            </p:nvGrpSpPr>
            <p:grpSpPr>
              <a:xfrm>
                <a:off x="4928429" y="2367904"/>
                <a:ext cx="1863862" cy="2025886"/>
                <a:chOff x="4056929" y="1923464"/>
                <a:chExt cx="1674763" cy="1820348"/>
              </a:xfrm>
            </p:grpSpPr>
            <p:grpSp>
              <p:nvGrpSpPr>
                <p:cNvPr id="10" name="组合 62"/>
                <p:cNvGrpSpPr/>
                <p:nvPr/>
              </p:nvGrpSpPr>
              <p:grpSpPr>
                <a:xfrm>
                  <a:off x="4056929" y="2117409"/>
                  <a:ext cx="1674763" cy="1626403"/>
                  <a:chOff x="6019675" y="2228402"/>
                  <a:chExt cx="2233018" cy="2168536"/>
                </a:xfrm>
              </p:grpSpPr>
              <p:sp>
                <p:nvSpPr>
                  <p:cNvPr id="67" name="任意多边形 54"/>
                  <p:cNvSpPr/>
                  <p:nvPr/>
                </p:nvSpPr>
                <p:spPr>
                  <a:xfrm rot="15028394">
                    <a:off x="5870070" y="2378007"/>
                    <a:ext cx="1239262" cy="940052"/>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214 w 1247214"/>
                      <a:gd name="connsiteY0-42" fmla="*/ 294507 h 940050"/>
                      <a:gd name="connsiteX1-43" fmla="*/ 728755 w 1247214"/>
                      <a:gd name="connsiteY1-44" fmla="*/ 848106 h 940050"/>
                      <a:gd name="connsiteX2-45" fmla="*/ 0 w 1247214"/>
                      <a:gd name="connsiteY2-46" fmla="*/ 896586 h 940050"/>
                      <a:gd name="connsiteX3-47" fmla="*/ 332681 w 1247214"/>
                      <a:gd name="connsiteY3-48" fmla="*/ 0 h 940050"/>
                      <a:gd name="connsiteX4-49" fmla="*/ 1247214 w 1247214"/>
                      <a:gd name="connsiteY4-50" fmla="*/ 294507 h 940050"/>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40050">
                        <a:moveTo>
                          <a:pt x="1247214" y="294507"/>
                        </a:moveTo>
                        <a:cubicBezTo>
                          <a:pt x="1162668" y="537744"/>
                          <a:pt x="936624" y="747760"/>
                          <a:pt x="728755" y="848106"/>
                        </a:cubicBezTo>
                        <a:cubicBezTo>
                          <a:pt x="520886" y="948453"/>
                          <a:pt x="242552" y="969802"/>
                          <a:pt x="0" y="896586"/>
                        </a:cubicBezTo>
                        <a:lnTo>
                          <a:pt x="332681" y="0"/>
                        </a:lnTo>
                        <a:lnTo>
                          <a:pt x="1247214" y="294507"/>
                        </a:lnTo>
                        <a:close/>
                      </a:path>
                    </a:pathLst>
                  </a:cu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68" name="任意多边形 55"/>
                  <p:cNvSpPr/>
                  <p:nvPr/>
                </p:nvSpPr>
                <p:spPr>
                  <a:xfrm rot="4304382">
                    <a:off x="6116537" y="3293945"/>
                    <a:ext cx="1247215"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69" name="任意多边形 56"/>
                  <p:cNvSpPr/>
                  <p:nvPr/>
                </p:nvSpPr>
                <p:spPr>
                  <a:xfrm rot="9623180" flipH="1" flipV="1">
                    <a:off x="6940465" y="3201883"/>
                    <a:ext cx="1251052" cy="994445"/>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462 w 1247462"/>
                      <a:gd name="connsiteY0-42" fmla="*/ 305534 h 959140"/>
                      <a:gd name="connsiteX1-43" fmla="*/ 728755 w 1247462"/>
                      <a:gd name="connsiteY1-44" fmla="*/ 866825 h 959140"/>
                      <a:gd name="connsiteX2-45" fmla="*/ 0 w 1247462"/>
                      <a:gd name="connsiteY2-46" fmla="*/ 915305 h 959140"/>
                      <a:gd name="connsiteX3-47" fmla="*/ 304370 w 1247462"/>
                      <a:gd name="connsiteY3-48" fmla="*/ 0 h 959140"/>
                      <a:gd name="connsiteX4-49" fmla="*/ 1247462 w 1247462"/>
                      <a:gd name="connsiteY4-50" fmla="*/ 305534 h 959140"/>
                      <a:gd name="connsiteX0-51" fmla="*/ 1294962 w 1294962"/>
                      <a:gd name="connsiteY0-52" fmla="*/ 305534 h 952059"/>
                      <a:gd name="connsiteX1-53" fmla="*/ 776255 w 1294962"/>
                      <a:gd name="connsiteY1-54" fmla="*/ 866825 h 952059"/>
                      <a:gd name="connsiteX2-55" fmla="*/ 0 w 1294962"/>
                      <a:gd name="connsiteY2-56" fmla="*/ 904829 h 952059"/>
                      <a:gd name="connsiteX3-57" fmla="*/ 351870 w 1294962"/>
                      <a:gd name="connsiteY3-58" fmla="*/ 0 h 952059"/>
                      <a:gd name="connsiteX4-59" fmla="*/ 1294962 w 1294962"/>
                      <a:gd name="connsiteY4-60" fmla="*/ 305534 h 95205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94962" h="952059">
                        <a:moveTo>
                          <a:pt x="1294962" y="305534"/>
                        </a:moveTo>
                        <a:cubicBezTo>
                          <a:pt x="1210416" y="548771"/>
                          <a:pt x="992082" y="766942"/>
                          <a:pt x="776255" y="866825"/>
                        </a:cubicBezTo>
                        <a:cubicBezTo>
                          <a:pt x="560428" y="966708"/>
                          <a:pt x="242552" y="978045"/>
                          <a:pt x="0" y="904829"/>
                        </a:cubicBezTo>
                        <a:lnTo>
                          <a:pt x="351870" y="0"/>
                        </a:lnTo>
                        <a:lnTo>
                          <a:pt x="1294962" y="305534"/>
                        </a:lnTo>
                        <a:close/>
                      </a:path>
                    </a:pathLst>
                  </a:cu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70" name="任意多边形 57"/>
                  <p:cNvSpPr/>
                  <p:nvPr/>
                </p:nvSpPr>
                <p:spPr>
                  <a:xfrm rot="9654881">
                    <a:off x="7043087" y="2458879"/>
                    <a:ext cx="1209606"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grpSp>
              <p:nvGrpSpPr>
                <p:cNvPr id="11" name="组合 63"/>
                <p:cNvGrpSpPr/>
                <p:nvPr/>
              </p:nvGrpSpPr>
              <p:grpSpPr>
                <a:xfrm>
                  <a:off x="4699648" y="1923464"/>
                  <a:ext cx="389330" cy="387887"/>
                  <a:chOff x="5100545" y="1975558"/>
                  <a:chExt cx="660280" cy="657834"/>
                </a:xfrm>
                <a:solidFill>
                  <a:schemeClr val="accent4"/>
                </a:solidFill>
              </p:grpSpPr>
              <p:sp>
                <p:nvSpPr>
                  <p:cNvPr id="65" name="饼形 52"/>
                  <p:cNvSpPr/>
                  <p:nvPr/>
                </p:nvSpPr>
                <p:spPr>
                  <a:xfrm>
                    <a:off x="5100545" y="2008778"/>
                    <a:ext cx="624614" cy="624614"/>
                  </a:xfrm>
                  <a:prstGeom prst="pie">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66" name="饼形 53"/>
                  <p:cNvSpPr/>
                  <p:nvPr/>
                </p:nvSpPr>
                <p:spPr>
                  <a:xfrm rot="16995040">
                    <a:off x="5136211" y="1975558"/>
                    <a:ext cx="624614" cy="624614"/>
                  </a:xfrm>
                  <a:prstGeom prst="pie">
                    <a:avLst>
                      <a:gd name="adj1" fmla="val 21036529"/>
                      <a:gd name="adj2" fmla="val 4417553"/>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grpSp>
          <p:grpSp>
            <p:nvGrpSpPr>
              <p:cNvPr id="15" name="组合 59"/>
              <p:cNvGrpSpPr/>
              <p:nvPr/>
            </p:nvGrpSpPr>
            <p:grpSpPr>
              <a:xfrm>
                <a:off x="4585767" y="1285385"/>
                <a:ext cx="2549181" cy="776023"/>
                <a:chOff x="5877558" y="1197195"/>
                <a:chExt cx="2549181" cy="776023"/>
              </a:xfrm>
            </p:grpSpPr>
            <p:sp>
              <p:nvSpPr>
                <p:cNvPr id="61" name="文本框 15"/>
                <p:cNvSpPr txBox="1"/>
                <p:nvPr/>
              </p:nvSpPr>
              <p:spPr>
                <a:xfrm>
                  <a:off x="5877558" y="1197195"/>
                  <a:ext cx="2549181" cy="388226"/>
                </a:xfrm>
                <a:prstGeom prst="rect">
                  <a:avLst/>
                </a:prstGeom>
                <a:noFill/>
              </p:spPr>
              <p:txBody>
                <a:bodyPr wrap="none" lIns="0" tIns="0" rIns="0" bIns="0" anchor="ctr" anchorCtr="1">
                  <a:normAutofit/>
                </a:bodyPr>
                <a:lstStyle/>
                <a:p>
                  <a:pPr algn="ctr"/>
                  <a:r>
                    <a:rPr lang="zh-CN" altLang="en-US" sz="1400" b="1">
                      <a:solidFill>
                        <a:schemeClr val="bg1">
                          <a:lumMod val="50000"/>
                        </a:schemeClr>
                      </a:solidFill>
                      <a:latin typeface="+mj-ea"/>
                      <a:ea typeface="+mj-ea"/>
                    </a:rPr>
                    <a:t>标题文本预设</a:t>
                  </a:r>
                  <a:endParaRPr lang="zh-CN" altLang="en-US" sz="1400" b="1">
                    <a:solidFill>
                      <a:schemeClr val="bg1">
                        <a:lumMod val="50000"/>
                      </a:schemeClr>
                    </a:solidFill>
                    <a:latin typeface="+mj-ea"/>
                    <a:ea typeface="+mj-ea"/>
                  </a:endParaRPr>
                </a:p>
              </p:txBody>
            </p:sp>
            <p:sp>
              <p:nvSpPr>
                <p:cNvPr id="62" name="文本框 16"/>
                <p:cNvSpPr txBox="1"/>
                <p:nvPr/>
              </p:nvSpPr>
              <p:spPr>
                <a:xfrm>
                  <a:off x="5877558" y="1585420"/>
                  <a:ext cx="2549181" cy="387798"/>
                </a:xfrm>
                <a:prstGeom prst="rect">
                  <a:avLst/>
                </a:prstGeom>
              </p:spPr>
              <p:txBody>
                <a:bodyPr vert="horz" wrap="square" lIns="0" tIns="0" rIns="0" bIns="0" anchor="t" anchorCtr="1">
                  <a:noAutofit/>
                </a:bodyPr>
                <a:lstStyle/>
                <a:p>
                  <a:pPr algn="ctr">
                    <a:lnSpc>
                      <a:spcPct val="120000"/>
                    </a:lnSpc>
                  </a:pPr>
                  <a:r>
                    <a:rPr lang="zh-CN" altLang="en-US" sz="800">
                      <a:solidFill>
                        <a:schemeClr val="bg1">
                          <a:lumMod val="50000"/>
                        </a:schemeClr>
                      </a:solidFill>
                      <a:latin typeface="+mj-ea"/>
                      <a:ea typeface="+mj-ea"/>
                    </a:rPr>
                    <a:t>此部分内容作为文字排版占位显示 </a:t>
                  </a:r>
                  <a:br>
                    <a:rPr lang="zh-CN" altLang="en-US" sz="800">
                      <a:solidFill>
                        <a:schemeClr val="bg1">
                          <a:lumMod val="50000"/>
                        </a:schemeClr>
                      </a:solidFill>
                      <a:latin typeface="+mj-ea"/>
                      <a:ea typeface="+mj-ea"/>
                    </a:rPr>
                  </a:br>
                  <a:r>
                    <a:rPr lang="zh-CN" altLang="en-US" sz="800">
                      <a:solidFill>
                        <a:schemeClr val="bg1">
                          <a:lumMod val="50000"/>
                        </a:schemeClr>
                      </a:solidFill>
                      <a:latin typeface="+mj-ea"/>
                      <a:ea typeface="+mj-ea"/>
                    </a:rPr>
                    <a:t>（建议使用主题字体）</a:t>
                  </a:r>
                  <a:endParaRPr lang="zh-CN" altLang="en-US" sz="800">
                    <a:solidFill>
                      <a:schemeClr val="bg1">
                        <a:lumMod val="50000"/>
                      </a:schemeClr>
                    </a:solidFill>
                    <a:latin typeface="+mj-ea"/>
                    <a:ea typeface="+mj-ea"/>
                  </a:endParaRPr>
                </a:p>
              </p:txBody>
            </p:sp>
          </p:grpSp>
        </p:grpSp>
        <p:grpSp>
          <p:nvGrpSpPr>
            <p:cNvPr id="20" name="组合 5"/>
            <p:cNvGrpSpPr/>
            <p:nvPr/>
          </p:nvGrpSpPr>
          <p:grpSpPr>
            <a:xfrm>
              <a:off x="1928315" y="2602351"/>
              <a:ext cx="2549181" cy="3156873"/>
              <a:chOff x="2537878" y="2602351"/>
              <a:chExt cx="2549181" cy="3156873"/>
            </a:xfrm>
          </p:grpSpPr>
          <p:grpSp>
            <p:nvGrpSpPr>
              <p:cNvPr id="21" name="组合 39"/>
              <p:cNvGrpSpPr/>
              <p:nvPr/>
            </p:nvGrpSpPr>
            <p:grpSpPr>
              <a:xfrm>
                <a:off x="2874397" y="2602351"/>
                <a:ext cx="1876143" cy="1987262"/>
                <a:chOff x="2403046" y="2099299"/>
                <a:chExt cx="1685799" cy="1785643"/>
              </a:xfrm>
            </p:grpSpPr>
            <p:grpSp>
              <p:nvGrpSpPr>
                <p:cNvPr id="24" name="组合 43"/>
                <p:cNvGrpSpPr/>
                <p:nvPr/>
              </p:nvGrpSpPr>
              <p:grpSpPr>
                <a:xfrm>
                  <a:off x="2403046" y="2099299"/>
                  <a:ext cx="1685799" cy="1625303"/>
                  <a:chOff x="3973046" y="2204258"/>
                  <a:chExt cx="2247733" cy="2167070"/>
                </a:xfrm>
              </p:grpSpPr>
              <p:sp>
                <p:nvSpPr>
                  <p:cNvPr id="55" name="任意多边形 36"/>
                  <p:cNvSpPr/>
                  <p:nvPr/>
                </p:nvSpPr>
                <p:spPr>
                  <a:xfrm rot="6571606" flipV="1">
                    <a:off x="3823441" y="3281671"/>
                    <a:ext cx="1239262" cy="940052"/>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214 w 1247214"/>
                      <a:gd name="connsiteY0-42" fmla="*/ 294507 h 940050"/>
                      <a:gd name="connsiteX1-43" fmla="*/ 728755 w 1247214"/>
                      <a:gd name="connsiteY1-44" fmla="*/ 848106 h 940050"/>
                      <a:gd name="connsiteX2-45" fmla="*/ 0 w 1247214"/>
                      <a:gd name="connsiteY2-46" fmla="*/ 896586 h 940050"/>
                      <a:gd name="connsiteX3-47" fmla="*/ 332681 w 1247214"/>
                      <a:gd name="connsiteY3-48" fmla="*/ 0 h 940050"/>
                      <a:gd name="connsiteX4-49" fmla="*/ 1247214 w 1247214"/>
                      <a:gd name="connsiteY4-50" fmla="*/ 294507 h 940050"/>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40050">
                        <a:moveTo>
                          <a:pt x="1247214" y="294507"/>
                        </a:moveTo>
                        <a:cubicBezTo>
                          <a:pt x="1162668" y="537744"/>
                          <a:pt x="936624" y="747760"/>
                          <a:pt x="728755" y="848106"/>
                        </a:cubicBezTo>
                        <a:cubicBezTo>
                          <a:pt x="520886" y="948453"/>
                          <a:pt x="242552" y="969802"/>
                          <a:pt x="0" y="896586"/>
                        </a:cubicBezTo>
                        <a:lnTo>
                          <a:pt x="332681" y="0"/>
                        </a:lnTo>
                        <a:lnTo>
                          <a:pt x="1247214" y="294507"/>
                        </a:lnTo>
                        <a:close/>
                      </a:path>
                    </a:pathLst>
                  </a:cu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56" name="任意多边形 37"/>
                  <p:cNvSpPr/>
                  <p:nvPr/>
                </p:nvSpPr>
                <p:spPr>
                  <a:xfrm rot="17295618" flipV="1">
                    <a:off x="4071856" y="2348480"/>
                    <a:ext cx="1247215"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57" name="任意多边形 38"/>
                  <p:cNvSpPr/>
                  <p:nvPr/>
                </p:nvSpPr>
                <p:spPr>
                  <a:xfrm rot="11976820" flipH="1">
                    <a:off x="4895784" y="2413562"/>
                    <a:ext cx="1251052" cy="994445"/>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462 w 1247462"/>
                      <a:gd name="connsiteY0-42" fmla="*/ 305534 h 959140"/>
                      <a:gd name="connsiteX1-43" fmla="*/ 728755 w 1247462"/>
                      <a:gd name="connsiteY1-44" fmla="*/ 866825 h 959140"/>
                      <a:gd name="connsiteX2-45" fmla="*/ 0 w 1247462"/>
                      <a:gd name="connsiteY2-46" fmla="*/ 915305 h 959140"/>
                      <a:gd name="connsiteX3-47" fmla="*/ 304370 w 1247462"/>
                      <a:gd name="connsiteY3-48" fmla="*/ 0 h 959140"/>
                      <a:gd name="connsiteX4-49" fmla="*/ 1247462 w 1247462"/>
                      <a:gd name="connsiteY4-50" fmla="*/ 305534 h 959140"/>
                      <a:gd name="connsiteX0-51" fmla="*/ 1294962 w 1294962"/>
                      <a:gd name="connsiteY0-52" fmla="*/ 305534 h 952059"/>
                      <a:gd name="connsiteX1-53" fmla="*/ 776255 w 1294962"/>
                      <a:gd name="connsiteY1-54" fmla="*/ 866825 h 952059"/>
                      <a:gd name="connsiteX2-55" fmla="*/ 0 w 1294962"/>
                      <a:gd name="connsiteY2-56" fmla="*/ 904829 h 952059"/>
                      <a:gd name="connsiteX3-57" fmla="*/ 351870 w 1294962"/>
                      <a:gd name="connsiteY3-58" fmla="*/ 0 h 952059"/>
                      <a:gd name="connsiteX4-59" fmla="*/ 1294962 w 1294962"/>
                      <a:gd name="connsiteY4-60" fmla="*/ 305534 h 95205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94962" h="952059">
                        <a:moveTo>
                          <a:pt x="1294962" y="305534"/>
                        </a:moveTo>
                        <a:cubicBezTo>
                          <a:pt x="1210416" y="548771"/>
                          <a:pt x="992082" y="766942"/>
                          <a:pt x="776255" y="866825"/>
                        </a:cubicBezTo>
                        <a:cubicBezTo>
                          <a:pt x="560428" y="966708"/>
                          <a:pt x="242552" y="978045"/>
                          <a:pt x="0" y="904829"/>
                        </a:cubicBezTo>
                        <a:lnTo>
                          <a:pt x="351870" y="0"/>
                        </a:lnTo>
                        <a:lnTo>
                          <a:pt x="1294962" y="305534"/>
                        </a:lnTo>
                        <a:close/>
                      </a:path>
                    </a:pathLst>
                  </a:cu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58" name="任意多边形 39"/>
                  <p:cNvSpPr/>
                  <p:nvPr/>
                </p:nvSpPr>
                <p:spPr>
                  <a:xfrm rot="11904031" flipV="1">
                    <a:off x="5011173" y="3187160"/>
                    <a:ext cx="1209606"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grpSp>
              <p:nvGrpSpPr>
                <p:cNvPr id="30" name="组合 44"/>
                <p:cNvGrpSpPr/>
                <p:nvPr/>
              </p:nvGrpSpPr>
              <p:grpSpPr>
                <a:xfrm>
                  <a:off x="3019493" y="3487059"/>
                  <a:ext cx="352105" cy="397883"/>
                  <a:chOff x="3413759" y="3230880"/>
                  <a:chExt cx="2065662" cy="2334217"/>
                </a:xfrm>
                <a:solidFill>
                  <a:schemeClr val="accent2"/>
                </a:solidFill>
              </p:grpSpPr>
              <p:sp>
                <p:nvSpPr>
                  <p:cNvPr id="46" name="新月形 45"/>
                  <p:cNvSpPr/>
                  <p:nvPr/>
                </p:nvSpPr>
                <p:spPr>
                  <a:xfrm rot="1328585">
                    <a:off x="4071435" y="3735976"/>
                    <a:ext cx="945943" cy="844732"/>
                  </a:xfrm>
                  <a:prstGeom prst="moon">
                    <a:avLst>
                      <a:gd name="adj" fmla="val 2627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47" name="弦形 46"/>
                  <p:cNvSpPr/>
                  <p:nvPr/>
                </p:nvSpPr>
                <p:spPr>
                  <a:xfrm rot="16956432">
                    <a:off x="3413759" y="3431176"/>
                    <a:ext cx="1968139" cy="1968139"/>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48" name="椭圆 47"/>
                  <p:cNvSpPr/>
                  <p:nvPr/>
                </p:nvSpPr>
                <p:spPr>
                  <a:xfrm>
                    <a:off x="4223657" y="3230880"/>
                    <a:ext cx="1184366" cy="118436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49" name="新月形 48"/>
                  <p:cNvSpPr/>
                  <p:nvPr/>
                </p:nvSpPr>
                <p:spPr>
                  <a:xfrm rot="14732761">
                    <a:off x="3929190" y="4152589"/>
                    <a:ext cx="418950" cy="837900"/>
                  </a:xfrm>
                  <a:prstGeom prst="moon">
                    <a:avLst>
                      <a:gd name="adj" fmla="val 7116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50" name="椭圆 49"/>
                  <p:cNvSpPr/>
                  <p:nvPr/>
                </p:nvSpPr>
                <p:spPr>
                  <a:xfrm>
                    <a:off x="4837816" y="3502691"/>
                    <a:ext cx="172326" cy="1723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51" name="新月形 50"/>
                  <p:cNvSpPr/>
                  <p:nvPr/>
                </p:nvSpPr>
                <p:spPr>
                  <a:xfrm rot="16931004">
                    <a:off x="4850996" y="3479191"/>
                    <a:ext cx="418950" cy="837900"/>
                  </a:xfrm>
                  <a:prstGeom prst="moon">
                    <a:avLst>
                      <a:gd name="adj" fmla="val 5636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52" name="新月形 51"/>
                  <p:cNvSpPr/>
                  <p:nvPr/>
                </p:nvSpPr>
                <p:spPr>
                  <a:xfrm rot="2556512">
                    <a:off x="4920253" y="3512478"/>
                    <a:ext cx="418950" cy="837900"/>
                  </a:xfrm>
                  <a:prstGeom prst="moon">
                    <a:avLst>
                      <a:gd name="adj" fmla="val 56366"/>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53" name="矩形 52"/>
                  <p:cNvSpPr/>
                  <p:nvPr/>
                </p:nvSpPr>
                <p:spPr>
                  <a:xfrm>
                    <a:off x="4223657" y="5346401"/>
                    <a:ext cx="95794" cy="2186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54" name="矩形 53"/>
                  <p:cNvSpPr/>
                  <p:nvPr/>
                </p:nvSpPr>
                <p:spPr>
                  <a:xfrm>
                    <a:off x="4476119" y="5346401"/>
                    <a:ext cx="95794" cy="2186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grpSp>
          <p:grpSp>
            <p:nvGrpSpPr>
              <p:cNvPr id="31" name="组合 40"/>
              <p:cNvGrpSpPr/>
              <p:nvPr/>
            </p:nvGrpSpPr>
            <p:grpSpPr>
              <a:xfrm>
                <a:off x="2537878" y="4983201"/>
                <a:ext cx="2549181" cy="776023"/>
                <a:chOff x="4948086" y="339361"/>
                <a:chExt cx="2549181" cy="776023"/>
              </a:xfrm>
            </p:grpSpPr>
            <p:sp>
              <p:nvSpPr>
                <p:cNvPr id="42" name="文本框 13"/>
                <p:cNvSpPr txBox="1"/>
                <p:nvPr/>
              </p:nvSpPr>
              <p:spPr>
                <a:xfrm>
                  <a:off x="4948086" y="339361"/>
                  <a:ext cx="2549181" cy="388226"/>
                </a:xfrm>
                <a:prstGeom prst="rect">
                  <a:avLst/>
                </a:prstGeom>
                <a:noFill/>
              </p:spPr>
              <p:txBody>
                <a:bodyPr wrap="none" lIns="0" tIns="0" rIns="0" bIns="0" anchor="ctr" anchorCtr="1">
                  <a:normAutofit/>
                </a:bodyPr>
                <a:lstStyle/>
                <a:p>
                  <a:pPr algn="ctr"/>
                  <a:r>
                    <a:rPr lang="zh-CN" altLang="en-US" sz="1400" b="1">
                      <a:solidFill>
                        <a:schemeClr val="bg1">
                          <a:lumMod val="50000"/>
                        </a:schemeClr>
                      </a:solidFill>
                      <a:latin typeface="+mj-ea"/>
                      <a:ea typeface="+mj-ea"/>
                    </a:rPr>
                    <a:t>标题文本预设</a:t>
                  </a:r>
                  <a:endParaRPr lang="zh-CN" altLang="en-US" sz="1400" b="1">
                    <a:solidFill>
                      <a:schemeClr val="bg1">
                        <a:lumMod val="50000"/>
                      </a:schemeClr>
                    </a:solidFill>
                    <a:latin typeface="+mj-ea"/>
                    <a:ea typeface="+mj-ea"/>
                  </a:endParaRPr>
                </a:p>
              </p:txBody>
            </p:sp>
            <p:sp>
              <p:nvSpPr>
                <p:cNvPr id="43" name="文本框 14"/>
                <p:cNvSpPr txBox="1"/>
                <p:nvPr/>
              </p:nvSpPr>
              <p:spPr>
                <a:xfrm>
                  <a:off x="4948086" y="727586"/>
                  <a:ext cx="2549181" cy="387798"/>
                </a:xfrm>
                <a:prstGeom prst="rect">
                  <a:avLst/>
                </a:prstGeom>
              </p:spPr>
              <p:txBody>
                <a:bodyPr vert="horz" wrap="square" lIns="0" tIns="0" rIns="0" bIns="0" anchor="t" anchorCtr="1">
                  <a:noAutofit/>
                </a:bodyPr>
                <a:lstStyle/>
                <a:p>
                  <a:pPr algn="ctr">
                    <a:lnSpc>
                      <a:spcPct val="120000"/>
                    </a:lnSpc>
                  </a:pPr>
                  <a:r>
                    <a:rPr lang="zh-CN" altLang="en-US" sz="800">
                      <a:solidFill>
                        <a:schemeClr val="bg1">
                          <a:lumMod val="50000"/>
                        </a:schemeClr>
                      </a:solidFill>
                      <a:latin typeface="+mj-ea"/>
                      <a:ea typeface="+mj-ea"/>
                    </a:rPr>
                    <a:t>此部分内容作为文字排版占位显示 </a:t>
                  </a:r>
                  <a:br>
                    <a:rPr lang="zh-CN" altLang="en-US" sz="800">
                      <a:solidFill>
                        <a:schemeClr val="bg1">
                          <a:lumMod val="50000"/>
                        </a:schemeClr>
                      </a:solidFill>
                      <a:latin typeface="+mj-ea"/>
                      <a:ea typeface="+mj-ea"/>
                    </a:rPr>
                  </a:br>
                  <a:r>
                    <a:rPr lang="zh-CN" altLang="en-US" sz="800">
                      <a:solidFill>
                        <a:schemeClr val="bg1">
                          <a:lumMod val="50000"/>
                        </a:schemeClr>
                      </a:solidFill>
                      <a:latin typeface="+mj-ea"/>
                      <a:ea typeface="+mj-ea"/>
                    </a:rPr>
                    <a:t>（建议使用主题字体）</a:t>
                  </a:r>
                  <a:endParaRPr lang="zh-CN" altLang="en-US" sz="800">
                    <a:solidFill>
                      <a:schemeClr val="bg1">
                        <a:lumMod val="50000"/>
                      </a:schemeClr>
                    </a:solidFill>
                    <a:latin typeface="+mj-ea"/>
                    <a:ea typeface="+mj-ea"/>
                  </a:endParaRPr>
                </a:p>
              </p:txBody>
            </p:sp>
          </p:grpSp>
        </p:grpSp>
        <p:grpSp>
          <p:nvGrpSpPr>
            <p:cNvPr id="35" name="组合 6"/>
            <p:cNvGrpSpPr/>
            <p:nvPr/>
          </p:nvGrpSpPr>
          <p:grpSpPr>
            <a:xfrm>
              <a:off x="5396735" y="2598485"/>
              <a:ext cx="2549181" cy="3060940"/>
              <a:chOff x="6612761" y="2601937"/>
              <a:chExt cx="2549181" cy="3060940"/>
            </a:xfrm>
          </p:grpSpPr>
          <p:grpSp>
            <p:nvGrpSpPr>
              <p:cNvPr id="40" name="组合 29"/>
              <p:cNvGrpSpPr/>
              <p:nvPr/>
            </p:nvGrpSpPr>
            <p:grpSpPr>
              <a:xfrm>
                <a:off x="6949508" y="2601937"/>
                <a:ext cx="1875677" cy="1907190"/>
                <a:chOff x="5624406" y="2098985"/>
                <a:chExt cx="1685381" cy="1713692"/>
              </a:xfrm>
            </p:grpSpPr>
            <p:sp>
              <p:nvSpPr>
                <p:cNvPr id="34" name="任意多边形 19"/>
                <p:cNvSpPr/>
                <p:nvPr/>
              </p:nvSpPr>
              <p:spPr>
                <a:xfrm>
                  <a:off x="6309679" y="3541406"/>
                  <a:ext cx="314834" cy="271271"/>
                </a:xfrm>
                <a:custGeom>
                  <a:gdLst>
                    <a:gd name="connsiteX0" fmla="*/ 860020 w 1730875"/>
                    <a:gd name="connsiteY0" fmla="*/ 0 h 1491374"/>
                    <a:gd name="connsiteX1" fmla="*/ 1147402 w 1730875"/>
                    <a:gd name="connsiteY1" fmla="*/ 287382 h 1491374"/>
                    <a:gd name="connsiteX2" fmla="*/ 860020 w 1730875"/>
                    <a:gd name="connsiteY2" fmla="*/ 574764 h 1491374"/>
                    <a:gd name="connsiteX3" fmla="*/ 802103 w 1730875"/>
                    <a:gd name="connsiteY3" fmla="*/ 568925 h 1491374"/>
                    <a:gd name="connsiteX4" fmla="*/ 772043 w 1730875"/>
                    <a:gd name="connsiteY4" fmla="*/ 559594 h 1491374"/>
                    <a:gd name="connsiteX5" fmla="*/ 493022 w 1730875"/>
                    <a:gd name="connsiteY5" fmla="*/ 1006545 h 1491374"/>
                    <a:gd name="connsiteX6" fmla="*/ 509140 w 1730875"/>
                    <a:gd name="connsiteY6" fmla="*/ 1021190 h 1491374"/>
                    <a:gd name="connsiteX7" fmla="*/ 552180 w 1730875"/>
                    <a:gd name="connsiteY7" fmla="*/ 1092130 h 1491374"/>
                    <a:gd name="connsiteX8" fmla="*/ 565286 w 1730875"/>
                    <a:gd name="connsiteY8" fmla="*/ 1134348 h 1491374"/>
                    <a:gd name="connsiteX9" fmla="*/ 1165590 w 1730875"/>
                    <a:gd name="connsiteY9" fmla="*/ 1134348 h 1491374"/>
                    <a:gd name="connsiteX10" fmla="*/ 1178695 w 1730875"/>
                    <a:gd name="connsiteY10" fmla="*/ 1092130 h 1491374"/>
                    <a:gd name="connsiteX11" fmla="*/ 1443493 w 1730875"/>
                    <a:gd name="connsiteY11" fmla="*/ 916610 h 1491374"/>
                    <a:gd name="connsiteX12" fmla="*/ 1730875 w 1730875"/>
                    <a:gd name="connsiteY12" fmla="*/ 1203992 h 1491374"/>
                    <a:gd name="connsiteX13" fmla="*/ 1443493 w 1730875"/>
                    <a:gd name="connsiteY13" fmla="*/ 1491374 h 1491374"/>
                    <a:gd name="connsiteX14" fmla="*/ 1178695 w 1730875"/>
                    <a:gd name="connsiteY14" fmla="*/ 1315854 h 1491374"/>
                    <a:gd name="connsiteX15" fmla="*/ 1165590 w 1730875"/>
                    <a:gd name="connsiteY15" fmla="*/ 1273636 h 1491374"/>
                    <a:gd name="connsiteX16" fmla="*/ 565286 w 1730875"/>
                    <a:gd name="connsiteY16" fmla="*/ 1273636 h 1491374"/>
                    <a:gd name="connsiteX17" fmla="*/ 552180 w 1730875"/>
                    <a:gd name="connsiteY17" fmla="*/ 1315854 h 1491374"/>
                    <a:gd name="connsiteX18" fmla="*/ 287382 w 1730875"/>
                    <a:gd name="connsiteY18" fmla="*/ 1491374 h 1491374"/>
                    <a:gd name="connsiteX19" fmla="*/ 0 w 1730875"/>
                    <a:gd name="connsiteY19" fmla="*/ 1203992 h 1491374"/>
                    <a:gd name="connsiteX20" fmla="*/ 287382 w 1730875"/>
                    <a:gd name="connsiteY20" fmla="*/ 916610 h 1491374"/>
                    <a:gd name="connsiteX21" fmla="*/ 372841 w 1730875"/>
                    <a:gd name="connsiteY21" fmla="*/ 929530 h 1491374"/>
                    <a:gd name="connsiteX22" fmla="*/ 399952 w 1730875"/>
                    <a:gd name="connsiteY22" fmla="*/ 942563 h 1491374"/>
                    <a:gd name="connsiteX23" fmla="*/ 673507 w 1730875"/>
                    <a:gd name="connsiteY23" fmla="*/ 504368 h 1491374"/>
                    <a:gd name="connsiteX24" fmla="*/ 656810 w 1730875"/>
                    <a:gd name="connsiteY24" fmla="*/ 490592 h 1491374"/>
                    <a:gd name="connsiteX25" fmla="*/ 572638 w 1730875"/>
                    <a:gd name="connsiteY25" fmla="*/ 287382 h 1491374"/>
                    <a:gd name="connsiteX26" fmla="*/ 860020 w 1730875"/>
                    <a:gd name="connsiteY26" fmla="*/ 0 h 1491374"/>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30875" h="1491374">
                      <a:moveTo>
                        <a:pt x="860020" y="0"/>
                      </a:moveTo>
                      <a:cubicBezTo>
                        <a:pt x="1018737" y="0"/>
                        <a:pt x="1147402" y="128665"/>
                        <a:pt x="1147402" y="287382"/>
                      </a:cubicBezTo>
                      <a:cubicBezTo>
                        <a:pt x="1147402" y="446099"/>
                        <a:pt x="1018737" y="574764"/>
                        <a:pt x="860020" y="574764"/>
                      </a:cubicBezTo>
                      <a:cubicBezTo>
                        <a:pt x="840181" y="574764"/>
                        <a:pt x="820811" y="572754"/>
                        <a:pt x="802103" y="568925"/>
                      </a:cubicBezTo>
                      <a:lnTo>
                        <a:pt x="772043" y="559594"/>
                      </a:lnTo>
                      <a:lnTo>
                        <a:pt x="493022" y="1006545"/>
                      </a:lnTo>
                      <a:lnTo>
                        <a:pt x="509140" y="1021190"/>
                      </a:lnTo>
                      <a:cubicBezTo>
                        <a:pt x="526710" y="1042480"/>
                        <a:pt x="541274" y="1066343"/>
                        <a:pt x="552180" y="1092130"/>
                      </a:cubicBezTo>
                      <a:lnTo>
                        <a:pt x="565286" y="1134348"/>
                      </a:lnTo>
                      <a:lnTo>
                        <a:pt x="1165590" y="1134348"/>
                      </a:lnTo>
                      <a:lnTo>
                        <a:pt x="1178695" y="1092130"/>
                      </a:lnTo>
                      <a:cubicBezTo>
                        <a:pt x="1222322" y="988984"/>
                        <a:pt x="1324455" y="916610"/>
                        <a:pt x="1443493" y="916610"/>
                      </a:cubicBezTo>
                      <a:cubicBezTo>
                        <a:pt x="1602210" y="916610"/>
                        <a:pt x="1730875" y="1045275"/>
                        <a:pt x="1730875" y="1203992"/>
                      </a:cubicBezTo>
                      <a:cubicBezTo>
                        <a:pt x="1730875" y="1362709"/>
                        <a:pt x="1602210" y="1491374"/>
                        <a:pt x="1443493" y="1491374"/>
                      </a:cubicBezTo>
                      <a:cubicBezTo>
                        <a:pt x="1324455" y="1491374"/>
                        <a:pt x="1222322" y="1419000"/>
                        <a:pt x="1178695" y="1315854"/>
                      </a:cubicBezTo>
                      <a:lnTo>
                        <a:pt x="1165590" y="1273636"/>
                      </a:lnTo>
                      <a:lnTo>
                        <a:pt x="565286" y="1273636"/>
                      </a:lnTo>
                      <a:lnTo>
                        <a:pt x="552180" y="1315854"/>
                      </a:lnTo>
                      <a:cubicBezTo>
                        <a:pt x="508554" y="1419000"/>
                        <a:pt x="406420" y="1491374"/>
                        <a:pt x="287382" y="1491374"/>
                      </a:cubicBezTo>
                      <a:cubicBezTo>
                        <a:pt x="128665" y="1491374"/>
                        <a:pt x="0" y="1362709"/>
                        <a:pt x="0" y="1203992"/>
                      </a:cubicBezTo>
                      <a:cubicBezTo>
                        <a:pt x="0" y="1045275"/>
                        <a:pt x="128665" y="916610"/>
                        <a:pt x="287382" y="916610"/>
                      </a:cubicBezTo>
                      <a:cubicBezTo>
                        <a:pt x="317141" y="916610"/>
                        <a:pt x="345844" y="921133"/>
                        <a:pt x="372841" y="929530"/>
                      </a:cubicBezTo>
                      <a:lnTo>
                        <a:pt x="399952" y="942563"/>
                      </a:lnTo>
                      <a:lnTo>
                        <a:pt x="673507" y="504368"/>
                      </a:lnTo>
                      <a:lnTo>
                        <a:pt x="656810" y="490592"/>
                      </a:lnTo>
                      <a:cubicBezTo>
                        <a:pt x="604805" y="438586"/>
                        <a:pt x="572638" y="366740"/>
                        <a:pt x="572638" y="287382"/>
                      </a:cubicBezTo>
                      <a:cubicBezTo>
                        <a:pt x="572638" y="128665"/>
                        <a:pt x="701303" y="0"/>
                        <a:pt x="860020" y="0"/>
                      </a:cubicBezTo>
                      <a:close/>
                    </a:path>
                  </a:pathLst>
                </a:custGeom>
                <a:solidFill>
                  <a:schemeClr val="accent4">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nvGrpSpPr>
                <p:cNvPr id="41" name="组合 34"/>
                <p:cNvGrpSpPr/>
                <p:nvPr/>
              </p:nvGrpSpPr>
              <p:grpSpPr>
                <a:xfrm>
                  <a:off x="5624406" y="2098985"/>
                  <a:ext cx="1685381" cy="1622593"/>
                  <a:chOff x="8078266" y="2223112"/>
                  <a:chExt cx="2247175" cy="2163456"/>
                </a:xfrm>
              </p:grpSpPr>
              <p:sp>
                <p:nvSpPr>
                  <p:cNvPr id="36" name="任意多边形 21"/>
                  <p:cNvSpPr/>
                  <p:nvPr/>
                </p:nvSpPr>
                <p:spPr>
                  <a:xfrm rot="6571606" flipV="1">
                    <a:off x="7928661" y="3296911"/>
                    <a:ext cx="1239262" cy="940052"/>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214 w 1247214"/>
                      <a:gd name="connsiteY0-42" fmla="*/ 294507 h 940050"/>
                      <a:gd name="connsiteX1-43" fmla="*/ 728755 w 1247214"/>
                      <a:gd name="connsiteY1-44" fmla="*/ 848106 h 940050"/>
                      <a:gd name="connsiteX2-45" fmla="*/ 0 w 1247214"/>
                      <a:gd name="connsiteY2-46" fmla="*/ 896586 h 940050"/>
                      <a:gd name="connsiteX3-47" fmla="*/ 332681 w 1247214"/>
                      <a:gd name="connsiteY3-48" fmla="*/ 0 h 940050"/>
                      <a:gd name="connsiteX4-49" fmla="*/ 1247214 w 1247214"/>
                      <a:gd name="connsiteY4-50" fmla="*/ 294507 h 940050"/>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40050">
                        <a:moveTo>
                          <a:pt x="1247214" y="294507"/>
                        </a:moveTo>
                        <a:cubicBezTo>
                          <a:pt x="1162668" y="537744"/>
                          <a:pt x="936624" y="747760"/>
                          <a:pt x="728755" y="848106"/>
                        </a:cubicBezTo>
                        <a:cubicBezTo>
                          <a:pt x="520886" y="948453"/>
                          <a:pt x="242552" y="969802"/>
                          <a:pt x="0" y="896586"/>
                        </a:cubicBezTo>
                        <a:lnTo>
                          <a:pt x="332681" y="0"/>
                        </a:lnTo>
                        <a:lnTo>
                          <a:pt x="1247214" y="294507"/>
                        </a:lnTo>
                        <a:close/>
                      </a:path>
                    </a:pathLst>
                  </a:custGeom>
                  <a:solidFill>
                    <a:schemeClr val="accent4">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37" name="任意多边形 22"/>
                  <p:cNvSpPr/>
                  <p:nvPr/>
                </p:nvSpPr>
                <p:spPr>
                  <a:xfrm rot="11904031" flipV="1">
                    <a:off x="9115835" y="3202400"/>
                    <a:ext cx="1209606"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4">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38" name="任意多边形 23"/>
                  <p:cNvSpPr/>
                  <p:nvPr/>
                </p:nvSpPr>
                <p:spPr>
                  <a:xfrm rot="17295618" flipV="1">
                    <a:off x="8184889" y="2367334"/>
                    <a:ext cx="1247215"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4">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39" name="任意多边形 24"/>
                  <p:cNvSpPr/>
                  <p:nvPr/>
                </p:nvSpPr>
                <p:spPr>
                  <a:xfrm rot="11976820" flipH="1">
                    <a:off x="9008817" y="2428802"/>
                    <a:ext cx="1251052" cy="994445"/>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462 w 1247462"/>
                      <a:gd name="connsiteY0-42" fmla="*/ 305534 h 959140"/>
                      <a:gd name="connsiteX1-43" fmla="*/ 728755 w 1247462"/>
                      <a:gd name="connsiteY1-44" fmla="*/ 866825 h 959140"/>
                      <a:gd name="connsiteX2-45" fmla="*/ 0 w 1247462"/>
                      <a:gd name="connsiteY2-46" fmla="*/ 915305 h 959140"/>
                      <a:gd name="connsiteX3-47" fmla="*/ 304370 w 1247462"/>
                      <a:gd name="connsiteY3-48" fmla="*/ 0 h 959140"/>
                      <a:gd name="connsiteX4-49" fmla="*/ 1247462 w 1247462"/>
                      <a:gd name="connsiteY4-50" fmla="*/ 305534 h 959140"/>
                      <a:gd name="connsiteX0-51" fmla="*/ 1294962 w 1294962"/>
                      <a:gd name="connsiteY0-52" fmla="*/ 305534 h 952059"/>
                      <a:gd name="connsiteX1-53" fmla="*/ 776255 w 1294962"/>
                      <a:gd name="connsiteY1-54" fmla="*/ 866825 h 952059"/>
                      <a:gd name="connsiteX2-55" fmla="*/ 0 w 1294962"/>
                      <a:gd name="connsiteY2-56" fmla="*/ 904829 h 952059"/>
                      <a:gd name="connsiteX3-57" fmla="*/ 351870 w 1294962"/>
                      <a:gd name="connsiteY3-58" fmla="*/ 0 h 952059"/>
                      <a:gd name="connsiteX4-59" fmla="*/ 1294962 w 1294962"/>
                      <a:gd name="connsiteY4-60" fmla="*/ 305534 h 95205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94962" h="952059">
                        <a:moveTo>
                          <a:pt x="1294962" y="305534"/>
                        </a:moveTo>
                        <a:cubicBezTo>
                          <a:pt x="1210416" y="548771"/>
                          <a:pt x="992082" y="766942"/>
                          <a:pt x="776255" y="866825"/>
                        </a:cubicBezTo>
                        <a:cubicBezTo>
                          <a:pt x="560428" y="966708"/>
                          <a:pt x="242552" y="978045"/>
                          <a:pt x="0" y="904829"/>
                        </a:cubicBezTo>
                        <a:lnTo>
                          <a:pt x="351870" y="0"/>
                        </a:lnTo>
                        <a:lnTo>
                          <a:pt x="1294962" y="305534"/>
                        </a:lnTo>
                        <a:close/>
                      </a:path>
                    </a:pathLst>
                  </a:custGeom>
                  <a:solidFill>
                    <a:schemeClr val="accent4">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grpSp>
          <p:grpSp>
            <p:nvGrpSpPr>
              <p:cNvPr id="44" name="组合 30"/>
              <p:cNvGrpSpPr/>
              <p:nvPr/>
            </p:nvGrpSpPr>
            <p:grpSpPr>
              <a:xfrm>
                <a:off x="6612761" y="4886854"/>
                <a:ext cx="2549181" cy="776023"/>
                <a:chOff x="4948086" y="339361"/>
                <a:chExt cx="2549181" cy="776023"/>
              </a:xfrm>
            </p:grpSpPr>
            <p:sp>
              <p:nvSpPr>
                <p:cNvPr id="32" name="文本框 11"/>
                <p:cNvSpPr txBox="1"/>
                <p:nvPr/>
              </p:nvSpPr>
              <p:spPr>
                <a:xfrm>
                  <a:off x="4948086" y="339361"/>
                  <a:ext cx="2549181" cy="388226"/>
                </a:xfrm>
                <a:prstGeom prst="rect">
                  <a:avLst/>
                </a:prstGeom>
                <a:noFill/>
              </p:spPr>
              <p:txBody>
                <a:bodyPr wrap="none" lIns="0" tIns="0" rIns="0" bIns="0" anchor="ctr" anchorCtr="1">
                  <a:normAutofit/>
                </a:bodyPr>
                <a:lstStyle/>
                <a:p>
                  <a:pPr algn="ctr"/>
                  <a:r>
                    <a:rPr lang="zh-CN" altLang="en-US" sz="1400" b="1">
                      <a:solidFill>
                        <a:schemeClr val="bg1">
                          <a:lumMod val="50000"/>
                        </a:schemeClr>
                      </a:solidFill>
                      <a:latin typeface="+mj-ea"/>
                      <a:ea typeface="+mj-ea"/>
                    </a:rPr>
                    <a:t>标题文本预设</a:t>
                  </a:r>
                  <a:endParaRPr lang="zh-CN" altLang="en-US" sz="1400" b="1">
                    <a:solidFill>
                      <a:schemeClr val="bg1">
                        <a:lumMod val="50000"/>
                      </a:schemeClr>
                    </a:solidFill>
                    <a:latin typeface="+mj-ea"/>
                    <a:ea typeface="+mj-ea"/>
                  </a:endParaRPr>
                </a:p>
              </p:txBody>
            </p:sp>
            <p:sp>
              <p:nvSpPr>
                <p:cNvPr id="33" name="文本框 12"/>
                <p:cNvSpPr txBox="1"/>
                <p:nvPr/>
              </p:nvSpPr>
              <p:spPr>
                <a:xfrm>
                  <a:off x="4948086" y="727586"/>
                  <a:ext cx="2549181" cy="387798"/>
                </a:xfrm>
                <a:prstGeom prst="rect">
                  <a:avLst/>
                </a:prstGeom>
              </p:spPr>
              <p:txBody>
                <a:bodyPr vert="horz" wrap="square" lIns="0" tIns="0" rIns="0" bIns="0" anchor="t" anchorCtr="1">
                  <a:noAutofit/>
                </a:bodyPr>
                <a:lstStyle/>
                <a:p>
                  <a:pPr algn="ctr">
                    <a:lnSpc>
                      <a:spcPct val="120000"/>
                    </a:lnSpc>
                  </a:pPr>
                  <a:r>
                    <a:rPr lang="zh-CN" altLang="en-US" sz="800">
                      <a:solidFill>
                        <a:schemeClr val="bg1">
                          <a:lumMod val="50000"/>
                        </a:schemeClr>
                      </a:solidFill>
                      <a:latin typeface="+mj-ea"/>
                      <a:ea typeface="+mj-ea"/>
                    </a:rPr>
                    <a:t>此部分内容作为文字排版占位显示 </a:t>
                  </a:r>
                  <a:br>
                    <a:rPr lang="zh-CN" altLang="en-US" sz="800">
                      <a:solidFill>
                        <a:schemeClr val="bg1">
                          <a:lumMod val="50000"/>
                        </a:schemeClr>
                      </a:solidFill>
                      <a:latin typeface="+mj-ea"/>
                      <a:ea typeface="+mj-ea"/>
                    </a:rPr>
                  </a:br>
                  <a:r>
                    <a:rPr lang="zh-CN" altLang="en-US" sz="800">
                      <a:solidFill>
                        <a:schemeClr val="bg1">
                          <a:lumMod val="50000"/>
                        </a:schemeClr>
                      </a:solidFill>
                      <a:latin typeface="+mj-ea"/>
                      <a:ea typeface="+mj-ea"/>
                    </a:rPr>
                    <a:t>（建议使用主题字体）</a:t>
                  </a:r>
                  <a:endParaRPr lang="zh-CN" altLang="en-US" sz="800">
                    <a:solidFill>
                      <a:schemeClr val="bg1">
                        <a:lumMod val="50000"/>
                      </a:schemeClr>
                    </a:solidFill>
                    <a:latin typeface="+mj-ea"/>
                    <a:ea typeface="+mj-ea"/>
                  </a:endParaRPr>
                </a:p>
              </p:txBody>
            </p:sp>
          </p:grpSp>
        </p:grpSp>
        <p:grpSp>
          <p:nvGrpSpPr>
            <p:cNvPr id="45" name="组合 7"/>
            <p:cNvGrpSpPr/>
            <p:nvPr/>
          </p:nvGrpSpPr>
          <p:grpSpPr>
            <a:xfrm>
              <a:off x="7130945" y="1322377"/>
              <a:ext cx="2549181" cy="3108402"/>
              <a:chOff x="8129699" y="1285385"/>
              <a:chExt cx="2549181" cy="3108402"/>
            </a:xfrm>
          </p:grpSpPr>
          <p:grpSp>
            <p:nvGrpSpPr>
              <p:cNvPr id="59" name="组合 19"/>
              <p:cNvGrpSpPr/>
              <p:nvPr/>
            </p:nvGrpSpPr>
            <p:grpSpPr>
              <a:xfrm>
                <a:off x="8472357" y="2389702"/>
                <a:ext cx="1863861" cy="2004085"/>
                <a:chOff x="4056929" y="1943052"/>
                <a:chExt cx="1674763" cy="1800760"/>
              </a:xfrm>
            </p:grpSpPr>
            <p:grpSp>
              <p:nvGrpSpPr>
                <p:cNvPr id="60" name="组合 23"/>
                <p:cNvGrpSpPr/>
                <p:nvPr/>
              </p:nvGrpSpPr>
              <p:grpSpPr>
                <a:xfrm>
                  <a:off x="4056929" y="2117409"/>
                  <a:ext cx="1674763" cy="1626403"/>
                  <a:chOff x="6019675" y="2228402"/>
                  <a:chExt cx="2233018" cy="2168536"/>
                </a:xfrm>
              </p:grpSpPr>
              <p:sp>
                <p:nvSpPr>
                  <p:cNvPr id="26" name="任意多边形 91"/>
                  <p:cNvSpPr/>
                  <p:nvPr/>
                </p:nvSpPr>
                <p:spPr>
                  <a:xfrm rot="15028394">
                    <a:off x="5870070" y="2378007"/>
                    <a:ext cx="1239262" cy="940052"/>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214 w 1247214"/>
                      <a:gd name="connsiteY0-42" fmla="*/ 294507 h 940050"/>
                      <a:gd name="connsiteX1-43" fmla="*/ 728755 w 1247214"/>
                      <a:gd name="connsiteY1-44" fmla="*/ 848106 h 940050"/>
                      <a:gd name="connsiteX2-45" fmla="*/ 0 w 1247214"/>
                      <a:gd name="connsiteY2-46" fmla="*/ 896586 h 940050"/>
                      <a:gd name="connsiteX3-47" fmla="*/ 332681 w 1247214"/>
                      <a:gd name="connsiteY3-48" fmla="*/ 0 h 940050"/>
                      <a:gd name="connsiteX4-49" fmla="*/ 1247214 w 1247214"/>
                      <a:gd name="connsiteY4-50" fmla="*/ 294507 h 940050"/>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40050">
                        <a:moveTo>
                          <a:pt x="1247214" y="294507"/>
                        </a:moveTo>
                        <a:cubicBezTo>
                          <a:pt x="1162668" y="537744"/>
                          <a:pt x="936624" y="747760"/>
                          <a:pt x="728755" y="848106"/>
                        </a:cubicBezTo>
                        <a:cubicBezTo>
                          <a:pt x="520886" y="948453"/>
                          <a:pt x="242552" y="969802"/>
                          <a:pt x="0" y="896586"/>
                        </a:cubicBezTo>
                        <a:lnTo>
                          <a:pt x="332681" y="0"/>
                        </a:lnTo>
                        <a:lnTo>
                          <a:pt x="1247214" y="294507"/>
                        </a:lnTo>
                        <a:close/>
                      </a:path>
                    </a:pathLst>
                  </a:cu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27" name="任意多边形 92"/>
                  <p:cNvSpPr/>
                  <p:nvPr/>
                </p:nvSpPr>
                <p:spPr>
                  <a:xfrm rot="4304382">
                    <a:off x="6116537" y="3293945"/>
                    <a:ext cx="1247215"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28" name="任意多边形 93"/>
                  <p:cNvSpPr/>
                  <p:nvPr/>
                </p:nvSpPr>
                <p:spPr>
                  <a:xfrm rot="9623180" flipH="1" flipV="1">
                    <a:off x="6940465" y="3201883"/>
                    <a:ext cx="1251052" cy="994445"/>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462 w 1247462"/>
                      <a:gd name="connsiteY0-42" fmla="*/ 305534 h 959140"/>
                      <a:gd name="connsiteX1-43" fmla="*/ 728755 w 1247462"/>
                      <a:gd name="connsiteY1-44" fmla="*/ 866825 h 959140"/>
                      <a:gd name="connsiteX2-45" fmla="*/ 0 w 1247462"/>
                      <a:gd name="connsiteY2-46" fmla="*/ 915305 h 959140"/>
                      <a:gd name="connsiteX3-47" fmla="*/ 304370 w 1247462"/>
                      <a:gd name="connsiteY3-48" fmla="*/ 0 h 959140"/>
                      <a:gd name="connsiteX4-49" fmla="*/ 1247462 w 1247462"/>
                      <a:gd name="connsiteY4-50" fmla="*/ 305534 h 959140"/>
                      <a:gd name="connsiteX0-51" fmla="*/ 1294962 w 1294962"/>
                      <a:gd name="connsiteY0-52" fmla="*/ 305534 h 952059"/>
                      <a:gd name="connsiteX1-53" fmla="*/ 776255 w 1294962"/>
                      <a:gd name="connsiteY1-54" fmla="*/ 866825 h 952059"/>
                      <a:gd name="connsiteX2-55" fmla="*/ 0 w 1294962"/>
                      <a:gd name="connsiteY2-56" fmla="*/ 904829 h 952059"/>
                      <a:gd name="connsiteX3-57" fmla="*/ 351870 w 1294962"/>
                      <a:gd name="connsiteY3-58" fmla="*/ 0 h 952059"/>
                      <a:gd name="connsiteX4-59" fmla="*/ 1294962 w 1294962"/>
                      <a:gd name="connsiteY4-60" fmla="*/ 305534 h 95205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94962" h="952059">
                        <a:moveTo>
                          <a:pt x="1294962" y="305534"/>
                        </a:moveTo>
                        <a:cubicBezTo>
                          <a:pt x="1210416" y="548771"/>
                          <a:pt x="992082" y="766942"/>
                          <a:pt x="776255" y="866825"/>
                        </a:cubicBezTo>
                        <a:cubicBezTo>
                          <a:pt x="560428" y="966708"/>
                          <a:pt x="242552" y="978045"/>
                          <a:pt x="0" y="904829"/>
                        </a:cubicBezTo>
                        <a:lnTo>
                          <a:pt x="351870" y="0"/>
                        </a:lnTo>
                        <a:lnTo>
                          <a:pt x="1294962" y="305534"/>
                        </a:lnTo>
                        <a:close/>
                      </a:path>
                    </a:pathLst>
                  </a:cu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29" name="任意多边形 94"/>
                  <p:cNvSpPr/>
                  <p:nvPr/>
                </p:nvSpPr>
                <p:spPr>
                  <a:xfrm rot="9654881">
                    <a:off x="7043087" y="2458879"/>
                    <a:ext cx="1209606"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sp>
              <p:nvSpPr>
                <p:cNvPr id="25" name="任意多边形 90"/>
                <p:cNvSpPr/>
                <p:nvPr/>
              </p:nvSpPr>
              <p:spPr>
                <a:xfrm>
                  <a:off x="4752680" y="1943052"/>
                  <a:ext cx="262234" cy="368299"/>
                </a:xfrm>
                <a:custGeom>
                  <a:gdLst>
                    <a:gd name="connsiteX0" fmla="*/ 163450 w 239588"/>
                    <a:gd name="connsiteY0" fmla="*/ 147580 h 336493"/>
                    <a:gd name="connsiteX1" fmla="*/ 163450 w 239588"/>
                    <a:gd name="connsiteY1" fmla="*/ 307918 h 336493"/>
                    <a:gd name="connsiteX2" fmla="*/ 192025 w 239588"/>
                    <a:gd name="connsiteY2" fmla="*/ 307918 h 336493"/>
                    <a:gd name="connsiteX3" fmla="*/ 192025 w 239588"/>
                    <a:gd name="connsiteY3" fmla="*/ 147580 h 336493"/>
                    <a:gd name="connsiteX4" fmla="*/ 106300 w 239588"/>
                    <a:gd name="connsiteY4" fmla="*/ 147580 h 336493"/>
                    <a:gd name="connsiteX5" fmla="*/ 106300 w 239588"/>
                    <a:gd name="connsiteY5" fmla="*/ 307918 h 336493"/>
                    <a:gd name="connsiteX6" fmla="*/ 134875 w 239588"/>
                    <a:gd name="connsiteY6" fmla="*/ 307918 h 336493"/>
                    <a:gd name="connsiteX7" fmla="*/ 134875 w 239588"/>
                    <a:gd name="connsiteY7" fmla="*/ 147580 h 336493"/>
                    <a:gd name="connsiteX8" fmla="*/ 49150 w 239588"/>
                    <a:gd name="connsiteY8" fmla="*/ 147580 h 336493"/>
                    <a:gd name="connsiteX9" fmla="*/ 49150 w 239588"/>
                    <a:gd name="connsiteY9" fmla="*/ 307918 h 336493"/>
                    <a:gd name="connsiteX10" fmla="*/ 76138 w 239588"/>
                    <a:gd name="connsiteY10" fmla="*/ 307918 h 336493"/>
                    <a:gd name="connsiteX11" fmla="*/ 76138 w 239588"/>
                    <a:gd name="connsiteY11" fmla="*/ 147580 h 336493"/>
                    <a:gd name="connsiteX12" fmla="*/ 96775 w 239588"/>
                    <a:gd name="connsiteY12" fmla="*/ 33280 h 336493"/>
                    <a:gd name="connsiteX13" fmla="*/ 85663 w 239588"/>
                    <a:gd name="connsiteY13" fmla="*/ 58680 h 336493"/>
                    <a:gd name="connsiteX14" fmla="*/ 165039 w 239588"/>
                    <a:gd name="connsiteY14" fmla="*/ 92018 h 336493"/>
                    <a:gd name="connsiteX15" fmla="*/ 176151 w 239588"/>
                    <a:gd name="connsiteY15" fmla="*/ 65030 h 336493"/>
                    <a:gd name="connsiteX16" fmla="*/ 83493 w 239588"/>
                    <a:gd name="connsiteY16" fmla="*/ 986 h 336493"/>
                    <a:gd name="connsiteX17" fmla="*/ 94713 w 239588"/>
                    <a:gd name="connsiteY17" fmla="*/ 986 h 336493"/>
                    <a:gd name="connsiteX18" fmla="*/ 200317 w 239588"/>
                    <a:gd name="connsiteY18" fmla="*/ 44405 h 336493"/>
                    <a:gd name="connsiteX19" fmla="*/ 208237 w 239588"/>
                    <a:gd name="connsiteY19" fmla="*/ 62825 h 336493"/>
                    <a:gd name="connsiteX20" fmla="*/ 191077 w 239588"/>
                    <a:gd name="connsiteY20" fmla="*/ 102296 h 336493"/>
                    <a:gd name="connsiteX21" fmla="*/ 230678 w 239588"/>
                    <a:gd name="connsiteY21" fmla="*/ 119400 h 336493"/>
                    <a:gd name="connsiteX22" fmla="*/ 238598 w 239588"/>
                    <a:gd name="connsiteY22" fmla="*/ 137820 h 336493"/>
                    <a:gd name="connsiteX23" fmla="*/ 225398 w 239588"/>
                    <a:gd name="connsiteY23" fmla="*/ 147030 h 336493"/>
                    <a:gd name="connsiteX24" fmla="*/ 220118 w 239588"/>
                    <a:gd name="connsiteY24" fmla="*/ 145715 h 336493"/>
                    <a:gd name="connsiteX25" fmla="*/ 220118 w 239588"/>
                    <a:gd name="connsiteY25" fmla="*/ 322020 h 336493"/>
                    <a:gd name="connsiteX26" fmla="*/ 205597 w 239588"/>
                    <a:gd name="connsiteY26" fmla="*/ 336493 h 336493"/>
                    <a:gd name="connsiteX27" fmla="*/ 33991 w 239588"/>
                    <a:gd name="connsiteY27" fmla="*/ 336493 h 336493"/>
                    <a:gd name="connsiteX28" fmla="*/ 19470 w 239588"/>
                    <a:gd name="connsiteY28" fmla="*/ 322020 h 336493"/>
                    <a:gd name="connsiteX29" fmla="*/ 19470 w 239588"/>
                    <a:gd name="connsiteY29" fmla="*/ 132557 h 336493"/>
                    <a:gd name="connsiteX30" fmla="*/ 33991 w 239588"/>
                    <a:gd name="connsiteY30" fmla="*/ 118085 h 336493"/>
                    <a:gd name="connsiteX31" fmla="*/ 154115 w 239588"/>
                    <a:gd name="connsiteY31" fmla="*/ 118085 h 336493"/>
                    <a:gd name="connsiteX32" fmla="*/ 8910 w 239588"/>
                    <a:gd name="connsiteY32" fmla="*/ 57562 h 336493"/>
                    <a:gd name="connsiteX33" fmla="*/ 990 w 239588"/>
                    <a:gd name="connsiteY33" fmla="*/ 39142 h 336493"/>
                    <a:gd name="connsiteX34" fmla="*/ 19470 w 239588"/>
                    <a:gd name="connsiteY34" fmla="*/ 31248 h 336493"/>
                    <a:gd name="connsiteX35" fmla="*/ 59072 w 239588"/>
                    <a:gd name="connsiteY35" fmla="*/ 48352 h 336493"/>
                    <a:gd name="connsiteX36" fmla="*/ 76232 w 239588"/>
                    <a:gd name="connsiteY36" fmla="*/ 8880 h 336493"/>
                    <a:gd name="connsiteX37" fmla="*/ 83493 w 239588"/>
                    <a:gd name="connsiteY37" fmla="*/ 986 h 33649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39588" h="336493">
                      <a:moveTo>
                        <a:pt x="163450" y="147580"/>
                      </a:moveTo>
                      <a:lnTo>
                        <a:pt x="163450" y="307918"/>
                      </a:lnTo>
                      <a:lnTo>
                        <a:pt x="192025" y="307918"/>
                      </a:lnTo>
                      <a:lnTo>
                        <a:pt x="192025" y="147580"/>
                      </a:lnTo>
                      <a:close/>
                      <a:moveTo>
                        <a:pt x="106300" y="147580"/>
                      </a:moveTo>
                      <a:lnTo>
                        <a:pt x="106300" y="307918"/>
                      </a:lnTo>
                      <a:lnTo>
                        <a:pt x="134875" y="307918"/>
                      </a:lnTo>
                      <a:lnTo>
                        <a:pt x="134875" y="147580"/>
                      </a:lnTo>
                      <a:close/>
                      <a:moveTo>
                        <a:pt x="49150" y="147580"/>
                      </a:moveTo>
                      <a:lnTo>
                        <a:pt x="49150" y="307918"/>
                      </a:lnTo>
                      <a:lnTo>
                        <a:pt x="76138" y="307918"/>
                      </a:lnTo>
                      <a:lnTo>
                        <a:pt x="76138" y="147580"/>
                      </a:lnTo>
                      <a:close/>
                      <a:moveTo>
                        <a:pt x="96775" y="33280"/>
                      </a:moveTo>
                      <a:lnTo>
                        <a:pt x="85663" y="58680"/>
                      </a:lnTo>
                      <a:lnTo>
                        <a:pt x="165039" y="92018"/>
                      </a:lnTo>
                      <a:lnTo>
                        <a:pt x="176151" y="65030"/>
                      </a:lnTo>
                      <a:close/>
                      <a:moveTo>
                        <a:pt x="83493" y="986"/>
                      </a:moveTo>
                      <a:cubicBezTo>
                        <a:pt x="86793" y="-329"/>
                        <a:pt x="90753" y="-329"/>
                        <a:pt x="94713" y="986"/>
                      </a:cubicBezTo>
                      <a:cubicBezTo>
                        <a:pt x="94713" y="986"/>
                        <a:pt x="94713" y="986"/>
                        <a:pt x="200317" y="44405"/>
                      </a:cubicBezTo>
                      <a:cubicBezTo>
                        <a:pt x="206917" y="47036"/>
                        <a:pt x="210877" y="56246"/>
                        <a:pt x="208237" y="62825"/>
                      </a:cubicBezTo>
                      <a:cubicBezTo>
                        <a:pt x="208237" y="62825"/>
                        <a:pt x="208237" y="62825"/>
                        <a:pt x="191077" y="102296"/>
                      </a:cubicBezTo>
                      <a:cubicBezTo>
                        <a:pt x="191077" y="102296"/>
                        <a:pt x="191077" y="102296"/>
                        <a:pt x="230678" y="119400"/>
                      </a:cubicBezTo>
                      <a:cubicBezTo>
                        <a:pt x="238598" y="122032"/>
                        <a:pt x="241238" y="129926"/>
                        <a:pt x="238598" y="137820"/>
                      </a:cubicBezTo>
                      <a:cubicBezTo>
                        <a:pt x="235958" y="143083"/>
                        <a:pt x="230678" y="147030"/>
                        <a:pt x="225398" y="147030"/>
                      </a:cubicBezTo>
                      <a:cubicBezTo>
                        <a:pt x="224078" y="147030"/>
                        <a:pt x="221438" y="145715"/>
                        <a:pt x="220118" y="145715"/>
                      </a:cubicBezTo>
                      <a:cubicBezTo>
                        <a:pt x="220118" y="145715"/>
                        <a:pt x="220118" y="145715"/>
                        <a:pt x="220118" y="322020"/>
                      </a:cubicBezTo>
                      <a:cubicBezTo>
                        <a:pt x="220118" y="329915"/>
                        <a:pt x="213517" y="336493"/>
                        <a:pt x="205597" y="336493"/>
                      </a:cubicBezTo>
                      <a:cubicBezTo>
                        <a:pt x="205597" y="336493"/>
                        <a:pt x="205597" y="336493"/>
                        <a:pt x="33991" y="336493"/>
                      </a:cubicBezTo>
                      <a:cubicBezTo>
                        <a:pt x="26071" y="336493"/>
                        <a:pt x="19470" y="329915"/>
                        <a:pt x="19470" y="322020"/>
                      </a:cubicBezTo>
                      <a:cubicBezTo>
                        <a:pt x="19470" y="322020"/>
                        <a:pt x="19470" y="322020"/>
                        <a:pt x="19470" y="132557"/>
                      </a:cubicBezTo>
                      <a:cubicBezTo>
                        <a:pt x="19470" y="124663"/>
                        <a:pt x="26071" y="118085"/>
                        <a:pt x="33991" y="118085"/>
                      </a:cubicBezTo>
                      <a:cubicBezTo>
                        <a:pt x="33991" y="118085"/>
                        <a:pt x="33991" y="118085"/>
                        <a:pt x="154115" y="118085"/>
                      </a:cubicBezTo>
                      <a:cubicBezTo>
                        <a:pt x="154115" y="118085"/>
                        <a:pt x="154115" y="118085"/>
                        <a:pt x="8910" y="57562"/>
                      </a:cubicBezTo>
                      <a:cubicBezTo>
                        <a:pt x="990" y="54930"/>
                        <a:pt x="-1650" y="47036"/>
                        <a:pt x="990" y="39142"/>
                      </a:cubicBezTo>
                      <a:cubicBezTo>
                        <a:pt x="3630" y="32563"/>
                        <a:pt x="12870" y="28616"/>
                        <a:pt x="19470" y="31248"/>
                      </a:cubicBezTo>
                      <a:cubicBezTo>
                        <a:pt x="19470" y="31248"/>
                        <a:pt x="19470" y="31248"/>
                        <a:pt x="59072" y="48352"/>
                      </a:cubicBezTo>
                      <a:cubicBezTo>
                        <a:pt x="59072" y="48352"/>
                        <a:pt x="59072" y="48352"/>
                        <a:pt x="76232" y="8880"/>
                      </a:cubicBezTo>
                      <a:cubicBezTo>
                        <a:pt x="77552" y="4933"/>
                        <a:pt x="80192" y="2302"/>
                        <a:pt x="83493" y="986"/>
                      </a:cubicBezTo>
                      <a:close/>
                    </a:path>
                  </a:pathLst>
                </a:cu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grpSp>
            <p:nvGrpSpPr>
              <p:cNvPr id="63" name="组合 20"/>
              <p:cNvGrpSpPr/>
              <p:nvPr/>
            </p:nvGrpSpPr>
            <p:grpSpPr>
              <a:xfrm>
                <a:off x="8129699" y="1285385"/>
                <a:ext cx="2549181" cy="848727"/>
                <a:chOff x="5877558" y="1197195"/>
                <a:chExt cx="2549181" cy="848727"/>
              </a:xfrm>
            </p:grpSpPr>
            <p:sp>
              <p:nvSpPr>
                <p:cNvPr id="22" name="文本框 87"/>
                <p:cNvSpPr txBox="1"/>
                <p:nvPr/>
              </p:nvSpPr>
              <p:spPr>
                <a:xfrm>
                  <a:off x="5877558" y="1197195"/>
                  <a:ext cx="2549181" cy="388226"/>
                </a:xfrm>
                <a:prstGeom prst="rect">
                  <a:avLst/>
                </a:prstGeom>
                <a:noFill/>
              </p:spPr>
              <p:txBody>
                <a:bodyPr wrap="none" lIns="0" tIns="0" rIns="0" bIns="0" anchor="ctr" anchorCtr="1">
                  <a:normAutofit/>
                </a:bodyPr>
                <a:lstStyle/>
                <a:p>
                  <a:pPr algn="ctr"/>
                  <a:r>
                    <a:rPr lang="zh-CN" altLang="en-US" sz="1400" b="1">
                      <a:solidFill>
                        <a:schemeClr val="bg1">
                          <a:lumMod val="50000"/>
                        </a:schemeClr>
                      </a:solidFill>
                      <a:latin typeface="+mj-ea"/>
                      <a:ea typeface="+mj-ea"/>
                    </a:rPr>
                    <a:t>标题文本预设</a:t>
                  </a:r>
                  <a:endParaRPr lang="zh-CN" altLang="en-US" sz="1400" b="1">
                    <a:solidFill>
                      <a:schemeClr val="bg1">
                        <a:lumMod val="50000"/>
                      </a:schemeClr>
                    </a:solidFill>
                    <a:latin typeface="+mj-ea"/>
                    <a:ea typeface="+mj-ea"/>
                  </a:endParaRPr>
                </a:p>
              </p:txBody>
            </p:sp>
            <p:sp>
              <p:nvSpPr>
                <p:cNvPr id="23" name="文本框 88"/>
                <p:cNvSpPr txBox="1"/>
                <p:nvPr/>
              </p:nvSpPr>
              <p:spPr>
                <a:xfrm>
                  <a:off x="5877558" y="1585420"/>
                  <a:ext cx="2549181" cy="460502"/>
                </a:xfrm>
                <a:prstGeom prst="rect">
                  <a:avLst/>
                </a:prstGeom>
              </p:spPr>
              <p:txBody>
                <a:bodyPr vert="horz" wrap="square" lIns="0" tIns="0" rIns="0" bIns="0" anchor="t" anchorCtr="1">
                  <a:normAutofit/>
                </a:bodyPr>
                <a:lstStyle/>
                <a:p>
                  <a:pPr algn="ctr">
                    <a:lnSpc>
                      <a:spcPct val="120000"/>
                    </a:lnSpc>
                  </a:pPr>
                  <a:r>
                    <a:rPr lang="zh-CN" altLang="en-US" sz="900">
                      <a:solidFill>
                        <a:schemeClr val="bg1">
                          <a:lumMod val="50000"/>
                        </a:schemeClr>
                      </a:solidFill>
                      <a:latin typeface="+mj-ea"/>
                      <a:ea typeface="+mj-ea"/>
                    </a:rPr>
                    <a:t>此部分内容作为文字排版占位显示 </a:t>
                  </a:r>
                  <a:br>
                    <a:rPr lang="zh-CN" altLang="en-US" sz="900">
                      <a:solidFill>
                        <a:schemeClr val="bg1">
                          <a:lumMod val="50000"/>
                        </a:schemeClr>
                      </a:solidFill>
                      <a:latin typeface="+mj-ea"/>
                      <a:ea typeface="+mj-ea"/>
                    </a:rPr>
                  </a:br>
                  <a:r>
                    <a:rPr lang="zh-CN" altLang="en-US" sz="900">
                      <a:solidFill>
                        <a:schemeClr val="bg1">
                          <a:lumMod val="50000"/>
                        </a:schemeClr>
                      </a:solidFill>
                      <a:latin typeface="+mj-ea"/>
                      <a:ea typeface="+mj-ea"/>
                    </a:rPr>
                    <a:t>（建议使用主题字体）</a:t>
                  </a:r>
                  <a:endParaRPr lang="zh-CN" altLang="en-US" sz="900">
                    <a:solidFill>
                      <a:schemeClr val="bg1">
                        <a:lumMod val="50000"/>
                      </a:schemeClr>
                    </a:solidFill>
                    <a:latin typeface="+mj-ea"/>
                    <a:ea typeface="+mj-ea"/>
                  </a:endParaRPr>
                </a:p>
              </p:txBody>
            </p:sp>
          </p:grpSp>
        </p:grpSp>
        <p:grpSp>
          <p:nvGrpSpPr>
            <p:cNvPr id="64" name="组合 8"/>
            <p:cNvGrpSpPr/>
            <p:nvPr/>
          </p:nvGrpSpPr>
          <p:grpSpPr>
            <a:xfrm>
              <a:off x="8865154" y="2591787"/>
              <a:ext cx="2549181" cy="3072652"/>
              <a:chOff x="8865154" y="2591787"/>
              <a:chExt cx="2549181" cy="3072652"/>
            </a:xfrm>
          </p:grpSpPr>
          <p:grpSp>
            <p:nvGrpSpPr>
              <p:cNvPr id="71" name="组合 9"/>
              <p:cNvGrpSpPr/>
              <p:nvPr/>
            </p:nvGrpSpPr>
            <p:grpSpPr>
              <a:xfrm>
                <a:off x="9201904" y="2591787"/>
                <a:ext cx="1875677" cy="1930603"/>
                <a:chOff x="5624406" y="2098985"/>
                <a:chExt cx="1685381" cy="1734734"/>
              </a:xfrm>
            </p:grpSpPr>
            <p:sp>
              <p:nvSpPr>
                <p:cNvPr id="14" name="任意多边形 107"/>
                <p:cNvSpPr/>
                <p:nvPr/>
              </p:nvSpPr>
              <p:spPr>
                <a:xfrm>
                  <a:off x="6309679" y="3520364"/>
                  <a:ext cx="314834" cy="313355"/>
                </a:xfrm>
                <a:custGeom>
                  <a:gdLst>
                    <a:gd name="connsiteX0" fmla="*/ 250401 w 338138"/>
                    <a:gd name="connsiteY0" fmla="*/ 101071 h 336550"/>
                    <a:gd name="connsiteX1" fmla="*/ 259589 w 338138"/>
                    <a:gd name="connsiteY1" fmla="*/ 102394 h 336550"/>
                    <a:gd name="connsiteX2" fmla="*/ 260901 w 338138"/>
                    <a:gd name="connsiteY2" fmla="*/ 105040 h 336550"/>
                    <a:gd name="connsiteX3" fmla="*/ 259589 w 338138"/>
                    <a:gd name="connsiteY3" fmla="*/ 114300 h 336550"/>
                    <a:gd name="connsiteX4" fmla="*/ 186088 w 338138"/>
                    <a:gd name="connsiteY4" fmla="*/ 165894 h 336550"/>
                    <a:gd name="connsiteX5" fmla="*/ 186088 w 338138"/>
                    <a:gd name="connsiteY5" fmla="*/ 168540 h 336550"/>
                    <a:gd name="connsiteX6" fmla="*/ 171651 w 338138"/>
                    <a:gd name="connsiteY6" fmla="*/ 185738 h 336550"/>
                    <a:gd name="connsiteX7" fmla="*/ 171651 w 338138"/>
                    <a:gd name="connsiteY7" fmla="*/ 280988 h 336550"/>
                    <a:gd name="connsiteX8" fmla="*/ 166401 w 338138"/>
                    <a:gd name="connsiteY8" fmla="*/ 280988 h 336550"/>
                    <a:gd name="connsiteX9" fmla="*/ 166401 w 338138"/>
                    <a:gd name="connsiteY9" fmla="*/ 185738 h 336550"/>
                    <a:gd name="connsiteX10" fmla="*/ 151963 w 338138"/>
                    <a:gd name="connsiteY10" fmla="*/ 168540 h 336550"/>
                    <a:gd name="connsiteX11" fmla="*/ 151963 w 338138"/>
                    <a:gd name="connsiteY11" fmla="*/ 167217 h 336550"/>
                    <a:gd name="connsiteX12" fmla="*/ 99463 w 338138"/>
                    <a:gd name="connsiteY12" fmla="*/ 122238 h 336550"/>
                    <a:gd name="connsiteX13" fmla="*/ 98151 w 338138"/>
                    <a:gd name="connsiteY13" fmla="*/ 112977 h 336550"/>
                    <a:gd name="connsiteX14" fmla="*/ 103401 w 338138"/>
                    <a:gd name="connsiteY14" fmla="*/ 107685 h 336550"/>
                    <a:gd name="connsiteX15" fmla="*/ 112588 w 338138"/>
                    <a:gd name="connsiteY15" fmla="*/ 106363 h 336550"/>
                    <a:gd name="connsiteX16" fmla="*/ 165088 w 338138"/>
                    <a:gd name="connsiteY16" fmla="*/ 152665 h 336550"/>
                    <a:gd name="connsiteX17" fmla="*/ 169026 w 338138"/>
                    <a:gd name="connsiteY17" fmla="*/ 151342 h 336550"/>
                    <a:gd name="connsiteX18" fmla="*/ 176901 w 338138"/>
                    <a:gd name="connsiteY18" fmla="*/ 153988 h 336550"/>
                    <a:gd name="connsiteX19" fmla="*/ 250401 w 338138"/>
                    <a:gd name="connsiteY19" fmla="*/ 101071 h 336550"/>
                    <a:gd name="connsiteX20" fmla="*/ 169069 w 338138"/>
                    <a:gd name="connsiteY20" fmla="*/ 34925 h 336550"/>
                    <a:gd name="connsiteX21" fmla="*/ 34925 w 338138"/>
                    <a:gd name="connsiteY21" fmla="*/ 169069 h 336550"/>
                    <a:gd name="connsiteX22" fmla="*/ 169069 w 338138"/>
                    <a:gd name="connsiteY22" fmla="*/ 303213 h 336550"/>
                    <a:gd name="connsiteX23" fmla="*/ 303213 w 338138"/>
                    <a:gd name="connsiteY23" fmla="*/ 169069 h 336550"/>
                    <a:gd name="connsiteX24" fmla="*/ 169069 w 338138"/>
                    <a:gd name="connsiteY24" fmla="*/ 34925 h 336550"/>
                    <a:gd name="connsiteX25" fmla="*/ 169069 w 338138"/>
                    <a:gd name="connsiteY25" fmla="*/ 0 h 336550"/>
                    <a:gd name="connsiteX26" fmla="*/ 338138 w 338138"/>
                    <a:gd name="connsiteY26" fmla="*/ 168275 h 336550"/>
                    <a:gd name="connsiteX27" fmla="*/ 169069 w 338138"/>
                    <a:gd name="connsiteY27" fmla="*/ 336550 h 336550"/>
                    <a:gd name="connsiteX28" fmla="*/ 0 w 338138"/>
                    <a:gd name="connsiteY28" fmla="*/ 168275 h 336550"/>
                    <a:gd name="connsiteX29" fmla="*/ 169069 w 338138"/>
                    <a:gd name="connsiteY29" fmla="*/ 0 h 33655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38138" h="336550">
                      <a:moveTo>
                        <a:pt x="250401" y="101071"/>
                      </a:moveTo>
                      <a:cubicBezTo>
                        <a:pt x="253026" y="98425"/>
                        <a:pt x="258276" y="99748"/>
                        <a:pt x="259589" y="102394"/>
                      </a:cubicBezTo>
                      <a:lnTo>
                        <a:pt x="260901" y="105040"/>
                      </a:lnTo>
                      <a:cubicBezTo>
                        <a:pt x="263526" y="107685"/>
                        <a:pt x="262214" y="111654"/>
                        <a:pt x="259589" y="114300"/>
                      </a:cubicBezTo>
                      <a:cubicBezTo>
                        <a:pt x="259589" y="114300"/>
                        <a:pt x="259589" y="114300"/>
                        <a:pt x="186088" y="165894"/>
                      </a:cubicBezTo>
                      <a:cubicBezTo>
                        <a:pt x="186088" y="167217"/>
                        <a:pt x="186088" y="167217"/>
                        <a:pt x="186088" y="168540"/>
                      </a:cubicBezTo>
                      <a:cubicBezTo>
                        <a:pt x="186088" y="176477"/>
                        <a:pt x="179526" y="184415"/>
                        <a:pt x="171651" y="185738"/>
                      </a:cubicBezTo>
                      <a:cubicBezTo>
                        <a:pt x="171651" y="185738"/>
                        <a:pt x="171651" y="185738"/>
                        <a:pt x="171651" y="280988"/>
                      </a:cubicBezTo>
                      <a:cubicBezTo>
                        <a:pt x="171651" y="280988"/>
                        <a:pt x="171651" y="280988"/>
                        <a:pt x="166401" y="280988"/>
                      </a:cubicBezTo>
                      <a:cubicBezTo>
                        <a:pt x="166401" y="280988"/>
                        <a:pt x="166401" y="280988"/>
                        <a:pt x="166401" y="185738"/>
                      </a:cubicBezTo>
                      <a:cubicBezTo>
                        <a:pt x="158526" y="184415"/>
                        <a:pt x="151963" y="176477"/>
                        <a:pt x="151963" y="168540"/>
                      </a:cubicBezTo>
                      <a:cubicBezTo>
                        <a:pt x="151963" y="168540"/>
                        <a:pt x="151963" y="167217"/>
                        <a:pt x="151963" y="167217"/>
                      </a:cubicBezTo>
                      <a:cubicBezTo>
                        <a:pt x="151963" y="167217"/>
                        <a:pt x="151963" y="167217"/>
                        <a:pt x="99463" y="122238"/>
                      </a:cubicBezTo>
                      <a:cubicBezTo>
                        <a:pt x="96838" y="119592"/>
                        <a:pt x="96838" y="115623"/>
                        <a:pt x="98151" y="112977"/>
                      </a:cubicBezTo>
                      <a:cubicBezTo>
                        <a:pt x="98151" y="112977"/>
                        <a:pt x="98151" y="112977"/>
                        <a:pt x="103401" y="107685"/>
                      </a:cubicBezTo>
                      <a:cubicBezTo>
                        <a:pt x="106026" y="105040"/>
                        <a:pt x="109963" y="103717"/>
                        <a:pt x="112588" y="106363"/>
                      </a:cubicBezTo>
                      <a:cubicBezTo>
                        <a:pt x="112588" y="106363"/>
                        <a:pt x="112588" y="106363"/>
                        <a:pt x="165088" y="152665"/>
                      </a:cubicBezTo>
                      <a:cubicBezTo>
                        <a:pt x="166401" y="151342"/>
                        <a:pt x="167713" y="151342"/>
                        <a:pt x="169026" y="151342"/>
                      </a:cubicBezTo>
                      <a:cubicBezTo>
                        <a:pt x="171651" y="151342"/>
                        <a:pt x="174276" y="152665"/>
                        <a:pt x="176901" y="153988"/>
                      </a:cubicBezTo>
                      <a:cubicBezTo>
                        <a:pt x="176901" y="153988"/>
                        <a:pt x="176901" y="153988"/>
                        <a:pt x="250401" y="101071"/>
                      </a:cubicBezTo>
                      <a:close/>
                      <a:moveTo>
                        <a:pt x="169069" y="34925"/>
                      </a:moveTo>
                      <a:cubicBezTo>
                        <a:pt x="94983" y="34925"/>
                        <a:pt x="34925" y="94983"/>
                        <a:pt x="34925" y="169069"/>
                      </a:cubicBezTo>
                      <a:cubicBezTo>
                        <a:pt x="34925" y="243155"/>
                        <a:pt x="94983" y="303213"/>
                        <a:pt x="169069" y="303213"/>
                      </a:cubicBezTo>
                      <a:cubicBezTo>
                        <a:pt x="243155" y="303213"/>
                        <a:pt x="303213" y="243155"/>
                        <a:pt x="303213" y="169069"/>
                      </a:cubicBezTo>
                      <a:cubicBezTo>
                        <a:pt x="303213" y="94983"/>
                        <a:pt x="243155" y="34925"/>
                        <a:pt x="169069" y="34925"/>
                      </a:cubicBezTo>
                      <a:close/>
                      <a:moveTo>
                        <a:pt x="169069" y="0"/>
                      </a:moveTo>
                      <a:cubicBezTo>
                        <a:pt x="262443" y="0"/>
                        <a:pt x="338138" y="75339"/>
                        <a:pt x="338138" y="168275"/>
                      </a:cubicBezTo>
                      <a:cubicBezTo>
                        <a:pt x="338138" y="261211"/>
                        <a:pt x="262443" y="336550"/>
                        <a:pt x="169069" y="336550"/>
                      </a:cubicBezTo>
                      <a:cubicBezTo>
                        <a:pt x="75695" y="336550"/>
                        <a:pt x="0" y="261211"/>
                        <a:pt x="0" y="168275"/>
                      </a:cubicBezTo>
                      <a:cubicBezTo>
                        <a:pt x="0" y="75339"/>
                        <a:pt x="75695" y="0"/>
                        <a:pt x="169069" y="0"/>
                      </a:cubicBezTo>
                      <a:close/>
                    </a:path>
                  </a:pathLst>
                </a:custGeom>
                <a:solidFill>
                  <a:schemeClr val="accent6">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nvGrpSpPr>
                <p:cNvPr id="72" name="组合 14"/>
                <p:cNvGrpSpPr/>
                <p:nvPr/>
              </p:nvGrpSpPr>
              <p:grpSpPr>
                <a:xfrm>
                  <a:off x="5624406" y="2098985"/>
                  <a:ext cx="1685381" cy="1622593"/>
                  <a:chOff x="8078266" y="2223112"/>
                  <a:chExt cx="2247175" cy="2163456"/>
                </a:xfrm>
              </p:grpSpPr>
              <p:sp>
                <p:nvSpPr>
                  <p:cNvPr id="16" name="任意多边形 109"/>
                  <p:cNvSpPr/>
                  <p:nvPr/>
                </p:nvSpPr>
                <p:spPr>
                  <a:xfrm rot="6571606" flipV="1">
                    <a:off x="7928661" y="3296911"/>
                    <a:ext cx="1239262" cy="940052"/>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214 w 1247214"/>
                      <a:gd name="connsiteY0-42" fmla="*/ 294507 h 940050"/>
                      <a:gd name="connsiteX1-43" fmla="*/ 728755 w 1247214"/>
                      <a:gd name="connsiteY1-44" fmla="*/ 848106 h 940050"/>
                      <a:gd name="connsiteX2-45" fmla="*/ 0 w 1247214"/>
                      <a:gd name="connsiteY2-46" fmla="*/ 896586 h 940050"/>
                      <a:gd name="connsiteX3-47" fmla="*/ 332681 w 1247214"/>
                      <a:gd name="connsiteY3-48" fmla="*/ 0 h 940050"/>
                      <a:gd name="connsiteX4-49" fmla="*/ 1247214 w 1247214"/>
                      <a:gd name="connsiteY4-50" fmla="*/ 294507 h 940050"/>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40050">
                        <a:moveTo>
                          <a:pt x="1247214" y="294507"/>
                        </a:moveTo>
                        <a:cubicBezTo>
                          <a:pt x="1162668" y="537744"/>
                          <a:pt x="936624" y="747760"/>
                          <a:pt x="728755" y="848106"/>
                        </a:cubicBezTo>
                        <a:cubicBezTo>
                          <a:pt x="520886" y="948453"/>
                          <a:pt x="242552" y="969802"/>
                          <a:pt x="0" y="896586"/>
                        </a:cubicBezTo>
                        <a:lnTo>
                          <a:pt x="332681" y="0"/>
                        </a:lnTo>
                        <a:lnTo>
                          <a:pt x="1247214" y="294507"/>
                        </a:lnTo>
                        <a:close/>
                      </a:path>
                    </a:pathLst>
                  </a:custGeom>
                  <a:solidFill>
                    <a:schemeClr val="accent6">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17" name="任意多边形 110"/>
                  <p:cNvSpPr/>
                  <p:nvPr/>
                </p:nvSpPr>
                <p:spPr>
                  <a:xfrm rot="11904031" flipV="1">
                    <a:off x="9115835" y="3202400"/>
                    <a:ext cx="1209606"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6">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18" name="任意多边形 111"/>
                  <p:cNvSpPr/>
                  <p:nvPr/>
                </p:nvSpPr>
                <p:spPr>
                  <a:xfrm rot="17295618" flipV="1">
                    <a:off x="8184889" y="2367334"/>
                    <a:ext cx="1247215" cy="958771"/>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47214" h="958768">
                        <a:moveTo>
                          <a:pt x="1247214" y="313226"/>
                        </a:moveTo>
                        <a:cubicBezTo>
                          <a:pt x="1162668" y="556463"/>
                          <a:pt x="936624" y="766479"/>
                          <a:pt x="728755" y="866825"/>
                        </a:cubicBezTo>
                        <a:cubicBezTo>
                          <a:pt x="520886" y="967172"/>
                          <a:pt x="242552" y="988521"/>
                          <a:pt x="0" y="915305"/>
                        </a:cubicBezTo>
                        <a:lnTo>
                          <a:pt x="304370" y="0"/>
                        </a:lnTo>
                        <a:lnTo>
                          <a:pt x="1247214" y="313226"/>
                        </a:lnTo>
                        <a:close/>
                      </a:path>
                    </a:pathLst>
                  </a:custGeom>
                  <a:solidFill>
                    <a:schemeClr val="accent6">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sp>
                <p:nvSpPr>
                  <p:cNvPr id="19" name="任意多边形 112"/>
                  <p:cNvSpPr/>
                  <p:nvPr/>
                </p:nvSpPr>
                <p:spPr>
                  <a:xfrm rot="11976820" flipH="1">
                    <a:off x="9008817" y="2428802"/>
                    <a:ext cx="1251052" cy="994445"/>
                  </a:xfrm>
                  <a:custGeom>
                    <a:gdLst>
                      <a:gd name="connsiteX0" fmla="*/ 1945514 w 1994475"/>
                      <a:gd name="connsiteY0" fmla="*/ 1222769 h 1867554"/>
                      <a:gd name="connsiteX1" fmla="*/ 1427055 w 1994475"/>
                      <a:gd name="connsiteY1" fmla="*/ 1776368 h 1867554"/>
                      <a:gd name="connsiteX2" fmla="*/ 691262 w 1994475"/>
                      <a:gd name="connsiteY2" fmla="*/ 1822514 h 1867554"/>
                      <a:gd name="connsiteX3" fmla="*/ 997238 w 1994475"/>
                      <a:gd name="connsiteY3" fmla="*/ 933777 h 1867554"/>
                      <a:gd name="connsiteX4" fmla="*/ 1945514 w 1994475"/>
                      <a:gd name="connsiteY4" fmla="*/ 1222769 h 1867554"/>
                      <a:gd name="connsiteX0-1" fmla="*/ 1247214 w 1247214"/>
                      <a:gd name="connsiteY0-2" fmla="*/ 288992 h 934535"/>
                      <a:gd name="connsiteX1-3" fmla="*/ 728755 w 1247214"/>
                      <a:gd name="connsiteY1-4" fmla="*/ 842591 h 934535"/>
                      <a:gd name="connsiteX2-5" fmla="*/ 0 w 1247214"/>
                      <a:gd name="connsiteY2-6" fmla="*/ 891071 h 934535"/>
                      <a:gd name="connsiteX3-7" fmla="*/ 298938 w 1247214"/>
                      <a:gd name="connsiteY3-8" fmla="*/ 0 h 934535"/>
                      <a:gd name="connsiteX4-9" fmla="*/ 1247214 w 1247214"/>
                      <a:gd name="connsiteY4-10" fmla="*/ 288992 h 934535"/>
                      <a:gd name="connsiteX0-11" fmla="*/ 1247214 w 1247214"/>
                      <a:gd name="connsiteY0-12" fmla="*/ 296029 h 941572"/>
                      <a:gd name="connsiteX1-13" fmla="*/ 728755 w 1247214"/>
                      <a:gd name="connsiteY1-14" fmla="*/ 849628 h 941572"/>
                      <a:gd name="connsiteX2-15" fmla="*/ 0 w 1247214"/>
                      <a:gd name="connsiteY2-16" fmla="*/ 898108 h 941572"/>
                      <a:gd name="connsiteX3-17" fmla="*/ 301271 w 1247214"/>
                      <a:gd name="connsiteY3-18" fmla="*/ 0 h 941572"/>
                      <a:gd name="connsiteX4-19" fmla="*/ 1247214 w 1247214"/>
                      <a:gd name="connsiteY4-20" fmla="*/ 296029 h 941572"/>
                      <a:gd name="connsiteX0-21" fmla="*/ 1247214 w 1247214"/>
                      <a:gd name="connsiteY0-22" fmla="*/ 306189 h 951732"/>
                      <a:gd name="connsiteX1-23" fmla="*/ 728755 w 1247214"/>
                      <a:gd name="connsiteY1-24" fmla="*/ 859788 h 951732"/>
                      <a:gd name="connsiteX2-25" fmla="*/ 0 w 1247214"/>
                      <a:gd name="connsiteY2-26" fmla="*/ 908268 h 951732"/>
                      <a:gd name="connsiteX3-27" fmla="*/ 302036 w 1247214"/>
                      <a:gd name="connsiteY3-28" fmla="*/ 0 h 951732"/>
                      <a:gd name="connsiteX4-29" fmla="*/ 1247214 w 1247214"/>
                      <a:gd name="connsiteY4-30" fmla="*/ 306189 h 951732"/>
                      <a:gd name="connsiteX0-31" fmla="*/ 1247214 w 1247214"/>
                      <a:gd name="connsiteY0-32" fmla="*/ 313226 h 958769"/>
                      <a:gd name="connsiteX1-33" fmla="*/ 728755 w 1247214"/>
                      <a:gd name="connsiteY1-34" fmla="*/ 866825 h 958769"/>
                      <a:gd name="connsiteX2-35" fmla="*/ 0 w 1247214"/>
                      <a:gd name="connsiteY2-36" fmla="*/ 915305 h 958769"/>
                      <a:gd name="connsiteX3-37" fmla="*/ 304370 w 1247214"/>
                      <a:gd name="connsiteY3-38" fmla="*/ 0 h 958769"/>
                      <a:gd name="connsiteX4-39" fmla="*/ 1247214 w 1247214"/>
                      <a:gd name="connsiteY4-40" fmla="*/ 313226 h 958769"/>
                      <a:gd name="connsiteX0-41" fmla="*/ 1247462 w 1247462"/>
                      <a:gd name="connsiteY0-42" fmla="*/ 305534 h 959140"/>
                      <a:gd name="connsiteX1-43" fmla="*/ 728755 w 1247462"/>
                      <a:gd name="connsiteY1-44" fmla="*/ 866825 h 959140"/>
                      <a:gd name="connsiteX2-45" fmla="*/ 0 w 1247462"/>
                      <a:gd name="connsiteY2-46" fmla="*/ 915305 h 959140"/>
                      <a:gd name="connsiteX3-47" fmla="*/ 304370 w 1247462"/>
                      <a:gd name="connsiteY3-48" fmla="*/ 0 h 959140"/>
                      <a:gd name="connsiteX4-49" fmla="*/ 1247462 w 1247462"/>
                      <a:gd name="connsiteY4-50" fmla="*/ 305534 h 959140"/>
                      <a:gd name="connsiteX0-51" fmla="*/ 1294962 w 1294962"/>
                      <a:gd name="connsiteY0-52" fmla="*/ 305534 h 952059"/>
                      <a:gd name="connsiteX1-53" fmla="*/ 776255 w 1294962"/>
                      <a:gd name="connsiteY1-54" fmla="*/ 866825 h 952059"/>
                      <a:gd name="connsiteX2-55" fmla="*/ 0 w 1294962"/>
                      <a:gd name="connsiteY2-56" fmla="*/ 904829 h 952059"/>
                      <a:gd name="connsiteX3-57" fmla="*/ 351870 w 1294962"/>
                      <a:gd name="connsiteY3-58" fmla="*/ 0 h 952059"/>
                      <a:gd name="connsiteX4-59" fmla="*/ 1294962 w 1294962"/>
                      <a:gd name="connsiteY4-60" fmla="*/ 305534 h 952059"/>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294962" h="952059">
                        <a:moveTo>
                          <a:pt x="1294962" y="305534"/>
                        </a:moveTo>
                        <a:cubicBezTo>
                          <a:pt x="1210416" y="548771"/>
                          <a:pt x="992082" y="766942"/>
                          <a:pt x="776255" y="866825"/>
                        </a:cubicBezTo>
                        <a:cubicBezTo>
                          <a:pt x="560428" y="966708"/>
                          <a:pt x="242552" y="978045"/>
                          <a:pt x="0" y="904829"/>
                        </a:cubicBezTo>
                        <a:lnTo>
                          <a:pt x="351870" y="0"/>
                        </a:lnTo>
                        <a:lnTo>
                          <a:pt x="1294962" y="305534"/>
                        </a:lnTo>
                        <a:close/>
                      </a:path>
                    </a:pathLst>
                  </a:custGeom>
                  <a:solidFill>
                    <a:schemeClr val="accent6">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600">
                      <a:solidFill>
                        <a:schemeClr val="bg1">
                          <a:lumMod val="50000"/>
                        </a:schemeClr>
                      </a:solidFill>
                      <a:latin typeface="+mj-ea"/>
                      <a:ea typeface="+mj-ea"/>
                    </a:endParaRPr>
                  </a:p>
                </p:txBody>
              </p:sp>
            </p:grpSp>
          </p:grpSp>
          <p:grpSp>
            <p:nvGrpSpPr>
              <p:cNvPr id="75" name="组合 10"/>
              <p:cNvGrpSpPr/>
              <p:nvPr/>
            </p:nvGrpSpPr>
            <p:grpSpPr>
              <a:xfrm>
                <a:off x="8865154" y="4888416"/>
                <a:ext cx="2549181" cy="776023"/>
                <a:chOff x="4948086" y="339361"/>
                <a:chExt cx="2549181" cy="776023"/>
              </a:xfrm>
            </p:grpSpPr>
            <p:sp>
              <p:nvSpPr>
                <p:cNvPr id="12" name="文本框 98"/>
                <p:cNvSpPr txBox="1"/>
                <p:nvPr/>
              </p:nvSpPr>
              <p:spPr>
                <a:xfrm>
                  <a:off x="4948086" y="339361"/>
                  <a:ext cx="2549181" cy="388226"/>
                </a:xfrm>
                <a:prstGeom prst="rect">
                  <a:avLst/>
                </a:prstGeom>
                <a:noFill/>
              </p:spPr>
              <p:txBody>
                <a:bodyPr wrap="none" lIns="0" tIns="0" rIns="0" bIns="0" anchor="ctr" anchorCtr="1">
                  <a:normAutofit/>
                </a:bodyPr>
                <a:lstStyle/>
                <a:p>
                  <a:pPr algn="ctr"/>
                  <a:r>
                    <a:rPr lang="zh-CN" altLang="en-US" sz="1400" b="1">
                      <a:solidFill>
                        <a:schemeClr val="bg1">
                          <a:lumMod val="50000"/>
                        </a:schemeClr>
                      </a:solidFill>
                      <a:latin typeface="+mj-ea"/>
                      <a:ea typeface="+mj-ea"/>
                    </a:rPr>
                    <a:t>标题文本预设</a:t>
                  </a:r>
                  <a:endParaRPr lang="zh-CN" altLang="en-US" sz="1400" b="1">
                    <a:solidFill>
                      <a:schemeClr val="bg1">
                        <a:lumMod val="50000"/>
                      </a:schemeClr>
                    </a:solidFill>
                    <a:latin typeface="+mj-ea"/>
                    <a:ea typeface="+mj-ea"/>
                  </a:endParaRPr>
                </a:p>
              </p:txBody>
            </p:sp>
            <p:sp>
              <p:nvSpPr>
                <p:cNvPr id="13" name="文本框 99"/>
                <p:cNvSpPr txBox="1"/>
                <p:nvPr/>
              </p:nvSpPr>
              <p:spPr>
                <a:xfrm>
                  <a:off x="4948086" y="727586"/>
                  <a:ext cx="2549181" cy="387798"/>
                </a:xfrm>
                <a:prstGeom prst="rect">
                  <a:avLst/>
                </a:prstGeom>
              </p:spPr>
              <p:txBody>
                <a:bodyPr vert="horz" wrap="square" lIns="0" tIns="0" rIns="0" bIns="0" anchor="t" anchorCtr="1">
                  <a:noAutofit/>
                </a:bodyPr>
                <a:lstStyle/>
                <a:p>
                  <a:pPr algn="ctr">
                    <a:lnSpc>
                      <a:spcPct val="120000"/>
                    </a:lnSpc>
                  </a:pPr>
                  <a:r>
                    <a:rPr lang="zh-CN" altLang="en-US" sz="800">
                      <a:solidFill>
                        <a:schemeClr val="bg1">
                          <a:lumMod val="50000"/>
                        </a:schemeClr>
                      </a:solidFill>
                      <a:latin typeface="+mj-ea"/>
                      <a:ea typeface="+mj-ea"/>
                    </a:rPr>
                    <a:t>此部分内容作为文字排版占位显示 </a:t>
                  </a:r>
                  <a:br>
                    <a:rPr lang="zh-CN" altLang="en-US" sz="800">
                      <a:solidFill>
                        <a:schemeClr val="bg1">
                          <a:lumMod val="50000"/>
                        </a:schemeClr>
                      </a:solidFill>
                      <a:latin typeface="+mj-ea"/>
                      <a:ea typeface="+mj-ea"/>
                    </a:rPr>
                  </a:br>
                  <a:r>
                    <a:rPr lang="zh-CN" altLang="en-US" sz="800">
                      <a:solidFill>
                        <a:schemeClr val="bg1">
                          <a:lumMod val="50000"/>
                        </a:schemeClr>
                      </a:solidFill>
                      <a:latin typeface="+mj-ea"/>
                      <a:ea typeface="+mj-ea"/>
                    </a:rPr>
                    <a:t>（建议使用主题字体）</a:t>
                  </a:r>
                  <a:endParaRPr lang="zh-CN" altLang="en-US" sz="800">
                    <a:solidFill>
                      <a:schemeClr val="bg1">
                        <a:lumMod val="50000"/>
                      </a:schemeClr>
                    </a:solidFill>
                    <a:latin typeface="+mj-ea"/>
                    <a:ea typeface="+mj-ea"/>
                  </a:endParaRPr>
                </a:p>
              </p:txBody>
            </p:sp>
          </p:grpSp>
        </p:grpSp>
      </p:grpSp>
    </p:spTree>
  </p:cSld>
  <p:clrMapOvr>
    <a:masterClrMapping/>
  </p:clrMapOvr>
  <mc:AlternateContent>
    <mc:Choice xmlns:p14="http://schemas.microsoft.com/office/powerpoint/2010/main" Requires="p14">
      <p:transition spd="slow" advClick="0" advTm="3000" p14:dur="1250">
        <p:push dir="u"/>
      </p:transition>
    </mc:Choice>
    <mc:Fallback>
      <p:transition spd="slow" advClick="0" advTm="3000">
        <p:push dir="u"/>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par>
                                <p:cTn id="8" presetID="63" presetClass="path" presetSubtype="0" accel="50000" decel="50000" fill="hold" nodeType="withEffect">
                                  <p:stCondLst>
                                    <p:cond delay="0"/>
                                  </p:stCondLst>
                                  <p:childTnLst>
                                    <p:animMotion origin="layout" path="M -0.011812 -0.709293 L 0 0 E" pathEditMode="relative" ptsTypes="">
                                      <p:cBhvr>
                                        <p:cTn id="9" dur="2000" fill="hold"/>
                                        <p:tgtEl>
                                          <p:spTgt spid="2"/>
                                        </p:tgtEl>
                                        <p:attrNameLst>
                                          <p:attrName>ppt_x</p:attrName>
                                          <p:attrName>ppt_y</p:attrName>
                                        </p:attrNameLst>
                                      </p:cBhvr>
                                    </p:animMotion>
                                  </p:childTnLst>
                                </p:cTn>
                              </p:par>
                              <p:par>
                                <p:cTn id="10" presetID="6" presetClass="emph" presetSubtype="0" accel="50000" decel="50000" fill="hold" nodeType="withEffect">
                                  <p:stCondLst>
                                    <p:cond delay="0"/>
                                  </p:stCondLst>
                                  <p:childTnLst>
                                    <p:animScale>
                                      <p:cBhvr>
                                        <p:cTn id="11" dur="2000" fill="hold"/>
                                        <p:tgtEl>
                                          <p:spTgt spid="2"/>
                                        </p:tgtEl>
                                      </p:cBhvr>
                                      <p:by x="150000" y="150000"/>
                                      <p:from x="2567" y="6492"/>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1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1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2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3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3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3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4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4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5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5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5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60.xml><?xml version="1.0" encoding="utf-8"?>
<p:tagLst xmlns:p="http://schemas.openxmlformats.org/presentationml/2006/main">
  <p:tag name="KSO_WM_BEAUTIFY_FLAG" val="#wm#"/>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61.xml><?xml version="1.0" encoding="utf-8"?>
<p:tagLst xmlns:p="http://schemas.openxmlformats.org/presentationml/2006/main">
  <p:tag name="PA" val="v3.2.0"/>
</p:tagLst>
</file>

<file path=ppt/tags/tag62.xml><?xml version="1.0" encoding="utf-8"?>
<p:tagLst xmlns:p="http://schemas.openxmlformats.org/presentationml/2006/main">
  <p:tag name="ID" val="553512"/>
  <p:tag name="MH" val="20160830110146"/>
  <p:tag name="MH_LIBRARY" val="CONTENTS"/>
  <p:tag name="MH_ORDER" val="1"/>
  <p:tag name="MH_TYPE" val="ENTRY"/>
</p:tagLst>
</file>

<file path=ppt/tags/tag63.xml><?xml version="1.0" encoding="utf-8"?>
<p:tagLst xmlns:p="http://schemas.openxmlformats.org/presentationml/2006/main">
  <p:tag name="ID" val="553512"/>
  <p:tag name="MH" val="20160830110146"/>
  <p:tag name="MH_LIBRARY" val="CONTENTS"/>
  <p:tag name="MH_ORDER" val="1"/>
  <p:tag name="MH_TYPE" val="ENTRY"/>
</p:tagLst>
</file>

<file path=ppt/tags/tag64.xml><?xml version="1.0" encoding="utf-8"?>
<p:tagLst xmlns:p="http://schemas.openxmlformats.org/presentationml/2006/main">
  <p:tag name="ID" val="553512"/>
  <p:tag name="MH" val="20160830110146"/>
  <p:tag name="MH_LIBRARY" val="CONTENTS"/>
  <p:tag name="MH_ORDER" val="1"/>
  <p:tag name="MH_TYPE" val="ENTRY"/>
</p:tagLst>
</file>

<file path=ppt/tags/tag65.xml><?xml version="1.0" encoding="utf-8"?>
<p:tagLst xmlns:p="http://schemas.openxmlformats.org/presentationml/2006/main">
  <p:tag name="ID" val="553512"/>
  <p:tag name="MH" val="20160830110146"/>
  <p:tag name="MH_LIBRARY" val="CONTENTS"/>
  <p:tag name="MH_ORDER" val="1"/>
  <p:tag name="MH_TYPE" val="ENTRY"/>
</p:tagLst>
</file>

<file path=ppt/tags/tag66.xml><?xml version="1.0" encoding="utf-8"?>
<p:tagLst xmlns:p="http://schemas.openxmlformats.org/presentationml/2006/main">
  <p:tag name="THINKCELLSHAPEDONOTDELETE" val="ps1938Mw9kkyV2XgRVpibQw"/>
</p:tagLst>
</file>

<file path=ppt/tags/tag67.xml><?xml version="1.0" encoding="utf-8"?>
<p:tagLst xmlns:p="http://schemas.openxmlformats.org/presentationml/2006/main">
  <p:tag name="PA" val="v3.2.0"/>
</p:tagLst>
</file>

<file path=ppt/tags/tag68.xml><?xml version="1.0" encoding="utf-8"?>
<p:tagLst xmlns:p="http://schemas.openxmlformats.org/presentationml/2006/main">
  <p:tag name="AS_NET" val="4.0.30319.42000"/>
  <p:tag name="AS_OS" val="Microsoft Windows NT 6.2.9200.0"/>
  <p:tag name="AS_RELEASE_DATE" val="2023.04.14"/>
  <p:tag name="AS_TITLE" val="Aspose.Slides for .NET 4.0 Client Profile"/>
  <p:tag name="AS_VERSION" val="23.4"/>
  <p:tag name="ISPRING_PRESENTATION_TITLE" val="37"/>
</p:tagLst>
</file>

<file path=ppt/tags/tag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heme/theme1.xml><?xml version="1.0" encoding="utf-8"?>
<a:theme xmlns:r="http://schemas.openxmlformats.org/officeDocument/2006/relationships" xmlns:a="http://schemas.openxmlformats.org/drawingml/2006/main" name="A000120140530A99PPBG">
  <a:themeElements>
    <a:clrScheme name="自定义 71">
      <a:dk1>
        <a:srgbClr val="6D6F71"/>
      </a:dk1>
      <a:lt1>
        <a:srgbClr val="FFFFFF"/>
      </a:lt1>
      <a:dk2>
        <a:srgbClr val="6D6F71"/>
      </a:dk2>
      <a:lt2>
        <a:srgbClr val="FFFFFF"/>
      </a:lt2>
      <a:accent1>
        <a:srgbClr val="66C2BD"/>
      </a:accent1>
      <a:accent2>
        <a:srgbClr val="EE7483"/>
      </a:accent2>
      <a:accent3>
        <a:srgbClr val="66C2BD"/>
      </a:accent3>
      <a:accent4>
        <a:srgbClr val="EE7483"/>
      </a:accent4>
      <a:accent5>
        <a:srgbClr val="66C2BD"/>
      </a:accent5>
      <a:accent6>
        <a:srgbClr val="EE7483"/>
      </a:accent6>
      <a:hlink>
        <a:srgbClr val="00B0F0"/>
      </a:hlink>
      <a:folHlink>
        <a:srgbClr val="AFB2B4"/>
      </a:folHlink>
    </a:clrScheme>
    <a:fontScheme name="KSO主题5">
      <a:majorFont>
        <a:latin typeface="Broadway"/>
        <a:ea typeface="微软雅黑"/>
        <a:cs typeface="Arial"/>
      </a:majorFont>
      <a:minorFont>
        <a:latin typeface="Calibri"/>
        <a:ea typeface="幼圆"/>
        <a:cs typeface="Arial"/>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130000"/>
          </a:lnSpc>
          <a:defRPr sz="1400" dirty="0" smtClean="0">
            <a:latin typeface="Arial" panose="020B0604020202020204" pitchFamily="34" charset="0"/>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r="http://schemas.openxmlformats.org/officeDocument/2006/relationships" xmlns:a="http://schemas.openxmlformats.org/drawingml/2006/main" name="PPT模板免费下载：PPT汇 www.ppthui.com">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Calibri"/>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Calibri"/>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vt="http://schemas.openxmlformats.org/officeDocument/2006/docPropsVTypes" xmlns="http://schemas.openxmlformats.org/officeDocument/2006/extended-properties">
  <Template>A000120151030A05KPBG</Template>
  <Company/>
  <PresentationFormat>On-screen Show (16:9)</PresentationFormat>
  <Paragraphs>209</Paragraphs>
  <Slides>26</Slides>
  <Notes>26</Notes>
  <TotalTime>0</TotalTime>
  <HiddenSlides>0</HiddenSlides>
  <MMClips>1</MMClips>
  <ScaleCrop>0</ScaleCrop>
  <HeadingPairs>
    <vt:vector baseType="variant" size="6">
      <vt:variant>
        <vt:lpstr>Fonts used</vt:lpstr>
      </vt:variant>
      <vt:variant>
        <vt:i4>22</vt:i4>
      </vt:variant>
      <vt:variant>
        <vt:lpstr>Theme</vt:lpstr>
      </vt:variant>
      <vt:variant>
        <vt:i4>1</vt:i4>
      </vt:variant>
      <vt:variant>
        <vt:lpstr>Slide Titles</vt:lpstr>
      </vt:variant>
      <vt:variant>
        <vt:i4>26</vt:i4>
      </vt:variant>
    </vt:vector>
  </HeadingPairs>
  <TitlesOfParts>
    <vt:vector baseType="lpstr" size="49">
      <vt:lpstr>Arial</vt:lpstr>
      <vt:lpstr>Broadway</vt:lpstr>
      <vt:lpstr>微软雅黑</vt:lpstr>
      <vt:lpstr>Calibri</vt:lpstr>
      <vt:lpstr>幼圆</vt:lpstr>
      <vt:lpstr>Wingdings 2</vt:lpstr>
      <vt:lpstr>Open Sans</vt:lpstr>
      <vt:lpstr>冬青黑体简体中文 W3</vt:lpstr>
      <vt:lpstr>造字工房悦黑演示版常规体</vt:lpstr>
      <vt:lpstr>宋体</vt:lpstr>
      <vt:lpstr>Impact</vt:lpstr>
      <vt:lpstr>Segoe UI</vt:lpstr>
      <vt:lpstr>Bebas Neue</vt:lpstr>
      <vt:lpstr>方正兰亭黑简体</vt:lpstr>
      <vt:lpstr>方正姚体</vt:lpstr>
      <vt:lpstr>方正细圆简体</vt:lpstr>
      <vt:lpstr>华文黑体</vt:lpstr>
      <vt:lpstr>黑体</vt:lpstr>
      <vt:lpstr>Calibri Light</vt:lpstr>
      <vt:lpstr>Neris Thin</vt:lpstr>
      <vt:lpstr>Wingdings</vt:lpstr>
      <vt:lpstr>Meiryo</vt:lpstr>
      <vt:lpstr>A000120140530A99PPB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3.04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PT汇_PPT模板免费下载_www.ppthui.com</dc:title>
  <dc:creator>PPT汇_www.ppthui.com</dc:creator>
  <cp:lastModifiedBy>xiaoke</cp:lastModifiedBy>
  <cp:revision>427</cp:revision>
  <dcterms:created xsi:type="dcterms:W3CDTF">2014-11-09T01:07:00Z</dcterms:created>
  <dcterms:modified xsi:type="dcterms:W3CDTF">2023-05-08T06:55:20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KSOProductBuildVer">
    <vt:lpwstr>2052-11.1.0.9740</vt:lpwstr>
  </property>
</Properties>
</file>